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6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7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8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9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10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11.xml" ContentType="application/vnd.openxmlformats-officedocument.presentationml.notesSlide+xml"/>
  <Override PartName="/ppt/comments/comment7.xml" ContentType="application/vnd.openxmlformats-officedocument.presentationml.comments+xml"/>
  <Override PartName="/ppt/notesSlides/notesSlide12.xml" ContentType="application/vnd.openxmlformats-officedocument.presentationml.notesSlide+xml"/>
  <Override PartName="/ppt/comments/comment8.xml" ContentType="application/vnd.openxmlformats-officedocument.presentationml.comments+xml"/>
  <Override PartName="/ppt/notesSlides/notesSlide13.xml" ContentType="application/vnd.openxmlformats-officedocument.presentationml.notesSlide+xml"/>
  <Override PartName="/ppt/comments/comment9.xml" ContentType="application/vnd.openxmlformats-officedocument.presentationml.comments+xml"/>
  <Override PartName="/ppt/notesSlides/notesSlide14.xml" ContentType="application/vnd.openxmlformats-officedocument.presentationml.notesSlide+xml"/>
  <Override PartName="/ppt/comments/comment10.xml" ContentType="application/vnd.openxmlformats-officedocument.presentationml.comment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4"/>
  </p:sldMasterIdLst>
  <p:notesMasterIdLst>
    <p:notesMasterId r:id="rId42"/>
  </p:notesMasterIdLst>
  <p:handoutMasterIdLst>
    <p:handoutMasterId r:id="rId43"/>
  </p:handoutMasterIdLst>
  <p:sldIdLst>
    <p:sldId id="323" r:id="rId5"/>
    <p:sldId id="355" r:id="rId6"/>
    <p:sldId id="356" r:id="rId7"/>
    <p:sldId id="338" r:id="rId8"/>
    <p:sldId id="362" r:id="rId9"/>
    <p:sldId id="363" r:id="rId10"/>
    <p:sldId id="367" r:id="rId11"/>
    <p:sldId id="368" r:id="rId12"/>
    <p:sldId id="369" r:id="rId13"/>
    <p:sldId id="371" r:id="rId14"/>
    <p:sldId id="372" r:id="rId15"/>
    <p:sldId id="373" r:id="rId16"/>
    <p:sldId id="374" r:id="rId17"/>
    <p:sldId id="377" r:id="rId18"/>
    <p:sldId id="378" r:id="rId19"/>
    <p:sldId id="382" r:id="rId20"/>
    <p:sldId id="375" r:id="rId21"/>
    <p:sldId id="376" r:id="rId22"/>
    <p:sldId id="379" r:id="rId23"/>
    <p:sldId id="380" r:id="rId24"/>
    <p:sldId id="381" r:id="rId25"/>
    <p:sldId id="383" r:id="rId26"/>
    <p:sldId id="370" r:id="rId27"/>
    <p:sldId id="366" r:id="rId28"/>
    <p:sldId id="336" r:id="rId29"/>
    <p:sldId id="337" r:id="rId30"/>
    <p:sldId id="350" r:id="rId31"/>
    <p:sldId id="361" r:id="rId32"/>
    <p:sldId id="341" r:id="rId33"/>
    <p:sldId id="342" r:id="rId34"/>
    <p:sldId id="352" r:id="rId35"/>
    <p:sldId id="357" r:id="rId36"/>
    <p:sldId id="358" r:id="rId37"/>
    <p:sldId id="359" r:id="rId38"/>
    <p:sldId id="360" r:id="rId39"/>
    <p:sldId id="351" r:id="rId40"/>
    <p:sldId id="349" r:id="rId4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hadevaiah, Ashoka" initials="MA" lastIdx="1" clrIdx="0">
    <p:extLst>
      <p:ext uri="{19B8F6BF-5375-455C-9EA6-DF929625EA0E}">
        <p15:presenceInfo xmlns:p15="http://schemas.microsoft.com/office/powerpoint/2012/main" userId="S::ashoka.mahadevaiah@accenture.com::e7adf0d9-5d9b-40be-af37-a79c5ca631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AFF"/>
    <a:srgbClr val="70E6E1"/>
    <a:srgbClr val="FFCCCC"/>
    <a:srgbClr val="D8D8D8"/>
    <a:srgbClr val="FFFFFF"/>
    <a:srgbClr val="2800FF"/>
    <a:srgbClr val="00FF7D"/>
    <a:srgbClr val="00F3FF"/>
    <a:srgbClr val="FFB600"/>
    <a:srgbClr val="FFEA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1" autoAdjust="0"/>
    <p:restoredTop sz="83431" autoAdjust="0"/>
  </p:normalViewPr>
  <p:slideViewPr>
    <p:cSldViewPr snapToGrid="0">
      <p:cViewPr varScale="1">
        <p:scale>
          <a:sx n="57" d="100"/>
          <a:sy n="57" d="100"/>
        </p:scale>
        <p:origin x="1016" y="3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7" d="100"/>
          <a:sy n="67" d="100"/>
        </p:scale>
        <p:origin x="3228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10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8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9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/>
              <a:t>4/7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9D084F-DC83-4EB0-8CED-52E9AA3ECA1C}" type="datetimeFigureOut">
              <a:rPr lang="en-US" smtClean="0"/>
              <a:t>4/7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157E0A-F321-48DC-AF94-681D4DCF34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9220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AutoNum type="arabicParenR"/>
            </a:pPr>
            <a:r>
              <a:rPr lang="en-US" dirty="0" err="1"/>
              <a:t>ReST</a:t>
            </a:r>
            <a:r>
              <a:rPr lang="en-US" dirty="0"/>
              <a:t> </a:t>
            </a:r>
            <a:r>
              <a:rPr lang="en-US" dirty="0" err="1"/>
              <a:t>respresents</a:t>
            </a:r>
            <a:r>
              <a:rPr lang="en-US" dirty="0"/>
              <a:t> a series of constraints whenever a client talks to server , series of rules in the server for client to use to service</a:t>
            </a:r>
          </a:p>
          <a:p>
            <a:pPr marL="342900" indent="-342900">
              <a:buAutoNum type="arabicParenR"/>
            </a:pPr>
            <a:r>
              <a:rPr lang="en-US" dirty="0"/>
              <a:t>Constraint </a:t>
            </a:r>
          </a:p>
          <a:p>
            <a:pPr marL="952393" lvl="1" indent="-342900">
              <a:buAutoNum type="arabicParenR"/>
            </a:pPr>
            <a:r>
              <a:rPr lang="en-US" dirty="0"/>
              <a:t>Client sends request and server sends response</a:t>
            </a:r>
          </a:p>
          <a:p>
            <a:pPr marL="952393" lvl="1" indent="-342900">
              <a:buAutoNum type="arabicParenR"/>
            </a:pPr>
            <a:r>
              <a:rPr lang="en-US" dirty="0"/>
              <a:t>As load increases we add more servers , now we get into situation where server 1 may contain some info of client which doesn’t get transferred to server 2. Don’t get into this situation. Each request should have the all info to process the request. Example..</a:t>
            </a:r>
          </a:p>
          <a:p>
            <a:pPr marL="952393" lvl="1" indent="-342900">
              <a:buAutoNum type="arabicParenR"/>
            </a:pPr>
            <a:r>
              <a:rPr lang="en-US" dirty="0"/>
              <a:t>Caching – send the data to client with the info that how long the data is valid for and not to come back to server over and over agai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4680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AutoNum type="arabicParenR"/>
            </a:pPr>
            <a:r>
              <a:rPr lang="en-US" dirty="0" err="1"/>
              <a:t>ReST</a:t>
            </a:r>
            <a:r>
              <a:rPr lang="en-US" dirty="0"/>
              <a:t> </a:t>
            </a:r>
            <a:r>
              <a:rPr lang="en-US" dirty="0" err="1"/>
              <a:t>respresents</a:t>
            </a:r>
            <a:r>
              <a:rPr lang="en-US" dirty="0"/>
              <a:t> a series of constraints whenever a client talks to server , series of rules in the server for client to use to service</a:t>
            </a:r>
          </a:p>
          <a:p>
            <a:pPr marL="342900" indent="-342900">
              <a:buAutoNum type="arabicParenR"/>
            </a:pPr>
            <a:r>
              <a:rPr lang="en-US" dirty="0"/>
              <a:t>Constraint </a:t>
            </a:r>
          </a:p>
          <a:p>
            <a:pPr marL="952393" lvl="1" indent="-342900">
              <a:buAutoNum type="arabicParenR"/>
            </a:pPr>
            <a:r>
              <a:rPr lang="en-US" dirty="0"/>
              <a:t>Client sends request and server sends response</a:t>
            </a:r>
          </a:p>
          <a:p>
            <a:pPr marL="952393" lvl="1" indent="-342900">
              <a:buAutoNum type="arabicParenR"/>
            </a:pPr>
            <a:r>
              <a:rPr lang="en-US" dirty="0"/>
              <a:t>As load increases we add more servers , now we get into situation where server 1 may contain some info of client which doesn’t get transferred to server 2. Don’t get into this situation. Each request should have the all info to process the request. Example..</a:t>
            </a:r>
          </a:p>
          <a:p>
            <a:pPr marL="952393" lvl="1" indent="-342900">
              <a:buAutoNum type="arabicParenR"/>
            </a:pPr>
            <a:r>
              <a:rPr lang="en-US" dirty="0"/>
              <a:t>Caching – send the data to client with the info that how long the data is valid for and not to come back to server over and over agai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3568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2364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AutoNum type="arabicParenR"/>
            </a:pPr>
            <a:r>
              <a:rPr lang="en-US" dirty="0" err="1"/>
              <a:t>ReST</a:t>
            </a:r>
            <a:r>
              <a:rPr lang="en-US" dirty="0"/>
              <a:t> </a:t>
            </a:r>
            <a:r>
              <a:rPr lang="en-US" dirty="0" err="1"/>
              <a:t>respresents</a:t>
            </a:r>
            <a:r>
              <a:rPr lang="en-US" dirty="0"/>
              <a:t> a series of constraints whenever a client talks to server , series of rules in the server for client to use to service</a:t>
            </a:r>
          </a:p>
          <a:p>
            <a:pPr marL="342900" indent="-342900">
              <a:buAutoNum type="arabicParenR"/>
            </a:pPr>
            <a:r>
              <a:rPr lang="en-US" dirty="0"/>
              <a:t>Constraint </a:t>
            </a:r>
          </a:p>
          <a:p>
            <a:pPr marL="952393" lvl="1" indent="-342900">
              <a:buAutoNum type="arabicParenR"/>
            </a:pPr>
            <a:r>
              <a:rPr lang="en-US" dirty="0"/>
              <a:t>Client sends request and server sends response</a:t>
            </a:r>
          </a:p>
          <a:p>
            <a:pPr marL="952393" lvl="1" indent="-342900">
              <a:buAutoNum type="arabicParenR"/>
            </a:pPr>
            <a:r>
              <a:rPr lang="en-US" dirty="0"/>
              <a:t>As load increases we add more servers , now we get into situation where server 1 may contain some info of client which doesn’t get transferred to server 2. Don’t get into this situation. Each request should have the all info to process the request. Example..</a:t>
            </a:r>
          </a:p>
          <a:p>
            <a:pPr marL="952393" lvl="1" indent="-342900">
              <a:buAutoNum type="arabicParenR"/>
            </a:pPr>
            <a:r>
              <a:rPr lang="en-US" dirty="0"/>
              <a:t>Caching – send the data to client with the info that how long the data is valid for and not to come back to server over and over agai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53097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06400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97515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241329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7669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15610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2578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17570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07618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506935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90821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02827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146505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7065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35713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610624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1753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32166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04043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0456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3044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AutoNum type="arabicParenR"/>
            </a:pPr>
            <a:r>
              <a:rPr lang="en-US" dirty="0"/>
              <a:t>Reference to express</a:t>
            </a:r>
          </a:p>
          <a:p>
            <a:pPr marL="342900" indent="-342900">
              <a:buAutoNum type="arabicParenR"/>
            </a:pPr>
            <a:r>
              <a:rPr lang="en-US" dirty="0"/>
              <a:t>Setup a port</a:t>
            </a:r>
          </a:p>
          <a:p>
            <a:pPr marL="342900" indent="-342900">
              <a:buAutoNum type="arabicParenR"/>
            </a:pPr>
            <a:r>
              <a:rPr lang="en-US" dirty="0" err="1"/>
              <a:t>App.get</a:t>
            </a:r>
            <a:r>
              <a:rPr lang="en-US" dirty="0"/>
              <a:t> to root , if someone goes to root return them a hello world message</a:t>
            </a:r>
          </a:p>
          <a:p>
            <a:pPr marL="342900" indent="-342900">
              <a:buAutoNum type="arabicParenR"/>
            </a:pPr>
            <a:r>
              <a:rPr lang="en-US" dirty="0" err="1"/>
              <a:t>App.listen</a:t>
            </a:r>
            <a:r>
              <a:rPr lang="en-US" dirty="0"/>
              <a:t> with a message</a:t>
            </a:r>
            <a:br>
              <a:rPr lang="en-US" dirty="0"/>
            </a:b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451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AutoNum type="arabicParenR"/>
            </a:pPr>
            <a:r>
              <a:rPr lang="en-US" dirty="0" err="1"/>
              <a:t>ReST</a:t>
            </a:r>
            <a:r>
              <a:rPr lang="en-US" dirty="0"/>
              <a:t> </a:t>
            </a:r>
            <a:r>
              <a:rPr lang="en-US" dirty="0" err="1"/>
              <a:t>respresents</a:t>
            </a:r>
            <a:r>
              <a:rPr lang="en-US" dirty="0"/>
              <a:t> a series of constraints whenever a client talks to server , series of rules in the server for client to use to service</a:t>
            </a:r>
          </a:p>
          <a:p>
            <a:pPr marL="342900" indent="-342900">
              <a:buAutoNum type="arabicParenR"/>
            </a:pPr>
            <a:r>
              <a:rPr lang="en-US" dirty="0"/>
              <a:t>Constraint </a:t>
            </a:r>
          </a:p>
          <a:p>
            <a:pPr marL="952393" lvl="1" indent="-342900">
              <a:buAutoNum type="arabicParenR"/>
            </a:pPr>
            <a:r>
              <a:rPr lang="en-US" dirty="0"/>
              <a:t>Client sends request and server sends response</a:t>
            </a:r>
          </a:p>
          <a:p>
            <a:pPr marL="952393" lvl="1" indent="-342900">
              <a:buAutoNum type="arabicParenR"/>
            </a:pPr>
            <a:r>
              <a:rPr lang="en-US" dirty="0"/>
              <a:t>As load increases we add more servers , now we get into situation where server 1 may contain some info of client which doesn’t get transferred to server 2. Don’t get into this situation. Each request should have the all info to process the request. Example..</a:t>
            </a:r>
          </a:p>
          <a:p>
            <a:pPr marL="952393" lvl="1" indent="-342900">
              <a:buAutoNum type="arabicParenR"/>
            </a:pPr>
            <a:r>
              <a:rPr lang="en-US" dirty="0"/>
              <a:t>Caching – send the data to client with the info that how long the data is valid for and not to come back to server over and over agai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08480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AutoNum type="arabicParenR"/>
            </a:pPr>
            <a:r>
              <a:rPr lang="en-US" dirty="0" err="1"/>
              <a:t>ReST</a:t>
            </a:r>
            <a:r>
              <a:rPr lang="en-US" dirty="0"/>
              <a:t> </a:t>
            </a:r>
            <a:r>
              <a:rPr lang="en-US" dirty="0" err="1"/>
              <a:t>respresents</a:t>
            </a:r>
            <a:r>
              <a:rPr lang="en-US" dirty="0"/>
              <a:t> a series of constraints whenever a client talks to server , series of rules in the server for client to use to service</a:t>
            </a:r>
          </a:p>
          <a:p>
            <a:pPr marL="342900" indent="-342900">
              <a:buAutoNum type="arabicParenR"/>
            </a:pPr>
            <a:r>
              <a:rPr lang="en-US" dirty="0"/>
              <a:t>Constraint </a:t>
            </a:r>
          </a:p>
          <a:p>
            <a:pPr marL="952393" lvl="1" indent="-342900">
              <a:buAutoNum type="arabicParenR"/>
            </a:pPr>
            <a:r>
              <a:rPr lang="en-US" dirty="0"/>
              <a:t>Client sends request and server sends response</a:t>
            </a:r>
          </a:p>
          <a:p>
            <a:pPr marL="952393" lvl="1" indent="-342900">
              <a:buAutoNum type="arabicParenR"/>
            </a:pPr>
            <a:r>
              <a:rPr lang="en-US" dirty="0"/>
              <a:t>As load increases we add more servers , now we get into situation where server 1 may contain some info of client which doesn’t get transferred to server 2. Don’t get into this situation. Each request should have the all info to process the request. Example..</a:t>
            </a:r>
          </a:p>
          <a:p>
            <a:pPr marL="952393" lvl="1" indent="-342900">
              <a:buAutoNum type="arabicParenR"/>
            </a:pPr>
            <a:r>
              <a:rPr lang="en-US" dirty="0"/>
              <a:t>Caching – send the data to client with the info that how long the data is valid for and not to come back to server over and over agai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0369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5D0D3C2E-FC67-47ED-90E0-E797B7CC0FB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644647"/>
            <a:ext cx="12192000" cy="59869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0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908"/>
                        <a:ext cx="2116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381000" y="410215"/>
            <a:ext cx="2242531" cy="594000"/>
            <a:chOff x="484188" y="452438"/>
            <a:chExt cx="2246313" cy="595312"/>
          </a:xfrm>
        </p:grpSpPr>
        <p:sp>
          <p:nvSpPr>
            <p:cNvPr id="21" name="Freeform 136"/>
            <p:cNvSpPr>
              <a:spLocks/>
            </p:cNvSpPr>
            <p:nvPr userDrawn="1"/>
          </p:nvSpPr>
          <p:spPr bwMode="auto">
            <a:xfrm>
              <a:off x="1793875" y="452438"/>
              <a:ext cx="222250" cy="234950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22" name="Freeform 137"/>
            <p:cNvSpPr>
              <a:spLocks noEditPoints="1"/>
            </p:cNvSpPr>
            <p:nvPr userDrawn="1"/>
          </p:nvSpPr>
          <p:spPr bwMode="auto">
            <a:xfrm>
              <a:off x="484188" y="703263"/>
              <a:ext cx="2246313" cy="344487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C9FD23D-30E8-435F-86B9-25D5CCD17D0A}"/>
              </a:ext>
            </a:extLst>
          </p:cNvPr>
          <p:cNvGrpSpPr/>
          <p:nvPr userDrawn="1"/>
        </p:nvGrpSpPr>
        <p:grpSpPr>
          <a:xfrm>
            <a:off x="3708238" y="1265653"/>
            <a:ext cx="5395287" cy="5514533"/>
            <a:chOff x="6420958" y="734291"/>
            <a:chExt cx="5395287" cy="5514533"/>
          </a:xfrm>
        </p:grpSpPr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7C7ADC2A-49DD-407B-B29B-36A2D87E9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2928447"/>
              <a:ext cx="5395287" cy="3320377"/>
            </a:xfrm>
            <a:custGeom>
              <a:avLst/>
              <a:gdLst>
                <a:gd name="T0" fmla="*/ 0 w 8964"/>
                <a:gd name="T1" fmla="*/ 5507 h 5507"/>
                <a:gd name="T2" fmla="*/ 0 w 8964"/>
                <a:gd name="T3" fmla="*/ 3495 h 5507"/>
                <a:gd name="T4" fmla="*/ 8964 w 8964"/>
                <a:gd name="T5" fmla="*/ 0 h 5507"/>
                <a:gd name="T6" fmla="*/ 8964 w 8964"/>
                <a:gd name="T7" fmla="*/ 1858 h 5507"/>
                <a:gd name="T8" fmla="*/ 0 w 8964"/>
                <a:gd name="T9" fmla="*/ 5507 h 5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64" h="5507">
                  <a:moveTo>
                    <a:pt x="0" y="5507"/>
                  </a:moveTo>
                  <a:lnTo>
                    <a:pt x="0" y="3495"/>
                  </a:lnTo>
                  <a:lnTo>
                    <a:pt x="8964" y="0"/>
                  </a:lnTo>
                  <a:lnTo>
                    <a:pt x="8964" y="1858"/>
                  </a:lnTo>
                  <a:lnTo>
                    <a:pt x="0" y="5507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5000">
                  <a:schemeClr val="accent3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9">
              <a:extLst>
                <a:ext uri="{FF2B5EF4-FFF2-40B4-BE49-F238E27FC236}">
                  <a16:creationId xmlns:a16="http://schemas.microsoft.com/office/drawing/2014/main" id="{6A41381F-91AB-427E-AA9F-3CFA7053E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734291"/>
              <a:ext cx="5395287" cy="3315078"/>
            </a:xfrm>
            <a:custGeom>
              <a:avLst/>
              <a:gdLst>
                <a:gd name="T0" fmla="*/ 8964 w 8964"/>
                <a:gd name="T1" fmla="*/ 3640 h 5498"/>
                <a:gd name="T2" fmla="*/ 8964 w 8964"/>
                <a:gd name="T3" fmla="*/ 5498 h 5498"/>
                <a:gd name="T4" fmla="*/ 0 w 8964"/>
                <a:gd name="T5" fmla="*/ 2030 h 5498"/>
                <a:gd name="T6" fmla="*/ 0 w 8964"/>
                <a:gd name="T7" fmla="*/ 0 h 5498"/>
                <a:gd name="T8" fmla="*/ 3 w 8964"/>
                <a:gd name="T9" fmla="*/ 0 h 5498"/>
                <a:gd name="T10" fmla="*/ 8964 w 8964"/>
                <a:gd name="T11" fmla="*/ 3640 h 5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64" h="5498">
                  <a:moveTo>
                    <a:pt x="8964" y="3640"/>
                  </a:moveTo>
                  <a:lnTo>
                    <a:pt x="8964" y="5498"/>
                  </a:lnTo>
                  <a:lnTo>
                    <a:pt x="0" y="2030"/>
                  </a:lnTo>
                  <a:lnTo>
                    <a:pt x="0" y="0"/>
                  </a:lnTo>
                  <a:lnTo>
                    <a:pt x="3" y="0"/>
                  </a:lnTo>
                  <a:lnTo>
                    <a:pt x="8964" y="36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25836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6380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412875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6998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1883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800000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171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9431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2785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0C63E5-5D21-47D3-BF0D-57C09B984129}"/>
              </a:ext>
            </a:extLst>
          </p:cNvPr>
          <p:cNvSpPr txBox="1"/>
          <p:nvPr userDrawn="1"/>
        </p:nvSpPr>
        <p:spPr>
          <a:xfrm>
            <a:off x="381000" y="6617410"/>
            <a:ext cx="272415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1">
                    <a:lumMod val="65000"/>
                  </a:schemeClr>
                </a:solidFill>
              </a:rPr>
              <a:t>Copyright © 2020 Accenture. All rights reserved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B2E99D-B14D-4A4A-866D-4CF62FB5E126}"/>
              </a:ext>
            </a:extLst>
          </p:cNvPr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bg1">
                    <a:lumMod val="65000"/>
                  </a:schemeClr>
                </a:solidFill>
              </a:rPr>
              <a:pPr algn="r"/>
              <a:t>‹#›</a:t>
            </a:fld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7670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12875"/>
            <a:ext cx="11430000" cy="93358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80999" y="6617410"/>
            <a:ext cx="272176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pyright © 2020 Accenture. All rights reserved. 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‹#›</a:t>
            </a:fld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1900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3" r:id="rId2"/>
    <p:sldLayoutId id="2147483676" r:id="rId3"/>
    <p:sldLayoutId id="2147483725" r:id="rId4"/>
    <p:sldLayoutId id="2147483711" r:id="rId5"/>
    <p:sldLayoutId id="2147483712" r:id="rId6"/>
    <p:sldLayoutId id="2147483726" r:id="rId7"/>
    <p:sldLayoutId id="2147483728" r:id="rId8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defRPr sz="3200" b="0" kern="1200" cap="all" baseline="0">
          <a:solidFill>
            <a:schemeClr val="accent1"/>
          </a:solidFill>
          <a:latin typeface="Graphik Black" panose="020B0A03030202060203" pitchFamily="34" charset="0"/>
          <a:ea typeface="+mj-ea"/>
          <a:cs typeface="+mj-cs"/>
        </a:defRPr>
      </a:lvl1pPr>
    </p:titleStyle>
    <p:bodyStyle>
      <a:lvl1pPr marL="177800" indent="-17780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•"/>
        <a:defRPr sz="2000" b="0" kern="1200" cap="none" baseline="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1pPr>
      <a:lvl2pPr marL="361950" indent="-184150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2pPr>
      <a:lvl3pPr marL="536575" indent="-174625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 userDrawn="1">
          <p15:clr>
            <a:srgbClr val="F26B43"/>
          </p15:clr>
        </p15:guide>
        <p15:guide id="9" pos="240" userDrawn="1">
          <p15:clr>
            <a:srgbClr val="F26B43"/>
          </p15:clr>
        </p15:guide>
        <p15:guide id="11" pos="3840" userDrawn="1">
          <p15:clr>
            <a:srgbClr val="F26B43"/>
          </p15:clr>
        </p15:guide>
        <p15:guide id="14" pos="7440" userDrawn="1">
          <p15:clr>
            <a:srgbClr val="F26B43"/>
          </p15:clr>
        </p15:guide>
        <p15:guide id="16" orient="horz" pos="240" userDrawn="1">
          <p15:clr>
            <a:srgbClr val="F26B43"/>
          </p15:clr>
        </p15:guide>
        <p15:guide id="17" orient="horz" pos="4020" userDrawn="1">
          <p15:clr>
            <a:srgbClr val="F26B43"/>
          </p15:clr>
        </p15:guide>
        <p15:guide id="18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ongodb.com/download-center/community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comments" Target="../comments/comment1.xml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comments" Target="../comments/commen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comments" Target="../comments/comment3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comments" Target="../comments/comment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comments" Target="../comments/comment5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comments" Target="../comments/commen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7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comments" Target="../comments/commen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comments" Target="../comments/commen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5" Type="http://schemas.openxmlformats.org/officeDocument/2006/relationships/comments" Target="../comments/comment10.xml"/><Relationship Id="rId4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ccenture.percipio.com/channels/150c1001-0e64-11e7-92d8-37e13b311be2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npmjs.com/downloading-and-installing-node-js-and-npm" TargetMode="External"/><Relationship Id="rId2" Type="http://schemas.openxmlformats.org/officeDocument/2006/relationships/hyperlink" Target="https://code.visualstudio.com/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 sz="quarter" idx="4294967295"/>
          </p:nvPr>
        </p:nvSpPr>
        <p:spPr>
          <a:xfrm>
            <a:off x="5391149" y="2068903"/>
            <a:ext cx="6438901" cy="590931"/>
          </a:xfrm>
        </p:spPr>
        <p:txBody>
          <a:bodyPr anchor="b" anchorCtr="0">
            <a:spAutoFit/>
          </a:bodyPr>
          <a:lstStyle/>
          <a:p>
            <a:pPr>
              <a:spcBef>
                <a:spcPts val="0"/>
              </a:spcBef>
            </a:pPr>
            <a:r>
              <a:rPr lang="en-US" sz="4800" dirty="0">
                <a:solidFill>
                  <a:schemeClr val="tx1"/>
                </a:solidFill>
              </a:rPr>
              <a:t>NODE and MONGO 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sz="quarter" idx="4294967295"/>
          </p:nvPr>
        </p:nvSpPr>
        <p:spPr>
          <a:xfrm>
            <a:off x="5391148" y="2659834"/>
            <a:ext cx="6419851" cy="393954"/>
          </a:xfrm>
        </p:spPr>
        <p:txBody>
          <a:bodyPr>
            <a:spAutoFit/>
          </a:bodyPr>
          <a:lstStyle/>
          <a:p>
            <a:pPr marL="0" indent="0">
              <a:lnSpc>
                <a:spcPct val="80000"/>
              </a:lnSpc>
              <a:spcBef>
                <a:spcPts val="0"/>
              </a:spcBef>
              <a:buNone/>
            </a:pPr>
            <a:r>
              <a:rPr lang="en-US" sz="3200" cap="all" dirty="0">
                <a:latin typeface="Graphik Black" panose="020B0A03030202060203" pitchFamily="34" charset="0"/>
              </a:rPr>
              <a:t>Job ready training</a:t>
            </a:r>
          </a:p>
        </p:txBody>
      </p:sp>
    </p:spTree>
    <p:extLst>
      <p:ext uri="{BB962C8B-B14F-4D97-AF65-F5344CB8AC3E}">
        <p14:creationId xmlns:p14="http://schemas.microsoft.com/office/powerpoint/2010/main" val="19051082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NODE works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44081710-3FC9-46DA-8D81-1F55F8075113}"/>
              </a:ext>
            </a:extLst>
          </p:cNvPr>
          <p:cNvSpPr txBox="1">
            <a:spLocks/>
          </p:cNvSpPr>
          <p:nvPr/>
        </p:nvSpPr>
        <p:spPr>
          <a:xfrm>
            <a:off x="380777" y="747278"/>
            <a:ext cx="5034792" cy="138602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Synchronous vs asynchronous</a:t>
            </a: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>
              <a:spcBef>
                <a:spcPts val="400"/>
              </a:spcBef>
            </a:pPr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D9C982-3BA0-40C3-AD33-0C65DCB87F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703" y="2264121"/>
            <a:ext cx="2720578" cy="199552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E29CD0F-7745-4464-AF89-0EA86F4882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36665" y="3932580"/>
            <a:ext cx="2377343" cy="19358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25EF958-4842-4532-84E9-42CA6FBA16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99812" y="1968421"/>
            <a:ext cx="2116932" cy="17170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6E8E570-5BB1-465D-8E9D-51457D9533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19205" y="1968421"/>
            <a:ext cx="1987163" cy="171703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64D744B-62BD-465F-A023-7D2167ED36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04035" y="1069682"/>
            <a:ext cx="1642605" cy="65161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F943C05-7242-4946-8603-4167F0E1DF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56184" y="3899245"/>
            <a:ext cx="3532070" cy="121842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6BC1B60-90A4-4218-BBBF-22F8976BA9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88275" y="5349415"/>
            <a:ext cx="2864028" cy="8778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2804347-21B6-4383-BBC7-2AE98142E39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74003" y="1069682"/>
            <a:ext cx="1642605" cy="684947"/>
          </a:xfrm>
          <a:prstGeom prst="rect">
            <a:avLst/>
          </a:prstGeom>
        </p:spPr>
      </p:pic>
      <p:sp>
        <p:nvSpPr>
          <p:cNvPr id="15" name="Title 2">
            <a:extLst>
              <a:ext uri="{FF2B5EF4-FFF2-40B4-BE49-F238E27FC236}">
                <a16:creationId xmlns:a16="http://schemas.microsoft.com/office/drawing/2014/main" id="{3A9F67FC-111F-4BFB-9F36-7A1F45EDEC3C}"/>
              </a:ext>
            </a:extLst>
          </p:cNvPr>
          <p:cNvSpPr txBox="1">
            <a:spLocks/>
          </p:cNvSpPr>
          <p:nvPr/>
        </p:nvSpPr>
        <p:spPr>
          <a:xfrm>
            <a:off x="104195" y="1830651"/>
            <a:ext cx="2934086" cy="3026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400" dirty="0">
                <a:latin typeface="Graphik Black" panose="020B0A03030202060203" pitchFamily="34" charset="0"/>
              </a:rPr>
              <a:t>SCENARIO</a:t>
            </a:r>
          </a:p>
        </p:txBody>
      </p:sp>
    </p:spTree>
    <p:extLst>
      <p:ext uri="{BB962C8B-B14F-4D97-AF65-F5344CB8AC3E}">
        <p14:creationId xmlns:p14="http://schemas.microsoft.com/office/powerpoint/2010/main" val="20910762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NODE works – Event queu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55CA386-B67A-4415-99CA-CA588D5CE4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185" y="990600"/>
            <a:ext cx="2960746" cy="249736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9C56605-FE73-421D-A4ED-C7FE45693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9146" y="990600"/>
            <a:ext cx="2847975" cy="24384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93E5205-1E44-4812-A774-8213A3FABB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50274" y="1165721"/>
            <a:ext cx="4757684" cy="208816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C370006-2BB6-4816-A3AF-B4DE3EA584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1369" y="3959662"/>
            <a:ext cx="5049124" cy="217963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8FFD3A1-47AF-4FCB-85A5-AD45B87BD1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13942" y="3959662"/>
            <a:ext cx="5297058" cy="2179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8104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DE architecture - in perspectiv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412931A-F472-4003-96E1-BBB99D1098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6132" y="1384183"/>
            <a:ext cx="6654867" cy="4273947"/>
          </a:xfrm>
          <a:prstGeom prst="rect">
            <a:avLst/>
          </a:prstGeom>
        </p:spPr>
      </p:pic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200F4E77-F893-4DFC-A664-A42AE777AF44}"/>
              </a:ext>
            </a:extLst>
          </p:cNvPr>
          <p:cNvSpPr txBox="1">
            <a:spLocks/>
          </p:cNvSpPr>
          <p:nvPr/>
        </p:nvSpPr>
        <p:spPr>
          <a:xfrm>
            <a:off x="234726" y="1280998"/>
            <a:ext cx="4790279" cy="507780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Architecture features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/>
              <a:t>Most of the server-side languages, like PHP, ASP.NET, Ruby, JAVA servers, follow 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</a:rPr>
              <a:t>multi-threaded</a:t>
            </a:r>
            <a:r>
              <a:rPr lang="en-US" sz="1400" dirty="0"/>
              <a:t> architecture. That means, every request by the client results in the instantiation of a new thread or even a process.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/>
              <a:t>However, in Node.js, all request are handled in a 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</a:rPr>
              <a:t>single thread </a:t>
            </a:r>
            <a:r>
              <a:rPr lang="en-US" sz="1400" dirty="0"/>
              <a:t>with shared resources. Then how does Node.js handle concurrent traffic or requests? It follows “Single Threaded Event Loop Model” architecture that runs on top of single V8 engine instance.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</a:rPr>
              <a:t>Node.js is event-driven that implements background workers to achieve non-blocking asynchronous behavior</a:t>
            </a:r>
            <a:r>
              <a:rPr lang="en-US" sz="1400" dirty="0"/>
              <a:t>. We called it the 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</a:rPr>
              <a:t>Observer Pattern</a:t>
            </a:r>
            <a:r>
              <a:rPr lang="en-US" sz="1400" dirty="0"/>
              <a:t>. Node thread keeps an event loop and whenever a task gets completed, it fires the corresponding event which signals the event-listener function to execute as illustrated below.</a:t>
            </a:r>
          </a:p>
          <a:p>
            <a:pPr marL="144463" indent="-144463"/>
            <a:r>
              <a:rPr lang="en-US" sz="800" dirty="0"/>
              <a:t>Event Loop architecture reference</a:t>
            </a:r>
          </a:p>
          <a:p>
            <a:pPr marL="328613" lvl="1" indent="-144463"/>
            <a:r>
              <a:rPr lang="en-US" sz="800" b="1" dirty="0">
                <a:solidFill>
                  <a:schemeClr val="accent2">
                    <a:lumMod val="75000"/>
                  </a:schemeClr>
                </a:solidFill>
              </a:rPr>
              <a:t>https://www.youtube.com/watch?v=8aGhZQkoFbQ</a:t>
            </a:r>
          </a:p>
          <a:p>
            <a:pPr marL="328613" lvl="1" indent="-144463"/>
            <a:r>
              <a:rPr lang="en-US" sz="800" dirty="0"/>
              <a:t>https://blog.carbonfive.com/2013/10/27/the-javascript-event-loop-explained/</a:t>
            </a:r>
          </a:p>
          <a:p>
            <a:pPr marL="144463" indent="-144463"/>
            <a:r>
              <a:rPr lang="en-US" sz="800" dirty="0">
                <a:latin typeface="+mj-lt"/>
              </a:rPr>
              <a:t>Why prefer </a:t>
            </a:r>
            <a:r>
              <a:rPr lang="en-US" sz="800" dirty="0" err="1">
                <a:latin typeface="+mj-lt"/>
              </a:rPr>
              <a:t>nodejs</a:t>
            </a:r>
            <a:r>
              <a:rPr lang="en-US" sz="800" dirty="0">
                <a:latin typeface="+mj-lt"/>
              </a:rPr>
              <a:t> over .NET or java</a:t>
            </a:r>
          </a:p>
          <a:p>
            <a:pPr marL="328613" lvl="1" indent="-144463"/>
            <a:r>
              <a:rPr lang="en-US" sz="800" dirty="0">
                <a:latin typeface="+mj-lt"/>
              </a:rPr>
              <a:t>https://www.infoworld.com/article/2975233/javascript/why-node-js-beats-java-net-for-web-mobile-iot-apps.html</a:t>
            </a:r>
          </a:p>
          <a:p>
            <a:pPr marL="328613" lvl="1" indent="-144463"/>
            <a:r>
              <a:rPr lang="en-US" sz="800" dirty="0">
                <a:latin typeface="+mj-lt"/>
              </a:rPr>
              <a:t>http://www.dotnettricks.com/learn/nodejs/advantages-and-limitations-of-nodejs </a:t>
            </a: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928666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ALLING NOD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BF5DC118-8069-4171-B830-5566684817DA}"/>
              </a:ext>
            </a:extLst>
          </p:cNvPr>
          <p:cNvSpPr txBox="1">
            <a:spLocks/>
          </p:cNvSpPr>
          <p:nvPr/>
        </p:nvSpPr>
        <p:spPr>
          <a:xfrm>
            <a:off x="-136966" y="1129674"/>
            <a:ext cx="11521748" cy="59093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400" dirty="0">
                <a:latin typeface="Graphik Black" panose="020B0A03030202060203" pitchFamily="34" charset="0"/>
              </a:rPr>
              <a:t>STEP-1 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latin typeface="Graphik Black" panose="020B0A03030202060203" pitchFamily="34" charset="0"/>
              </a:rPr>
              <a:t>Install node from </a:t>
            </a:r>
            <a:r>
              <a:rPr lang="en-US" sz="1200" dirty="0">
                <a:hlinkClick r:id="rId3"/>
              </a:rPr>
              <a:t>https://www.mongodb.com/download-center/community</a:t>
            </a:r>
            <a:endParaRPr lang="en-US" sz="1200" dirty="0">
              <a:latin typeface="Graphik Black" panose="020B0A0303020206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CDBC16D-2194-4885-A584-91E9A3E9B5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4738" y="2003326"/>
            <a:ext cx="10627144" cy="4045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1008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 a new API projec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415049-BB6E-47CB-B5EA-8AF255C8D2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727" y="1532722"/>
            <a:ext cx="4702955" cy="481971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B6179D2-8999-4F1B-8BF5-B9997AD154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53922" y="1791254"/>
            <a:ext cx="6185777" cy="129487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74D33B7-1035-4C92-A692-BDA017D6C6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53922" y="3595845"/>
            <a:ext cx="5176374" cy="2863139"/>
          </a:xfrm>
          <a:prstGeom prst="rect">
            <a:avLst/>
          </a:prstGeom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6C9F4FBA-1E21-4F32-B923-77E9828154CA}"/>
              </a:ext>
            </a:extLst>
          </p:cNvPr>
          <p:cNvSpPr txBox="1">
            <a:spLocks/>
          </p:cNvSpPr>
          <p:nvPr/>
        </p:nvSpPr>
        <p:spPr>
          <a:xfrm>
            <a:off x="191526" y="1280998"/>
            <a:ext cx="4800381" cy="17235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1400" dirty="0">
                <a:latin typeface="Graphik Black" panose="020B0A03030202060203" pitchFamily="34" charset="0"/>
              </a:rPr>
              <a:t>STEP2 –”</a:t>
            </a:r>
            <a:r>
              <a:rPr lang="en-US" sz="1400" dirty="0" err="1">
                <a:latin typeface="Graphik Black" panose="020B0A03030202060203" pitchFamily="34" charset="0"/>
              </a:rPr>
              <a:t>npm</a:t>
            </a:r>
            <a:r>
              <a:rPr lang="en-US" sz="1400" dirty="0">
                <a:latin typeface="Graphik Black" panose="020B0A03030202060203" pitchFamily="34" charset="0"/>
              </a:rPr>
              <a:t> </a:t>
            </a:r>
            <a:r>
              <a:rPr lang="en-US" sz="1400" dirty="0" err="1">
                <a:latin typeface="Graphik Black" panose="020B0A03030202060203" pitchFamily="34" charset="0"/>
              </a:rPr>
              <a:t>init</a:t>
            </a:r>
            <a:r>
              <a:rPr lang="en-US" sz="1400" dirty="0">
                <a:latin typeface="Graphik Black" panose="020B0A03030202060203" pitchFamily="34" charset="0"/>
              </a:rPr>
              <a:t>” from any project folder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C1638666-02CC-4380-B028-741A8B19FAAC}"/>
              </a:ext>
            </a:extLst>
          </p:cNvPr>
          <p:cNvSpPr txBox="1">
            <a:spLocks/>
          </p:cNvSpPr>
          <p:nvPr/>
        </p:nvSpPr>
        <p:spPr>
          <a:xfrm>
            <a:off x="5342156" y="1274189"/>
            <a:ext cx="6317853" cy="51706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endParaRPr lang="en-US" sz="1400" dirty="0">
              <a:latin typeface="Graphik Black" panose="020B0A0303020206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sz="1400" dirty="0">
                <a:latin typeface="Graphik Black" panose="020B0A03030202060203" pitchFamily="34" charset="0"/>
              </a:rPr>
              <a:t>STEP3 – Install Express (Notice </a:t>
            </a:r>
            <a:r>
              <a:rPr lang="en-US" sz="1400" dirty="0" err="1">
                <a:latin typeface="Graphik Black" panose="020B0A03030202060203" pitchFamily="34" charset="0"/>
              </a:rPr>
              <a:t>package.json</a:t>
            </a:r>
            <a:r>
              <a:rPr lang="en-US" sz="1400" dirty="0">
                <a:latin typeface="Graphik Black" panose="020B0A03030202060203" pitchFamily="34" charset="0"/>
              </a:rPr>
              <a:t> after the command)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74B077DE-3BF2-49E8-8346-01E17AF22B3B}"/>
              </a:ext>
            </a:extLst>
          </p:cNvPr>
          <p:cNvSpPr txBox="1">
            <a:spLocks/>
          </p:cNvSpPr>
          <p:nvPr/>
        </p:nvSpPr>
        <p:spPr>
          <a:xfrm>
            <a:off x="4710987" y="3209393"/>
            <a:ext cx="6317853" cy="34471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endParaRPr lang="en-US" sz="1400" dirty="0">
              <a:latin typeface="Graphik Black" panose="020B0A0303020206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sz="1400" dirty="0">
                <a:latin typeface="Graphik Black" panose="020B0A03030202060203" pitchFamily="34" charset="0"/>
              </a:rPr>
              <a:t>STEP4 – Open the code is editor and notice.. </a:t>
            </a:r>
          </a:p>
        </p:txBody>
      </p:sp>
    </p:spTree>
    <p:extLst>
      <p:ext uri="{BB962C8B-B14F-4D97-AF65-F5344CB8AC3E}">
        <p14:creationId xmlns:p14="http://schemas.microsoft.com/office/powerpoint/2010/main" val="28862462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 – Simple “Hello World”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E4F453-69A4-4769-AF4B-26ACFE7398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8326" y="1118651"/>
            <a:ext cx="8365826" cy="380974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3EA97E-53EB-4CB6-9363-4389610834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8326" y="5386924"/>
            <a:ext cx="6057900" cy="7048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78C02B6-2FA6-4F1B-B4C0-548E7BCB37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42249" y="5189803"/>
            <a:ext cx="3781425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9004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REST anyway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24DC301-55FB-4100-8F0E-81B4FBC43A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9200" y="854827"/>
            <a:ext cx="6736411" cy="79659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C4F474C-916B-4EC3-89CE-9CEF377DE5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9574" y="1657713"/>
            <a:ext cx="4001600" cy="198305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AB01826-2A3E-4050-91C0-39578879A5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64136" y="1905495"/>
            <a:ext cx="3747937" cy="21183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6C1578E-B3B8-4CB0-8453-22661FD050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30922" y="4023894"/>
            <a:ext cx="4001600" cy="2241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2962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T - Constraint.. – The Uniform Interface NOUNS ands VERB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5D39505-28A4-4634-8900-025682FE0E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4795" y="1474386"/>
            <a:ext cx="4824970" cy="29631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15C61DD-F59A-4A0A-8500-FCF390C0F5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2237" y="1378929"/>
            <a:ext cx="4659787" cy="138802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07B1A5D-9294-4778-9709-3AFC902C7A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12237" y="3566838"/>
            <a:ext cx="4328523" cy="1598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8818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T -  Constraint.. – The Uniform Interface NOUNS ands VERB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73974F-6425-49A5-B9EC-E3B5DF8F91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219" y="1421948"/>
            <a:ext cx="8815664" cy="3570096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D43F5DF-1A0D-4B70-A84A-7B315D4AD196}"/>
              </a:ext>
            </a:extLst>
          </p:cNvPr>
          <p:cNvSpPr txBox="1">
            <a:spLocks/>
          </p:cNvSpPr>
          <p:nvPr/>
        </p:nvSpPr>
        <p:spPr>
          <a:xfrm>
            <a:off x="746611" y="5370620"/>
            <a:ext cx="10701202" cy="663670"/>
          </a:xfrm>
          <a:prstGeom prst="rect">
            <a:avLst/>
          </a:prstGeom>
        </p:spPr>
        <p:txBody>
          <a:bodyPr/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/>
              <a:t>Best practices for defining REST APIs</a:t>
            </a:r>
          </a:p>
          <a:p>
            <a:pPr lvl="1"/>
            <a:r>
              <a:rPr lang="en-US" b="1"/>
              <a:t>http://www.vinaysahni.com/best-practices-for-a-pragmatic-restful-api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7108320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I IMPLEMENTATION</a:t>
            </a:r>
          </a:p>
        </p:txBody>
      </p:sp>
    </p:spTree>
    <p:extLst>
      <p:ext uri="{BB962C8B-B14F-4D97-AF65-F5344CB8AC3E}">
        <p14:creationId xmlns:p14="http://schemas.microsoft.com/office/powerpoint/2010/main" val="25998845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064CEFE-1137-46BF-9FBD-64524B8B091E}"/>
              </a:ext>
            </a:extLst>
          </p:cNvPr>
          <p:cNvSpPr txBox="1">
            <a:spLocks/>
          </p:cNvSpPr>
          <p:nvPr/>
        </p:nvSpPr>
        <p:spPr>
          <a:xfrm>
            <a:off x="5567493" y="1079931"/>
            <a:ext cx="5715000" cy="503009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None/>
            </a:pPr>
            <a:r>
              <a:rPr lang="en-US" sz="32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NODE Architectur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07A4772-BB07-432D-87E3-DAAE7C6444FE}"/>
              </a:ext>
            </a:extLst>
          </p:cNvPr>
          <p:cNvSpPr txBox="1">
            <a:spLocks/>
          </p:cNvSpPr>
          <p:nvPr/>
        </p:nvSpPr>
        <p:spPr>
          <a:xfrm>
            <a:off x="5567493" y="2132441"/>
            <a:ext cx="5715000" cy="503009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32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How node work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17AE190-ADEC-4110-88C9-62CE94B57827}"/>
              </a:ext>
            </a:extLst>
          </p:cNvPr>
          <p:cNvSpPr txBox="1">
            <a:spLocks/>
          </p:cNvSpPr>
          <p:nvPr/>
        </p:nvSpPr>
        <p:spPr>
          <a:xfrm>
            <a:off x="5567493" y="3184951"/>
            <a:ext cx="5715000" cy="503009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32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Installing nod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8CB09D-48C4-417A-A1B5-CDF0B65E5C8A}"/>
              </a:ext>
            </a:extLst>
          </p:cNvPr>
          <p:cNvSpPr txBox="1">
            <a:spLocks/>
          </p:cNvSpPr>
          <p:nvPr/>
        </p:nvSpPr>
        <p:spPr>
          <a:xfrm>
            <a:off x="381000" y="2680794"/>
            <a:ext cx="4660783" cy="1340161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91440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8000" cap="all" dirty="0">
                <a:solidFill>
                  <a:schemeClr val="accent3">
                    <a:lumMod val="60000"/>
                    <a:lumOff val="40000"/>
                  </a:schemeClr>
                </a:solidFill>
                <a:latin typeface="Graphik Black" panose="020B0A03030202060203" pitchFamily="34" charset="0"/>
                <a:cs typeface="+mn-cs"/>
              </a:rPr>
              <a:t>agenda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758A283-662E-4635-911E-8DE8EB8429EE}"/>
              </a:ext>
            </a:extLst>
          </p:cNvPr>
          <p:cNvSpPr txBox="1">
            <a:spLocks/>
          </p:cNvSpPr>
          <p:nvPr/>
        </p:nvSpPr>
        <p:spPr>
          <a:xfrm>
            <a:off x="5567493" y="185851"/>
            <a:ext cx="5715000" cy="503009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32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What IS Nod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D76104D-68F4-4780-AF22-73945260D7C4}"/>
              </a:ext>
            </a:extLst>
          </p:cNvPr>
          <p:cNvSpPr txBox="1">
            <a:spLocks/>
          </p:cNvSpPr>
          <p:nvPr/>
        </p:nvSpPr>
        <p:spPr>
          <a:xfrm>
            <a:off x="5567493" y="4100102"/>
            <a:ext cx="6190376" cy="503009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32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Your first node program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5614FCD-194B-4246-9037-89EDF6F13A34}"/>
              </a:ext>
            </a:extLst>
          </p:cNvPr>
          <p:cNvSpPr txBox="1">
            <a:spLocks/>
          </p:cNvSpPr>
          <p:nvPr/>
        </p:nvSpPr>
        <p:spPr>
          <a:xfrm>
            <a:off x="5567493" y="5061461"/>
            <a:ext cx="6190376" cy="503009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32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REST STANDARD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4EAE744-D63C-468D-8EFF-E122B1FE2663}"/>
              </a:ext>
            </a:extLst>
          </p:cNvPr>
          <p:cNvSpPr txBox="1">
            <a:spLocks/>
          </p:cNvSpPr>
          <p:nvPr/>
        </p:nvSpPr>
        <p:spPr>
          <a:xfrm>
            <a:off x="5041783" y="5953617"/>
            <a:ext cx="6716086" cy="503009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32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Microservice architecture</a:t>
            </a:r>
          </a:p>
        </p:txBody>
      </p:sp>
    </p:spTree>
    <p:extLst>
      <p:ext uri="{BB962C8B-B14F-4D97-AF65-F5344CB8AC3E}">
        <p14:creationId xmlns:p14="http://schemas.microsoft.com/office/powerpoint/2010/main" val="32965788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re-up Mongo DB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4C44199-5A2D-4C65-83C0-6BF59A13A2E4}"/>
              </a:ext>
            </a:extLst>
          </p:cNvPr>
          <p:cNvSpPr txBox="1">
            <a:spLocks/>
          </p:cNvSpPr>
          <p:nvPr/>
        </p:nvSpPr>
        <p:spPr>
          <a:xfrm>
            <a:off x="352087" y="1151619"/>
            <a:ext cx="5854235" cy="396000"/>
          </a:xfrm>
          <a:prstGeom prst="rect">
            <a:avLst/>
          </a:prstGeom>
        </p:spPr>
        <p:txBody>
          <a:bodyPr/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u="sng"/>
              <a:t>STEP1</a:t>
            </a:r>
            <a:r>
              <a:rPr lang="en-US"/>
              <a:t> : download and install MongoDB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0BDF06F-D84B-4755-90CB-AFD38F0907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959" y="1698172"/>
            <a:ext cx="5644953" cy="4236794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AC4C2E6-7B52-42B6-95F2-2EF5399643D7}"/>
              </a:ext>
            </a:extLst>
          </p:cNvPr>
          <p:cNvSpPr txBox="1">
            <a:spLocks/>
          </p:cNvSpPr>
          <p:nvPr/>
        </p:nvSpPr>
        <p:spPr>
          <a:xfrm>
            <a:off x="6465900" y="1159326"/>
            <a:ext cx="5096119" cy="1999510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449263" indent="-26670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 sz="35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tabLst/>
              <a:defRPr sz="32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898525" indent="-27305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 sz="29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1074738" indent="-176213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u="sng" dirty="0">
                <a:solidFill>
                  <a:schemeClr val="tx1"/>
                </a:solidFill>
              </a:rPr>
              <a:t>STEP2 </a:t>
            </a:r>
            <a:r>
              <a:rPr lang="en-US" dirty="0">
                <a:solidFill>
                  <a:schemeClr val="tx1"/>
                </a:solidFill>
              </a:rPr>
              <a:t>: </a:t>
            </a:r>
            <a:r>
              <a:rPr lang="en-US" sz="1600" dirty="0">
                <a:solidFill>
                  <a:schemeClr val="tx1"/>
                </a:solidFill>
              </a:rPr>
              <a:t>MongoDB requires a data directory to store all data. MongoDB’s default data directory path is the absolute path \data\</a:t>
            </a:r>
            <a:r>
              <a:rPr lang="en-US" sz="1600" dirty="0" err="1">
                <a:solidFill>
                  <a:schemeClr val="tx1"/>
                </a:solidFill>
              </a:rPr>
              <a:t>db</a:t>
            </a:r>
            <a:r>
              <a:rPr lang="en-US" sz="1600" dirty="0">
                <a:solidFill>
                  <a:schemeClr val="tx1"/>
                </a:solidFill>
              </a:rPr>
              <a:t> on the drive from which you start MongoDB. Create this folder by running the following command in a Command Prompt:</a:t>
            </a:r>
          </a:p>
          <a:p>
            <a:r>
              <a:rPr lang="en-US" sz="1600" dirty="0">
                <a:solidFill>
                  <a:schemeClr val="tx1"/>
                </a:solidFill>
                <a:highlight>
                  <a:srgbClr val="FFFF00"/>
                </a:highlight>
              </a:rPr>
              <a:t>C: \md \data\</a:t>
            </a:r>
            <a:r>
              <a:rPr lang="en-US" sz="1600" dirty="0" err="1">
                <a:solidFill>
                  <a:schemeClr val="tx1"/>
                </a:solidFill>
                <a:highlight>
                  <a:srgbClr val="FFFF00"/>
                </a:highlight>
              </a:rPr>
              <a:t>db</a:t>
            </a:r>
            <a:endParaRPr lang="en-US" sz="1600" dirty="0">
              <a:solidFill>
                <a:schemeClr val="tx1"/>
              </a:solidFill>
              <a:highlight>
                <a:srgbClr val="FFFF00"/>
              </a:highlight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908BAB4-82A4-4AD2-A1B3-0B4CEA41ED38}"/>
              </a:ext>
            </a:extLst>
          </p:cNvPr>
          <p:cNvSpPr txBox="1">
            <a:spLocks/>
          </p:cNvSpPr>
          <p:nvPr/>
        </p:nvSpPr>
        <p:spPr>
          <a:xfrm>
            <a:off x="6465900" y="3057399"/>
            <a:ext cx="5660785" cy="920835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449263" indent="-26670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 sz="35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tabLst/>
              <a:defRPr sz="32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898525" indent="-27305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 sz="29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1074738" indent="-176213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u="sng" dirty="0">
                <a:solidFill>
                  <a:schemeClr val="tx1"/>
                </a:solidFill>
              </a:rPr>
              <a:t>STEP3 </a:t>
            </a:r>
            <a:r>
              <a:rPr lang="en-US" dirty="0">
                <a:solidFill>
                  <a:schemeClr val="tx1"/>
                </a:solidFill>
              </a:rPr>
              <a:t>: </a:t>
            </a:r>
            <a:r>
              <a:rPr lang="en-US" sz="1600" dirty="0">
                <a:solidFill>
                  <a:schemeClr val="tx1"/>
                </a:solidFill>
              </a:rPr>
              <a:t>Start MongoDB by running command </a:t>
            </a:r>
            <a:r>
              <a:rPr lang="en-US" sz="1600" dirty="0">
                <a:solidFill>
                  <a:schemeClr val="tx1"/>
                </a:solidFill>
                <a:highlight>
                  <a:srgbClr val="FFFF00"/>
                </a:highlight>
              </a:rPr>
              <a:t>"C:\Program Files\MongoDB\Server\3.6\bin\mongod.exe" 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31DB51D-ACD7-4D09-A63E-0A550BF1F4ED}"/>
              </a:ext>
            </a:extLst>
          </p:cNvPr>
          <p:cNvSpPr txBox="1">
            <a:spLocks/>
          </p:cNvSpPr>
          <p:nvPr/>
        </p:nvSpPr>
        <p:spPr>
          <a:xfrm>
            <a:off x="6465899" y="4151411"/>
            <a:ext cx="5660785" cy="920835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449263" indent="-26670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 sz="35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tabLst/>
              <a:defRPr sz="32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898525" indent="-27305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 sz="29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1074738" indent="-176213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u="sng">
                <a:solidFill>
                  <a:schemeClr val="tx1"/>
                </a:solidFill>
              </a:rPr>
              <a:t>STEP4 </a:t>
            </a:r>
            <a:r>
              <a:rPr lang="en-US">
                <a:solidFill>
                  <a:schemeClr val="tx1"/>
                </a:solidFill>
              </a:rPr>
              <a:t>: </a:t>
            </a:r>
            <a:r>
              <a:rPr lang="en-US" sz="1600">
                <a:solidFill>
                  <a:schemeClr val="tx1"/>
                </a:solidFill>
              </a:rPr>
              <a:t>To connect to MongoDB through the ~bin.mongo.exe shell, open another Command Prompt. </a:t>
            </a:r>
          </a:p>
          <a:p>
            <a:r>
              <a:rPr lang="en-US" sz="1600">
                <a:solidFill>
                  <a:schemeClr val="tx1"/>
                </a:solidFill>
              </a:rPr>
              <a:t>"C:\Program Files\MongoDB\Server\3.6\bin\mongo.exe"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03389E4-DCA8-41F2-84B0-DFC1FF3A6D20}"/>
              </a:ext>
            </a:extLst>
          </p:cNvPr>
          <p:cNvSpPr txBox="1">
            <a:spLocks/>
          </p:cNvSpPr>
          <p:nvPr/>
        </p:nvSpPr>
        <p:spPr>
          <a:xfrm>
            <a:off x="6465898" y="5162876"/>
            <a:ext cx="5660785" cy="920835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449263" indent="-26670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 sz="35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tabLst/>
              <a:defRPr sz="32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898525" indent="-27305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 sz="29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1074738" indent="-176213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u="sng" dirty="0">
                <a:solidFill>
                  <a:schemeClr val="tx1"/>
                </a:solidFill>
              </a:rPr>
              <a:t>STEP5 </a:t>
            </a:r>
            <a:r>
              <a:rPr lang="en-US" dirty="0">
                <a:solidFill>
                  <a:schemeClr val="tx1"/>
                </a:solidFill>
              </a:rPr>
              <a:t>: </a:t>
            </a:r>
            <a:r>
              <a:rPr lang="en-US" sz="1600">
                <a:solidFill>
                  <a:schemeClr val="tx1"/>
                </a:solidFill>
              </a:rPr>
              <a:t>Install MongoDB </a:t>
            </a:r>
            <a:r>
              <a:rPr lang="en-US" sz="1600" dirty="0">
                <a:solidFill>
                  <a:schemeClr val="tx1"/>
                </a:solidFill>
              </a:rPr>
              <a:t>Compass</a:t>
            </a:r>
          </a:p>
        </p:txBody>
      </p:sp>
    </p:spTree>
    <p:extLst>
      <p:ext uri="{BB962C8B-B14F-4D97-AF65-F5344CB8AC3E}">
        <p14:creationId xmlns:p14="http://schemas.microsoft.com/office/powerpoint/2010/main" val="11928755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QL VS NOSQ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B5C256-74EE-4F11-9CB5-EBB2C720A1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2260" y="1242738"/>
            <a:ext cx="8970058" cy="4754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6681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goDB - Overview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1EF96B-B7E9-4995-895F-B0C142387F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9866" y="1220481"/>
            <a:ext cx="6092456" cy="477919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7CA910A-30DB-402E-A848-4A7FC55F8E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451" y="3723252"/>
            <a:ext cx="5556277" cy="2632205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D4D42DB-5279-4980-9B69-F3BA8BDCD5AF}"/>
              </a:ext>
            </a:extLst>
          </p:cNvPr>
          <p:cNvSpPr txBox="1">
            <a:spLocks/>
          </p:cNvSpPr>
          <p:nvPr/>
        </p:nvSpPr>
        <p:spPr>
          <a:xfrm>
            <a:off x="154380" y="1187288"/>
            <a:ext cx="5659348" cy="2055076"/>
          </a:xfrm>
          <a:prstGeom prst="rect">
            <a:avLst/>
          </a:prstGeom>
        </p:spPr>
        <p:txBody>
          <a:bodyPr/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b="1" dirty="0">
                <a:latin typeface="Arial" pitchFamily="34" charset="0"/>
                <a:ea typeface="Arial" pitchFamily="34" charset="0"/>
              </a:rPr>
              <a:t>MongoDB is a free and open-source cross-platform document-oriented database program. Classified as a NoSQL database program, MongoDB uses JSON-like documents with schemas. MongoDB is developed by MongoDB Inc., and is published under a combination of the GNU </a:t>
            </a:r>
            <a:r>
              <a:rPr lang="en-US" b="1" dirty="0" err="1">
                <a:latin typeface="Arial" pitchFamily="34" charset="0"/>
                <a:ea typeface="Arial" pitchFamily="34" charset="0"/>
              </a:rPr>
              <a:t>Affero</a:t>
            </a:r>
            <a:r>
              <a:rPr lang="en-US" b="1" dirty="0">
                <a:latin typeface="Arial" pitchFamily="34" charset="0"/>
                <a:ea typeface="Arial" pitchFamily="34" charset="0"/>
              </a:rPr>
              <a:t> General Public License and the Apache License.</a:t>
            </a:r>
          </a:p>
        </p:txBody>
      </p:sp>
    </p:spTree>
    <p:extLst>
      <p:ext uri="{BB962C8B-B14F-4D97-AF65-F5344CB8AC3E}">
        <p14:creationId xmlns:p14="http://schemas.microsoft.com/office/powerpoint/2010/main" val="249057827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43ABDE32-7880-4C02-B561-4F79D855B028}"/>
              </a:ext>
            </a:extLst>
          </p:cNvPr>
          <p:cNvSpPr txBox="1">
            <a:spLocks/>
          </p:cNvSpPr>
          <p:nvPr/>
        </p:nvSpPr>
        <p:spPr>
          <a:xfrm>
            <a:off x="381000" y="2210786"/>
            <a:ext cx="4618703" cy="2436427"/>
          </a:xfrm>
          <a:prstGeom prst="rect">
            <a:avLst/>
          </a:prstGeom>
        </p:spPr>
        <p:txBody>
          <a:bodyPr wrap="square" lIns="0" tIns="72000" rIns="0" bIns="0" anchor="ctr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Lorem ipsum dolor sit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met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,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consectetur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dipiscing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elit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.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Sed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dictum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suscipit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nibh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quis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volutpat</a:t>
            </a:r>
            <a:endParaRPr lang="en-US" dirty="0">
              <a:solidFill>
                <a:schemeClr val="accent1"/>
              </a:solidFill>
              <a:latin typeface="Graphik Black" panose="020B0A030302020602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8A69B57-CDBF-4E96-A3AB-AC5C2B33BAE8}"/>
              </a:ext>
            </a:extLst>
          </p:cNvPr>
          <p:cNvCxnSpPr/>
          <p:nvPr/>
        </p:nvCxnSpPr>
        <p:spPr>
          <a:xfrm>
            <a:off x="5389783" y="923925"/>
            <a:ext cx="0" cy="501015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44CA2F7C-8D66-4139-8FC8-E8DEBA7211E8}"/>
              </a:ext>
            </a:extLst>
          </p:cNvPr>
          <p:cNvSpPr txBox="1">
            <a:spLocks/>
          </p:cNvSpPr>
          <p:nvPr/>
        </p:nvSpPr>
        <p:spPr>
          <a:xfrm>
            <a:off x="5779863" y="1293031"/>
            <a:ext cx="6031138" cy="427193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Praesent</a:t>
            </a:r>
            <a:r>
              <a:rPr lang="en-US" sz="2400" dirty="0">
                <a:latin typeface="+mj-lt"/>
              </a:rPr>
              <a:t>  in </a:t>
            </a:r>
            <a:r>
              <a:rPr lang="en-US" sz="2400" dirty="0" err="1">
                <a:latin typeface="+mj-lt"/>
              </a:rPr>
              <a:t>massa</a:t>
            </a:r>
            <a:r>
              <a:rPr lang="en-US" sz="2400" dirty="0">
                <a:latin typeface="+mj-lt"/>
              </a:rPr>
              <a:t> cursus, </a:t>
            </a:r>
            <a:r>
              <a:rPr lang="en-US" sz="2400" dirty="0" err="1">
                <a:latin typeface="+mj-lt"/>
              </a:rPr>
              <a:t>consectetur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lectus</a:t>
            </a:r>
            <a:r>
              <a:rPr lang="en-US" sz="2400" dirty="0">
                <a:latin typeface="+mj-lt"/>
              </a:rPr>
              <a:t> ac, dictum </a:t>
            </a:r>
            <a:r>
              <a:rPr lang="en-US" sz="2400" dirty="0" err="1">
                <a:latin typeface="+mj-lt"/>
              </a:rPr>
              <a:t>nulla</a:t>
            </a:r>
            <a:r>
              <a:rPr lang="en-US" sz="2400" dirty="0">
                <a:latin typeface="+mj-lt"/>
              </a:rPr>
              <a:t>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Morbi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laoree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condimentum</a:t>
            </a:r>
            <a:r>
              <a:rPr lang="en-US" sz="2400" dirty="0">
                <a:latin typeface="+mj-lt"/>
              </a:rPr>
              <a:t> mi, sit </a:t>
            </a:r>
            <a:r>
              <a:rPr lang="en-US" sz="2400" dirty="0" err="1">
                <a:latin typeface="+mj-lt"/>
              </a:rPr>
              <a:t>ame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vulputate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orci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aliquet</a:t>
            </a:r>
            <a:r>
              <a:rPr lang="en-US" sz="2400" dirty="0">
                <a:latin typeface="+mj-lt"/>
              </a:rPr>
              <a:t> et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Etiam</a:t>
            </a:r>
            <a:r>
              <a:rPr lang="en-US" sz="2400" dirty="0">
                <a:latin typeface="+mj-lt"/>
              </a:rPr>
              <a:t> pulvinar </a:t>
            </a:r>
            <a:r>
              <a:rPr lang="en-US" sz="2400" dirty="0" err="1">
                <a:latin typeface="+mj-lt"/>
              </a:rPr>
              <a:t>scelerisque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enim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sed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placerat</a:t>
            </a:r>
            <a:r>
              <a:rPr lang="en-US" sz="2400" dirty="0">
                <a:latin typeface="+mj-lt"/>
              </a:rPr>
              <a:t>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Quisque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fermentum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fringilla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lectus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vel</a:t>
            </a:r>
            <a:r>
              <a:rPr lang="en-US" sz="2400" dirty="0">
                <a:latin typeface="+mj-lt"/>
              </a:rPr>
              <a:t> vestibulum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>
                <a:latin typeface="+mj-lt"/>
              </a:rPr>
              <a:t>Nunc </a:t>
            </a:r>
            <a:r>
              <a:rPr lang="en-US" sz="2400" dirty="0" err="1">
                <a:latin typeface="+mj-lt"/>
              </a:rPr>
              <a:t>viverra</a:t>
            </a:r>
            <a:r>
              <a:rPr lang="en-US" sz="2400" dirty="0">
                <a:latin typeface="+mj-lt"/>
              </a:rPr>
              <a:t>, </a:t>
            </a:r>
            <a:r>
              <a:rPr lang="en-US" sz="2400" dirty="0" err="1">
                <a:latin typeface="+mj-lt"/>
              </a:rPr>
              <a:t>quam</a:t>
            </a:r>
            <a:r>
              <a:rPr lang="en-US" sz="2400" dirty="0">
                <a:latin typeface="+mj-lt"/>
              </a:rPr>
              <a:t> a </a:t>
            </a:r>
            <a:r>
              <a:rPr lang="en-US" sz="2400" dirty="0" err="1">
                <a:latin typeface="+mj-lt"/>
              </a:rPr>
              <a:t>mollis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varius</a:t>
            </a:r>
            <a:r>
              <a:rPr lang="en-US" sz="2400" dirty="0">
                <a:latin typeface="+mj-lt"/>
              </a:rPr>
              <a:t>, </a:t>
            </a:r>
            <a:r>
              <a:rPr lang="en-US" sz="2400" dirty="0" err="1">
                <a:latin typeface="+mj-lt"/>
              </a:rPr>
              <a:t>turpis</a:t>
            </a:r>
            <a:r>
              <a:rPr lang="en-US" sz="2400" dirty="0">
                <a:latin typeface="+mj-lt"/>
              </a:rPr>
              <a:t> ante </a:t>
            </a:r>
            <a:r>
              <a:rPr lang="en-US" sz="2400" dirty="0" err="1">
                <a:latin typeface="+mj-lt"/>
              </a:rPr>
              <a:t>tincidun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diam</a:t>
            </a:r>
            <a:r>
              <a:rPr lang="en-US" sz="2400" dirty="0">
                <a:latin typeface="+mj-lt"/>
              </a:rPr>
              <a:t>, </a:t>
            </a:r>
            <a:r>
              <a:rPr lang="en-US" sz="2400" dirty="0" err="1">
                <a:latin typeface="+mj-lt"/>
              </a:rPr>
              <a:t>ege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tincidun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arcu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metus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eu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justo</a:t>
            </a:r>
            <a:r>
              <a:rPr lang="en-US" sz="2400" dirty="0">
                <a:latin typeface="+mj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509553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24D93F-A931-4372-B9D2-14A0FFD5C7EF}"/>
              </a:ext>
            </a:extLst>
          </p:cNvPr>
          <p:cNvSpPr txBox="1">
            <a:spLocks/>
          </p:cNvSpPr>
          <p:nvPr/>
        </p:nvSpPr>
        <p:spPr>
          <a:xfrm>
            <a:off x="381000" y="3033962"/>
            <a:ext cx="11430000" cy="790075"/>
          </a:xfrm>
          <a:prstGeom prst="rect">
            <a:avLst/>
          </a:prstGeom>
        </p:spPr>
        <p:txBody>
          <a:bodyPr vert="horz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54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361200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8"/>
          </p:nvPr>
        </p:nvSpPr>
        <p:spPr>
          <a:xfrm>
            <a:off x="381000" y="1800000"/>
            <a:ext cx="11429999" cy="933589"/>
          </a:xfrm>
        </p:spPr>
        <p:txBody>
          <a:bodyPr/>
          <a:lstStyle/>
          <a:p>
            <a:r>
              <a:rPr lang="en-US" dirty="0"/>
              <a:t>Text</a:t>
            </a:r>
          </a:p>
          <a:p>
            <a:pPr lvl="1"/>
            <a:r>
              <a:rPr lang="en-US" dirty="0"/>
              <a:t>Text</a:t>
            </a:r>
          </a:p>
          <a:p>
            <a:pPr lvl="2"/>
            <a:r>
              <a:rPr lang="en-US" dirty="0"/>
              <a:t>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er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3C2055B-830C-47F4-B805-B01AC8D821A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04553648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er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028317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4717E6CA-2C53-4F13-ADE4-6D5F5A5E7183}"/>
              </a:ext>
            </a:extLst>
          </p:cNvPr>
          <p:cNvSpPr/>
          <p:nvPr/>
        </p:nvSpPr>
        <p:spPr>
          <a:xfrm>
            <a:off x="5242130" y="2292446"/>
            <a:ext cx="2520000" cy="159069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72000"/>
          </a:xfrm>
        </p:spPr>
        <p:txBody>
          <a:bodyPr/>
          <a:lstStyle/>
          <a:p>
            <a:r>
              <a:rPr lang="en-US"/>
              <a:t>Greater than and logo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CBF2E4F4-F4EB-47F0-918C-F6A8E283212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700000" y="1427073"/>
            <a:ext cx="2078406" cy="2160000"/>
          </a:xfrm>
          <a:custGeom>
            <a:avLst/>
            <a:gdLst>
              <a:gd name="T0" fmla="*/ 0 w 3969"/>
              <a:gd name="T1" fmla="*/ 0 h 4116"/>
              <a:gd name="T2" fmla="*/ 0 w 3969"/>
              <a:gd name="T3" fmla="*/ 898 h 4116"/>
              <a:gd name="T4" fmla="*/ 2861 w 3969"/>
              <a:gd name="T5" fmla="*/ 2058 h 4116"/>
              <a:gd name="T6" fmla="*/ 0 w 3969"/>
              <a:gd name="T7" fmla="*/ 3218 h 4116"/>
              <a:gd name="T8" fmla="*/ 0 w 3969"/>
              <a:gd name="T9" fmla="*/ 4116 h 4116"/>
              <a:gd name="T10" fmla="*/ 3969 w 3969"/>
              <a:gd name="T11" fmla="*/ 2507 h 4116"/>
              <a:gd name="T12" fmla="*/ 3969 w 3969"/>
              <a:gd name="T13" fmla="*/ 1609 h 4116"/>
              <a:gd name="T14" fmla="*/ 0 w 3969"/>
              <a:gd name="T15" fmla="*/ 0 h 4116"/>
              <a:gd name="T16" fmla="*/ 60 w 3969"/>
              <a:gd name="T17" fmla="*/ 3258 h 4116"/>
              <a:gd name="T18" fmla="*/ 2883 w 3969"/>
              <a:gd name="T19" fmla="*/ 2113 h 4116"/>
              <a:gd name="T20" fmla="*/ 3019 w 3969"/>
              <a:gd name="T21" fmla="*/ 2058 h 4116"/>
              <a:gd name="T22" fmla="*/ 2883 w 3969"/>
              <a:gd name="T23" fmla="*/ 2003 h 4116"/>
              <a:gd name="T24" fmla="*/ 60 w 3969"/>
              <a:gd name="T25" fmla="*/ 858 h 4116"/>
              <a:gd name="T26" fmla="*/ 60 w 3969"/>
              <a:gd name="T27" fmla="*/ 89 h 4116"/>
              <a:gd name="T28" fmla="*/ 3909 w 3969"/>
              <a:gd name="T29" fmla="*/ 1649 h 4116"/>
              <a:gd name="T30" fmla="*/ 3909 w 3969"/>
              <a:gd name="T31" fmla="*/ 2467 h 4116"/>
              <a:gd name="T32" fmla="*/ 60 w 3969"/>
              <a:gd name="T33" fmla="*/ 4028 h 4116"/>
              <a:gd name="T34" fmla="*/ 60 w 3969"/>
              <a:gd name="T35" fmla="*/ 3258 h 4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969" h="4116">
                <a:moveTo>
                  <a:pt x="0" y="0"/>
                </a:moveTo>
                <a:lnTo>
                  <a:pt x="0" y="898"/>
                </a:lnTo>
                <a:lnTo>
                  <a:pt x="2861" y="2058"/>
                </a:lnTo>
                <a:lnTo>
                  <a:pt x="0" y="3218"/>
                </a:lnTo>
                <a:lnTo>
                  <a:pt x="0" y="4116"/>
                </a:lnTo>
                <a:lnTo>
                  <a:pt x="3969" y="2507"/>
                </a:lnTo>
                <a:lnTo>
                  <a:pt x="3969" y="1609"/>
                </a:lnTo>
                <a:lnTo>
                  <a:pt x="0" y="0"/>
                </a:lnTo>
                <a:close/>
                <a:moveTo>
                  <a:pt x="60" y="3258"/>
                </a:moveTo>
                <a:lnTo>
                  <a:pt x="2883" y="2113"/>
                </a:lnTo>
                <a:lnTo>
                  <a:pt x="3019" y="2058"/>
                </a:lnTo>
                <a:lnTo>
                  <a:pt x="2883" y="2003"/>
                </a:lnTo>
                <a:lnTo>
                  <a:pt x="60" y="858"/>
                </a:lnTo>
                <a:lnTo>
                  <a:pt x="60" y="89"/>
                </a:lnTo>
                <a:lnTo>
                  <a:pt x="3909" y="1649"/>
                </a:lnTo>
                <a:lnTo>
                  <a:pt x="3909" y="2467"/>
                </a:lnTo>
                <a:lnTo>
                  <a:pt x="60" y="4028"/>
                </a:lnTo>
                <a:lnTo>
                  <a:pt x="60" y="325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C9E9008F-571F-4C5F-9ADF-B2ED5F12A6DB}"/>
              </a:ext>
            </a:extLst>
          </p:cNvPr>
          <p:cNvSpPr>
            <a:spLocks noChangeAspect="1"/>
          </p:cNvSpPr>
          <p:nvPr/>
        </p:nvSpPr>
        <p:spPr bwMode="auto">
          <a:xfrm>
            <a:off x="381001" y="1427073"/>
            <a:ext cx="2081706" cy="2160000"/>
          </a:xfrm>
          <a:custGeom>
            <a:avLst/>
            <a:gdLst>
              <a:gd name="T0" fmla="*/ 0 w 3969"/>
              <a:gd name="T1" fmla="*/ 0 h 4116"/>
              <a:gd name="T2" fmla="*/ 0 w 3969"/>
              <a:gd name="T3" fmla="*/ 898 h 4116"/>
              <a:gd name="T4" fmla="*/ 2861 w 3969"/>
              <a:gd name="T5" fmla="*/ 2058 h 4116"/>
              <a:gd name="T6" fmla="*/ 0 w 3969"/>
              <a:gd name="T7" fmla="*/ 3218 h 4116"/>
              <a:gd name="T8" fmla="*/ 0 w 3969"/>
              <a:gd name="T9" fmla="*/ 4116 h 4116"/>
              <a:gd name="T10" fmla="*/ 0 w 3969"/>
              <a:gd name="T11" fmla="*/ 4116 h 4116"/>
              <a:gd name="T12" fmla="*/ 3969 w 3969"/>
              <a:gd name="T13" fmla="*/ 2508 h 4116"/>
              <a:gd name="T14" fmla="*/ 3969 w 3969"/>
              <a:gd name="T15" fmla="*/ 1609 h 4116"/>
              <a:gd name="T16" fmla="*/ 0 w 3969"/>
              <a:gd name="T17" fmla="*/ 0 h 4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969" h="4116">
                <a:moveTo>
                  <a:pt x="0" y="0"/>
                </a:moveTo>
                <a:lnTo>
                  <a:pt x="0" y="898"/>
                </a:lnTo>
                <a:lnTo>
                  <a:pt x="2861" y="2058"/>
                </a:lnTo>
                <a:lnTo>
                  <a:pt x="0" y="3218"/>
                </a:lnTo>
                <a:lnTo>
                  <a:pt x="0" y="4116"/>
                </a:lnTo>
                <a:lnTo>
                  <a:pt x="0" y="4116"/>
                </a:lnTo>
                <a:lnTo>
                  <a:pt x="3969" y="2508"/>
                </a:lnTo>
                <a:lnTo>
                  <a:pt x="3969" y="160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chemeClr val="accent1"/>
              </a:gs>
              <a:gs pos="0">
                <a:schemeClr val="accent3"/>
              </a:gs>
            </a:gsLst>
            <a:lin ang="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75E4380-1CA8-4748-8662-0C19F0ADA069}"/>
              </a:ext>
            </a:extLst>
          </p:cNvPr>
          <p:cNvGrpSpPr>
            <a:grpSpLocks noChangeAspect="1"/>
          </p:cNvGrpSpPr>
          <p:nvPr/>
        </p:nvGrpSpPr>
        <p:grpSpPr>
          <a:xfrm>
            <a:off x="5380865" y="1433409"/>
            <a:ext cx="2242531" cy="594000"/>
            <a:chOff x="484188" y="452438"/>
            <a:chExt cx="2246313" cy="595312"/>
          </a:xfrm>
          <a:solidFill>
            <a:schemeClr val="tx1"/>
          </a:solidFill>
        </p:grpSpPr>
        <p:sp>
          <p:nvSpPr>
            <p:cNvPr id="10" name="Freeform 136">
              <a:extLst>
                <a:ext uri="{FF2B5EF4-FFF2-40B4-BE49-F238E27FC236}">
                  <a16:creationId xmlns:a16="http://schemas.microsoft.com/office/drawing/2014/main" id="{2FB57538-CE94-43FB-A7B2-700E92CA78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93875" y="452438"/>
              <a:ext cx="222250" cy="234950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11" name="Freeform 137">
              <a:extLst>
                <a:ext uri="{FF2B5EF4-FFF2-40B4-BE49-F238E27FC236}">
                  <a16:creationId xmlns:a16="http://schemas.microsoft.com/office/drawing/2014/main" id="{E2D1E5B0-9A70-4684-B76A-F9B7E67420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4188" y="703263"/>
              <a:ext cx="2246313" cy="344487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A8CEE72-3D29-4AEC-A7A0-E6931C59C0D4}"/>
              </a:ext>
            </a:extLst>
          </p:cNvPr>
          <p:cNvGrpSpPr/>
          <p:nvPr/>
        </p:nvGrpSpPr>
        <p:grpSpPr>
          <a:xfrm>
            <a:off x="5380865" y="2409307"/>
            <a:ext cx="2242531" cy="594000"/>
            <a:chOff x="6645984" y="2460011"/>
            <a:chExt cx="2242531" cy="594000"/>
          </a:xfrm>
        </p:grpSpPr>
        <p:sp>
          <p:nvSpPr>
            <p:cNvPr id="14" name="Freeform 136">
              <a:extLst>
                <a:ext uri="{FF2B5EF4-FFF2-40B4-BE49-F238E27FC236}">
                  <a16:creationId xmlns:a16="http://schemas.microsoft.com/office/drawing/2014/main" id="{6403DA1F-0B96-4D76-89B3-E273C55C45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3466" y="2460011"/>
              <a:ext cx="221876" cy="234432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15" name="Freeform 137">
              <a:extLst>
                <a:ext uri="{FF2B5EF4-FFF2-40B4-BE49-F238E27FC236}">
                  <a16:creationId xmlns:a16="http://schemas.microsoft.com/office/drawing/2014/main" id="{90B6D6E6-795B-4EB0-9DED-EA5E08C3A2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45984" y="2710283"/>
              <a:ext cx="2242531" cy="343728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4EDA1F3-B0B9-442E-A73F-99111AB1E673}"/>
              </a:ext>
            </a:extLst>
          </p:cNvPr>
          <p:cNvGrpSpPr/>
          <p:nvPr/>
        </p:nvGrpSpPr>
        <p:grpSpPr>
          <a:xfrm>
            <a:off x="5380865" y="3149437"/>
            <a:ext cx="2242531" cy="594000"/>
            <a:chOff x="9344938" y="2460011"/>
            <a:chExt cx="2242531" cy="594000"/>
          </a:xfrm>
        </p:grpSpPr>
        <p:sp>
          <p:nvSpPr>
            <p:cNvPr id="17" name="Freeform 136">
              <a:extLst>
                <a:ext uri="{FF2B5EF4-FFF2-40B4-BE49-F238E27FC236}">
                  <a16:creationId xmlns:a16="http://schemas.microsoft.com/office/drawing/2014/main" id="{AED6F507-44AC-44C7-A17A-A6D8DF08C0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52420" y="2460011"/>
              <a:ext cx="221876" cy="234432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18" name="Freeform 137">
              <a:extLst>
                <a:ext uri="{FF2B5EF4-FFF2-40B4-BE49-F238E27FC236}">
                  <a16:creationId xmlns:a16="http://schemas.microsoft.com/office/drawing/2014/main" id="{955A79E2-81EE-4F7B-AAE1-176E28ACC1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344938" y="2710283"/>
              <a:ext cx="2242531" cy="343728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</p:grpSp>
      <p:sp>
        <p:nvSpPr>
          <p:cNvPr id="8" name="Freeform 5">
            <a:extLst>
              <a:ext uri="{FF2B5EF4-FFF2-40B4-BE49-F238E27FC236}">
                <a16:creationId xmlns:a16="http://schemas.microsoft.com/office/drawing/2014/main" id="{80296A0F-CC8D-4DD5-BBD8-B8C5ABDB203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234887" y="1715209"/>
            <a:ext cx="3351034" cy="356400"/>
          </a:xfrm>
          <a:custGeom>
            <a:avLst/>
            <a:gdLst>
              <a:gd name="T0" fmla="*/ 921 w 33928"/>
              <a:gd name="T1" fmla="*/ 1828 h 3607"/>
              <a:gd name="T2" fmla="*/ 33030 w 33928"/>
              <a:gd name="T3" fmla="*/ 2319 h 3607"/>
              <a:gd name="T4" fmla="*/ 32472 w 33928"/>
              <a:gd name="T5" fmla="*/ 3607 h 3607"/>
              <a:gd name="T6" fmla="*/ 30703 w 33928"/>
              <a:gd name="T7" fmla="*/ 1128 h 3607"/>
              <a:gd name="T8" fmla="*/ 31320 w 33928"/>
              <a:gd name="T9" fmla="*/ 390 h 3607"/>
              <a:gd name="T10" fmla="*/ 31320 w 33928"/>
              <a:gd name="T11" fmla="*/ 1128 h 3607"/>
              <a:gd name="T12" fmla="*/ 31824 w 33928"/>
              <a:gd name="T13" fmla="*/ 2881 h 3607"/>
              <a:gd name="T14" fmla="*/ 30367 w 33928"/>
              <a:gd name="T15" fmla="*/ 855 h 3607"/>
              <a:gd name="T16" fmla="*/ 29985 w 33928"/>
              <a:gd name="T17" fmla="*/ 215 h 3607"/>
              <a:gd name="T18" fmla="*/ 29985 w 33928"/>
              <a:gd name="T19" fmla="*/ 215 h 3607"/>
              <a:gd name="T20" fmla="*/ 29686 w 33928"/>
              <a:gd name="T21" fmla="*/ 820 h 3607"/>
              <a:gd name="T22" fmla="*/ 28691 w 33928"/>
              <a:gd name="T23" fmla="*/ 2896 h 3607"/>
              <a:gd name="T24" fmla="*/ 26782 w 33928"/>
              <a:gd name="T25" fmla="*/ 855 h 3607"/>
              <a:gd name="T26" fmla="*/ 27816 w 33928"/>
              <a:gd name="T27" fmla="*/ 855 h 3607"/>
              <a:gd name="T28" fmla="*/ 27816 w 33928"/>
              <a:gd name="T29" fmla="*/ 2573 h 3607"/>
              <a:gd name="T30" fmla="*/ 24189 w 33928"/>
              <a:gd name="T31" fmla="*/ 1866 h 3607"/>
              <a:gd name="T32" fmla="*/ 25181 w 33928"/>
              <a:gd name="T33" fmla="*/ 1089 h 3607"/>
              <a:gd name="T34" fmla="*/ 25778 w 33928"/>
              <a:gd name="T35" fmla="*/ 2163 h 3607"/>
              <a:gd name="T36" fmla="*/ 23565 w 33928"/>
              <a:gd name="T37" fmla="*/ 1679 h 3607"/>
              <a:gd name="T38" fmla="*/ 22023 w 33928"/>
              <a:gd name="T39" fmla="*/ 1897 h 3607"/>
              <a:gd name="T40" fmla="*/ 23897 w 33928"/>
              <a:gd name="T41" fmla="*/ 1940 h 3607"/>
              <a:gd name="T42" fmla="*/ 23881 w 33928"/>
              <a:gd name="T43" fmla="*/ 2307 h 3607"/>
              <a:gd name="T44" fmla="*/ 19980 w 33928"/>
              <a:gd name="T45" fmla="*/ 2046 h 3607"/>
              <a:gd name="T46" fmla="*/ 19746 w 33928"/>
              <a:gd name="T47" fmla="*/ 828 h 3607"/>
              <a:gd name="T48" fmla="*/ 20644 w 33928"/>
              <a:gd name="T49" fmla="*/ 344 h 3607"/>
              <a:gd name="T50" fmla="*/ 20718 w 33928"/>
              <a:gd name="T51" fmla="*/ 2932 h 3607"/>
              <a:gd name="T52" fmla="*/ 17092 w 33928"/>
              <a:gd name="T53" fmla="*/ 1656 h 3607"/>
              <a:gd name="T54" fmla="*/ 17560 w 33928"/>
              <a:gd name="T55" fmla="*/ 809 h 3607"/>
              <a:gd name="T56" fmla="*/ 17592 w 33928"/>
              <a:gd name="T57" fmla="*/ 2538 h 3607"/>
              <a:gd name="T58" fmla="*/ 16510 w 33928"/>
              <a:gd name="T59" fmla="*/ 1902 h 3607"/>
              <a:gd name="T60" fmla="*/ 16417 w 33928"/>
              <a:gd name="T61" fmla="*/ 824 h 3607"/>
              <a:gd name="T62" fmla="*/ 15191 w 33928"/>
              <a:gd name="T63" fmla="*/ 2897 h 3607"/>
              <a:gd name="T64" fmla="*/ 13473 w 33928"/>
              <a:gd name="T65" fmla="*/ 856 h 3607"/>
              <a:gd name="T66" fmla="*/ 14254 w 33928"/>
              <a:gd name="T67" fmla="*/ 856 h 3607"/>
              <a:gd name="T68" fmla="*/ 14254 w 33928"/>
              <a:gd name="T69" fmla="*/ 2577 h 3607"/>
              <a:gd name="T70" fmla="*/ 11695 w 33928"/>
              <a:gd name="T71" fmla="*/ 1258 h 3607"/>
              <a:gd name="T72" fmla="*/ 11695 w 33928"/>
              <a:gd name="T73" fmla="*/ 415 h 3607"/>
              <a:gd name="T74" fmla="*/ 12687 w 33928"/>
              <a:gd name="T75" fmla="*/ 1258 h 3607"/>
              <a:gd name="T76" fmla="*/ 12699 w 33928"/>
              <a:gd name="T77" fmla="*/ 2444 h 3607"/>
              <a:gd name="T78" fmla="*/ 9321 w 33928"/>
              <a:gd name="T79" fmla="*/ 856 h 3607"/>
              <a:gd name="T80" fmla="*/ 11238 w 33928"/>
              <a:gd name="T81" fmla="*/ 1597 h 3607"/>
              <a:gd name="T82" fmla="*/ 10312 w 33928"/>
              <a:gd name="T83" fmla="*/ 1269 h 3607"/>
              <a:gd name="T84" fmla="*/ 9321 w 33928"/>
              <a:gd name="T85" fmla="*/ 856 h 3607"/>
              <a:gd name="T86" fmla="*/ 8497 w 33928"/>
              <a:gd name="T87" fmla="*/ 1656 h 3607"/>
              <a:gd name="T88" fmla="*/ 9048 w 33928"/>
              <a:gd name="T89" fmla="*/ 1847 h 3607"/>
              <a:gd name="T90" fmla="*/ 8509 w 33928"/>
              <a:gd name="T91" fmla="*/ 2253 h 3607"/>
              <a:gd name="T92" fmla="*/ 4847 w 33928"/>
              <a:gd name="T93" fmla="*/ 1902 h 3607"/>
              <a:gd name="T94" fmla="*/ 6327 w 33928"/>
              <a:gd name="T95" fmla="*/ 1601 h 3607"/>
              <a:gd name="T96" fmla="*/ 5925 w 33928"/>
              <a:gd name="T97" fmla="*/ 2515 h 3607"/>
              <a:gd name="T98" fmla="*/ 4847 w 33928"/>
              <a:gd name="T99" fmla="*/ 1902 h 3607"/>
              <a:gd name="T100" fmla="*/ 4707 w 33928"/>
              <a:gd name="T101" fmla="*/ 1601 h 3607"/>
              <a:gd name="T102" fmla="*/ 3270 w 33928"/>
              <a:gd name="T103" fmla="*/ 1894 h 3607"/>
              <a:gd name="T104" fmla="*/ 3743 w 33928"/>
              <a:gd name="T105" fmla="*/ 2940 h 3607"/>
              <a:gd name="T106" fmla="*/ 2647 w 33928"/>
              <a:gd name="T107" fmla="*/ 2897 h 3607"/>
              <a:gd name="T108" fmla="*/ 593 w 33928"/>
              <a:gd name="T109" fmla="*/ 2897 h 36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3928" h="3607">
                <a:moveTo>
                  <a:pt x="921" y="1828"/>
                </a:moveTo>
                <a:lnTo>
                  <a:pt x="1659" y="1828"/>
                </a:lnTo>
                <a:lnTo>
                  <a:pt x="1292" y="622"/>
                </a:lnTo>
                <a:lnTo>
                  <a:pt x="921" y="1828"/>
                </a:lnTo>
                <a:close/>
                <a:moveTo>
                  <a:pt x="32858" y="2686"/>
                </a:moveTo>
                <a:lnTo>
                  <a:pt x="32058" y="855"/>
                </a:lnTo>
                <a:lnTo>
                  <a:pt x="32406" y="855"/>
                </a:lnTo>
                <a:lnTo>
                  <a:pt x="33030" y="2319"/>
                </a:lnTo>
                <a:lnTo>
                  <a:pt x="33596" y="855"/>
                </a:lnTo>
                <a:lnTo>
                  <a:pt x="33928" y="855"/>
                </a:lnTo>
                <a:lnTo>
                  <a:pt x="32800" y="3607"/>
                </a:lnTo>
                <a:lnTo>
                  <a:pt x="32472" y="3607"/>
                </a:lnTo>
                <a:lnTo>
                  <a:pt x="32858" y="2686"/>
                </a:lnTo>
                <a:close/>
                <a:moveTo>
                  <a:pt x="30996" y="2385"/>
                </a:moveTo>
                <a:lnTo>
                  <a:pt x="30996" y="1128"/>
                </a:lnTo>
                <a:lnTo>
                  <a:pt x="30703" y="1128"/>
                </a:lnTo>
                <a:lnTo>
                  <a:pt x="30703" y="855"/>
                </a:lnTo>
                <a:lnTo>
                  <a:pt x="30996" y="855"/>
                </a:lnTo>
                <a:lnTo>
                  <a:pt x="30996" y="390"/>
                </a:lnTo>
                <a:lnTo>
                  <a:pt x="31320" y="390"/>
                </a:lnTo>
                <a:lnTo>
                  <a:pt x="31320" y="855"/>
                </a:lnTo>
                <a:lnTo>
                  <a:pt x="31796" y="855"/>
                </a:lnTo>
                <a:lnTo>
                  <a:pt x="31796" y="1128"/>
                </a:lnTo>
                <a:lnTo>
                  <a:pt x="31320" y="1128"/>
                </a:lnTo>
                <a:lnTo>
                  <a:pt x="31320" y="2354"/>
                </a:lnTo>
                <a:cubicBezTo>
                  <a:pt x="31320" y="2553"/>
                  <a:pt x="31410" y="2651"/>
                  <a:pt x="31574" y="2651"/>
                </a:cubicBezTo>
                <a:cubicBezTo>
                  <a:pt x="31675" y="2651"/>
                  <a:pt x="31753" y="2635"/>
                  <a:pt x="31824" y="2608"/>
                </a:cubicBezTo>
                <a:lnTo>
                  <a:pt x="31824" y="2881"/>
                </a:lnTo>
                <a:cubicBezTo>
                  <a:pt x="31757" y="2904"/>
                  <a:pt x="31679" y="2924"/>
                  <a:pt x="31546" y="2924"/>
                </a:cubicBezTo>
                <a:cubicBezTo>
                  <a:pt x="31176" y="2924"/>
                  <a:pt x="30996" y="2705"/>
                  <a:pt x="30996" y="2385"/>
                </a:cubicBezTo>
                <a:close/>
                <a:moveTo>
                  <a:pt x="30043" y="855"/>
                </a:moveTo>
                <a:lnTo>
                  <a:pt x="30367" y="855"/>
                </a:lnTo>
                <a:lnTo>
                  <a:pt x="30367" y="2896"/>
                </a:lnTo>
                <a:lnTo>
                  <a:pt x="30043" y="2896"/>
                </a:lnTo>
                <a:lnTo>
                  <a:pt x="30043" y="855"/>
                </a:lnTo>
                <a:close/>
                <a:moveTo>
                  <a:pt x="29985" y="215"/>
                </a:moveTo>
                <a:cubicBezTo>
                  <a:pt x="29985" y="98"/>
                  <a:pt x="30082" y="0"/>
                  <a:pt x="30199" y="0"/>
                </a:cubicBezTo>
                <a:cubicBezTo>
                  <a:pt x="30316" y="0"/>
                  <a:pt x="30414" y="98"/>
                  <a:pt x="30414" y="215"/>
                </a:cubicBezTo>
                <a:cubicBezTo>
                  <a:pt x="30414" y="332"/>
                  <a:pt x="30316" y="430"/>
                  <a:pt x="30199" y="430"/>
                </a:cubicBezTo>
                <a:cubicBezTo>
                  <a:pt x="30082" y="430"/>
                  <a:pt x="29985" y="332"/>
                  <a:pt x="29985" y="215"/>
                </a:cubicBezTo>
                <a:close/>
                <a:moveTo>
                  <a:pt x="28691" y="855"/>
                </a:moveTo>
                <a:lnTo>
                  <a:pt x="29015" y="855"/>
                </a:lnTo>
                <a:lnTo>
                  <a:pt x="29015" y="1222"/>
                </a:lnTo>
                <a:cubicBezTo>
                  <a:pt x="29143" y="992"/>
                  <a:pt x="29319" y="832"/>
                  <a:pt x="29686" y="820"/>
                </a:cubicBezTo>
                <a:lnTo>
                  <a:pt x="29686" y="1124"/>
                </a:lnTo>
                <a:cubicBezTo>
                  <a:pt x="29276" y="1144"/>
                  <a:pt x="29015" y="1273"/>
                  <a:pt x="29015" y="1776"/>
                </a:cubicBezTo>
                <a:lnTo>
                  <a:pt x="29015" y="2896"/>
                </a:lnTo>
                <a:lnTo>
                  <a:pt x="28691" y="2896"/>
                </a:lnTo>
                <a:lnTo>
                  <a:pt x="28691" y="855"/>
                </a:lnTo>
                <a:close/>
                <a:moveTo>
                  <a:pt x="26458" y="2147"/>
                </a:moveTo>
                <a:lnTo>
                  <a:pt x="26458" y="855"/>
                </a:lnTo>
                <a:lnTo>
                  <a:pt x="26782" y="855"/>
                </a:lnTo>
                <a:lnTo>
                  <a:pt x="26782" y="2131"/>
                </a:lnTo>
                <a:cubicBezTo>
                  <a:pt x="26782" y="2490"/>
                  <a:pt x="26934" y="2651"/>
                  <a:pt x="27254" y="2651"/>
                </a:cubicBezTo>
                <a:cubicBezTo>
                  <a:pt x="27543" y="2651"/>
                  <a:pt x="27816" y="2459"/>
                  <a:pt x="27816" y="2092"/>
                </a:cubicBezTo>
                <a:lnTo>
                  <a:pt x="27816" y="855"/>
                </a:lnTo>
                <a:lnTo>
                  <a:pt x="28140" y="855"/>
                </a:lnTo>
                <a:lnTo>
                  <a:pt x="28140" y="2896"/>
                </a:lnTo>
                <a:lnTo>
                  <a:pt x="27816" y="2896"/>
                </a:lnTo>
                <a:lnTo>
                  <a:pt x="27816" y="2573"/>
                </a:lnTo>
                <a:cubicBezTo>
                  <a:pt x="27722" y="2764"/>
                  <a:pt x="27496" y="2932"/>
                  <a:pt x="27168" y="2932"/>
                </a:cubicBezTo>
                <a:cubicBezTo>
                  <a:pt x="26762" y="2932"/>
                  <a:pt x="26458" y="2709"/>
                  <a:pt x="26458" y="2147"/>
                </a:cubicBezTo>
                <a:close/>
                <a:moveTo>
                  <a:pt x="24189" y="1897"/>
                </a:moveTo>
                <a:lnTo>
                  <a:pt x="24189" y="1866"/>
                </a:lnTo>
                <a:cubicBezTo>
                  <a:pt x="24189" y="1241"/>
                  <a:pt x="24634" y="820"/>
                  <a:pt x="25181" y="820"/>
                </a:cubicBezTo>
                <a:cubicBezTo>
                  <a:pt x="25606" y="820"/>
                  <a:pt x="26004" y="1015"/>
                  <a:pt x="26067" y="1534"/>
                </a:cubicBezTo>
                <a:lnTo>
                  <a:pt x="25747" y="1534"/>
                </a:lnTo>
                <a:cubicBezTo>
                  <a:pt x="25696" y="1210"/>
                  <a:pt x="25462" y="1089"/>
                  <a:pt x="25181" y="1089"/>
                </a:cubicBezTo>
                <a:cubicBezTo>
                  <a:pt x="24810" y="1089"/>
                  <a:pt x="24525" y="1386"/>
                  <a:pt x="24525" y="1866"/>
                </a:cubicBezTo>
                <a:lnTo>
                  <a:pt x="24525" y="1897"/>
                </a:lnTo>
                <a:cubicBezTo>
                  <a:pt x="24525" y="2397"/>
                  <a:pt x="24798" y="2662"/>
                  <a:pt x="25192" y="2662"/>
                </a:cubicBezTo>
                <a:cubicBezTo>
                  <a:pt x="25481" y="2662"/>
                  <a:pt x="25743" y="2494"/>
                  <a:pt x="25778" y="2163"/>
                </a:cubicBezTo>
                <a:lnTo>
                  <a:pt x="26078" y="2163"/>
                </a:lnTo>
                <a:cubicBezTo>
                  <a:pt x="26035" y="2604"/>
                  <a:pt x="25680" y="2932"/>
                  <a:pt x="25188" y="2932"/>
                </a:cubicBezTo>
                <a:cubicBezTo>
                  <a:pt x="24618" y="2932"/>
                  <a:pt x="24189" y="2530"/>
                  <a:pt x="24189" y="1897"/>
                </a:cubicBezTo>
                <a:close/>
                <a:moveTo>
                  <a:pt x="23565" y="1679"/>
                </a:moveTo>
                <a:cubicBezTo>
                  <a:pt x="23534" y="1257"/>
                  <a:pt x="23315" y="1089"/>
                  <a:pt x="22980" y="1089"/>
                </a:cubicBezTo>
                <a:cubicBezTo>
                  <a:pt x="22648" y="1089"/>
                  <a:pt x="22425" y="1316"/>
                  <a:pt x="22371" y="1679"/>
                </a:cubicBezTo>
                <a:lnTo>
                  <a:pt x="23565" y="1679"/>
                </a:lnTo>
                <a:close/>
                <a:moveTo>
                  <a:pt x="22023" y="1897"/>
                </a:moveTo>
                <a:lnTo>
                  <a:pt x="22023" y="1866"/>
                </a:lnTo>
                <a:cubicBezTo>
                  <a:pt x="22023" y="1249"/>
                  <a:pt x="22417" y="820"/>
                  <a:pt x="22980" y="820"/>
                </a:cubicBezTo>
                <a:cubicBezTo>
                  <a:pt x="23452" y="820"/>
                  <a:pt x="23897" y="1105"/>
                  <a:pt x="23897" y="1835"/>
                </a:cubicBezTo>
                <a:lnTo>
                  <a:pt x="23897" y="1940"/>
                </a:lnTo>
                <a:lnTo>
                  <a:pt x="22359" y="1940"/>
                </a:lnTo>
                <a:cubicBezTo>
                  <a:pt x="22374" y="2405"/>
                  <a:pt x="22597" y="2662"/>
                  <a:pt x="23015" y="2662"/>
                </a:cubicBezTo>
                <a:cubicBezTo>
                  <a:pt x="23331" y="2662"/>
                  <a:pt x="23514" y="2545"/>
                  <a:pt x="23557" y="2307"/>
                </a:cubicBezTo>
                <a:lnTo>
                  <a:pt x="23881" y="2307"/>
                </a:lnTo>
                <a:cubicBezTo>
                  <a:pt x="23811" y="2717"/>
                  <a:pt x="23471" y="2932"/>
                  <a:pt x="23011" y="2932"/>
                </a:cubicBezTo>
                <a:cubicBezTo>
                  <a:pt x="22433" y="2932"/>
                  <a:pt x="22023" y="2526"/>
                  <a:pt x="22023" y="1897"/>
                </a:cubicBezTo>
                <a:close/>
                <a:moveTo>
                  <a:pt x="19653" y="2046"/>
                </a:moveTo>
                <a:lnTo>
                  <a:pt x="19980" y="2046"/>
                </a:lnTo>
                <a:cubicBezTo>
                  <a:pt x="20023" y="2377"/>
                  <a:pt x="20156" y="2658"/>
                  <a:pt x="20718" y="2658"/>
                </a:cubicBezTo>
                <a:cubicBezTo>
                  <a:pt x="21077" y="2658"/>
                  <a:pt x="21354" y="2448"/>
                  <a:pt x="21354" y="2131"/>
                </a:cubicBezTo>
                <a:cubicBezTo>
                  <a:pt x="21354" y="1815"/>
                  <a:pt x="21210" y="1683"/>
                  <a:pt x="20679" y="1597"/>
                </a:cubicBezTo>
                <a:cubicBezTo>
                  <a:pt x="20094" y="1507"/>
                  <a:pt x="19746" y="1323"/>
                  <a:pt x="19746" y="828"/>
                </a:cubicBezTo>
                <a:cubicBezTo>
                  <a:pt x="19746" y="398"/>
                  <a:pt x="20117" y="70"/>
                  <a:pt x="20644" y="70"/>
                </a:cubicBezTo>
                <a:cubicBezTo>
                  <a:pt x="21202" y="70"/>
                  <a:pt x="21550" y="344"/>
                  <a:pt x="21604" y="839"/>
                </a:cubicBezTo>
                <a:lnTo>
                  <a:pt x="21300" y="839"/>
                </a:lnTo>
                <a:cubicBezTo>
                  <a:pt x="21234" y="488"/>
                  <a:pt x="21031" y="344"/>
                  <a:pt x="20644" y="344"/>
                </a:cubicBezTo>
                <a:cubicBezTo>
                  <a:pt x="20262" y="344"/>
                  <a:pt x="20063" y="535"/>
                  <a:pt x="20063" y="796"/>
                </a:cubicBezTo>
                <a:cubicBezTo>
                  <a:pt x="20063" y="1070"/>
                  <a:pt x="20164" y="1210"/>
                  <a:pt x="20734" y="1296"/>
                </a:cubicBezTo>
                <a:cubicBezTo>
                  <a:pt x="21354" y="1394"/>
                  <a:pt x="21682" y="1581"/>
                  <a:pt x="21682" y="2108"/>
                </a:cubicBezTo>
                <a:cubicBezTo>
                  <a:pt x="21682" y="2576"/>
                  <a:pt x="21273" y="2932"/>
                  <a:pt x="20718" y="2932"/>
                </a:cubicBezTo>
                <a:cubicBezTo>
                  <a:pt x="19973" y="2932"/>
                  <a:pt x="19703" y="2522"/>
                  <a:pt x="19653" y="2046"/>
                </a:cubicBezTo>
                <a:close/>
                <a:moveTo>
                  <a:pt x="18005" y="1656"/>
                </a:moveTo>
                <a:cubicBezTo>
                  <a:pt x="17986" y="1348"/>
                  <a:pt x="17830" y="1199"/>
                  <a:pt x="17560" y="1199"/>
                </a:cubicBezTo>
                <a:cubicBezTo>
                  <a:pt x="17307" y="1199"/>
                  <a:pt x="17135" y="1367"/>
                  <a:pt x="17092" y="1656"/>
                </a:cubicBezTo>
                <a:lnTo>
                  <a:pt x="18005" y="1656"/>
                </a:lnTo>
                <a:close/>
                <a:moveTo>
                  <a:pt x="16510" y="1902"/>
                </a:moveTo>
                <a:lnTo>
                  <a:pt x="16510" y="1871"/>
                </a:lnTo>
                <a:cubicBezTo>
                  <a:pt x="16510" y="1227"/>
                  <a:pt x="16967" y="809"/>
                  <a:pt x="17560" y="809"/>
                </a:cubicBezTo>
                <a:cubicBezTo>
                  <a:pt x="18087" y="809"/>
                  <a:pt x="18556" y="1117"/>
                  <a:pt x="18556" y="1847"/>
                </a:cubicBezTo>
                <a:lnTo>
                  <a:pt x="18556" y="2003"/>
                </a:lnTo>
                <a:lnTo>
                  <a:pt x="17084" y="2003"/>
                </a:lnTo>
                <a:cubicBezTo>
                  <a:pt x="17100" y="2343"/>
                  <a:pt x="17283" y="2538"/>
                  <a:pt x="17592" y="2538"/>
                </a:cubicBezTo>
                <a:cubicBezTo>
                  <a:pt x="17853" y="2538"/>
                  <a:pt x="17982" y="2425"/>
                  <a:pt x="18017" y="2253"/>
                </a:cubicBezTo>
                <a:lnTo>
                  <a:pt x="18552" y="2253"/>
                </a:lnTo>
                <a:cubicBezTo>
                  <a:pt x="18486" y="2694"/>
                  <a:pt x="18134" y="2940"/>
                  <a:pt x="17576" y="2940"/>
                </a:cubicBezTo>
                <a:cubicBezTo>
                  <a:pt x="16959" y="2940"/>
                  <a:pt x="16510" y="2554"/>
                  <a:pt x="16510" y="1902"/>
                </a:cubicBezTo>
                <a:close/>
                <a:moveTo>
                  <a:pt x="15191" y="856"/>
                </a:moveTo>
                <a:lnTo>
                  <a:pt x="15757" y="856"/>
                </a:lnTo>
                <a:lnTo>
                  <a:pt x="15757" y="1246"/>
                </a:lnTo>
                <a:cubicBezTo>
                  <a:pt x="15886" y="973"/>
                  <a:pt x="16085" y="828"/>
                  <a:pt x="16417" y="824"/>
                </a:cubicBezTo>
                <a:lnTo>
                  <a:pt x="16417" y="1351"/>
                </a:lnTo>
                <a:cubicBezTo>
                  <a:pt x="16000" y="1348"/>
                  <a:pt x="15757" y="1484"/>
                  <a:pt x="15757" y="1875"/>
                </a:cubicBezTo>
                <a:lnTo>
                  <a:pt x="15757" y="2897"/>
                </a:lnTo>
                <a:lnTo>
                  <a:pt x="15191" y="2897"/>
                </a:lnTo>
                <a:lnTo>
                  <a:pt x="15191" y="856"/>
                </a:lnTo>
                <a:close/>
                <a:moveTo>
                  <a:pt x="12911" y="2171"/>
                </a:moveTo>
                <a:lnTo>
                  <a:pt x="12911" y="856"/>
                </a:lnTo>
                <a:lnTo>
                  <a:pt x="13473" y="856"/>
                </a:lnTo>
                <a:lnTo>
                  <a:pt x="13473" y="2093"/>
                </a:lnTo>
                <a:cubicBezTo>
                  <a:pt x="13473" y="2370"/>
                  <a:pt x="13586" y="2503"/>
                  <a:pt x="13828" y="2503"/>
                </a:cubicBezTo>
                <a:cubicBezTo>
                  <a:pt x="14066" y="2503"/>
                  <a:pt x="14254" y="2355"/>
                  <a:pt x="14254" y="2054"/>
                </a:cubicBezTo>
                <a:lnTo>
                  <a:pt x="14254" y="856"/>
                </a:lnTo>
                <a:lnTo>
                  <a:pt x="14816" y="856"/>
                </a:lnTo>
                <a:lnTo>
                  <a:pt x="14816" y="2897"/>
                </a:lnTo>
                <a:lnTo>
                  <a:pt x="14254" y="2897"/>
                </a:lnTo>
                <a:lnTo>
                  <a:pt x="14254" y="2577"/>
                </a:lnTo>
                <a:cubicBezTo>
                  <a:pt x="14148" y="2784"/>
                  <a:pt x="13941" y="2940"/>
                  <a:pt x="13606" y="2940"/>
                </a:cubicBezTo>
                <a:cubicBezTo>
                  <a:pt x="13207" y="2940"/>
                  <a:pt x="12911" y="2706"/>
                  <a:pt x="12911" y="2171"/>
                </a:cubicBezTo>
                <a:close/>
                <a:moveTo>
                  <a:pt x="11695" y="2292"/>
                </a:moveTo>
                <a:lnTo>
                  <a:pt x="11695" y="1258"/>
                </a:lnTo>
                <a:lnTo>
                  <a:pt x="11434" y="1258"/>
                </a:lnTo>
                <a:lnTo>
                  <a:pt x="11434" y="856"/>
                </a:lnTo>
                <a:lnTo>
                  <a:pt x="11695" y="856"/>
                </a:lnTo>
                <a:lnTo>
                  <a:pt x="11695" y="415"/>
                </a:lnTo>
                <a:lnTo>
                  <a:pt x="12257" y="415"/>
                </a:lnTo>
                <a:lnTo>
                  <a:pt x="12257" y="856"/>
                </a:lnTo>
                <a:lnTo>
                  <a:pt x="12687" y="856"/>
                </a:lnTo>
                <a:lnTo>
                  <a:pt x="12687" y="1258"/>
                </a:lnTo>
                <a:lnTo>
                  <a:pt x="12257" y="1258"/>
                </a:lnTo>
                <a:lnTo>
                  <a:pt x="12257" y="2241"/>
                </a:lnTo>
                <a:cubicBezTo>
                  <a:pt x="12257" y="2405"/>
                  <a:pt x="12339" y="2483"/>
                  <a:pt x="12484" y="2483"/>
                </a:cubicBezTo>
                <a:cubicBezTo>
                  <a:pt x="12570" y="2483"/>
                  <a:pt x="12632" y="2472"/>
                  <a:pt x="12699" y="2444"/>
                </a:cubicBezTo>
                <a:lnTo>
                  <a:pt x="12699" y="2882"/>
                </a:lnTo>
                <a:cubicBezTo>
                  <a:pt x="12620" y="2909"/>
                  <a:pt x="12507" y="2936"/>
                  <a:pt x="12355" y="2936"/>
                </a:cubicBezTo>
                <a:cubicBezTo>
                  <a:pt x="11926" y="2936"/>
                  <a:pt x="11695" y="2718"/>
                  <a:pt x="11695" y="2292"/>
                </a:cubicBezTo>
                <a:close/>
                <a:moveTo>
                  <a:pt x="9321" y="856"/>
                </a:moveTo>
                <a:lnTo>
                  <a:pt x="9887" y="856"/>
                </a:lnTo>
                <a:lnTo>
                  <a:pt x="9887" y="1180"/>
                </a:lnTo>
                <a:cubicBezTo>
                  <a:pt x="9988" y="977"/>
                  <a:pt x="10211" y="809"/>
                  <a:pt x="10551" y="809"/>
                </a:cubicBezTo>
                <a:cubicBezTo>
                  <a:pt x="10953" y="809"/>
                  <a:pt x="11238" y="1051"/>
                  <a:pt x="11238" y="1597"/>
                </a:cubicBezTo>
                <a:lnTo>
                  <a:pt x="11238" y="2897"/>
                </a:lnTo>
                <a:lnTo>
                  <a:pt x="10672" y="2897"/>
                </a:lnTo>
                <a:lnTo>
                  <a:pt x="10672" y="1679"/>
                </a:lnTo>
                <a:cubicBezTo>
                  <a:pt x="10672" y="1402"/>
                  <a:pt x="10562" y="1269"/>
                  <a:pt x="10312" y="1269"/>
                </a:cubicBezTo>
                <a:cubicBezTo>
                  <a:pt x="10070" y="1269"/>
                  <a:pt x="9887" y="1418"/>
                  <a:pt x="9887" y="1718"/>
                </a:cubicBezTo>
                <a:lnTo>
                  <a:pt x="9887" y="2897"/>
                </a:lnTo>
                <a:lnTo>
                  <a:pt x="9321" y="2897"/>
                </a:lnTo>
                <a:lnTo>
                  <a:pt x="9321" y="856"/>
                </a:lnTo>
                <a:close/>
                <a:moveTo>
                  <a:pt x="8497" y="1656"/>
                </a:moveTo>
                <a:cubicBezTo>
                  <a:pt x="8478" y="1348"/>
                  <a:pt x="8322" y="1199"/>
                  <a:pt x="8052" y="1199"/>
                </a:cubicBezTo>
                <a:cubicBezTo>
                  <a:pt x="7799" y="1199"/>
                  <a:pt x="7627" y="1367"/>
                  <a:pt x="7584" y="1656"/>
                </a:cubicBezTo>
                <a:lnTo>
                  <a:pt x="8497" y="1656"/>
                </a:lnTo>
                <a:close/>
                <a:moveTo>
                  <a:pt x="7002" y="1902"/>
                </a:moveTo>
                <a:lnTo>
                  <a:pt x="7002" y="1871"/>
                </a:lnTo>
                <a:cubicBezTo>
                  <a:pt x="7002" y="1227"/>
                  <a:pt x="7459" y="809"/>
                  <a:pt x="8052" y="809"/>
                </a:cubicBezTo>
                <a:cubicBezTo>
                  <a:pt x="8579" y="809"/>
                  <a:pt x="9048" y="1117"/>
                  <a:pt x="9048" y="1847"/>
                </a:cubicBezTo>
                <a:lnTo>
                  <a:pt x="9048" y="2003"/>
                </a:lnTo>
                <a:lnTo>
                  <a:pt x="7576" y="2003"/>
                </a:lnTo>
                <a:cubicBezTo>
                  <a:pt x="7592" y="2343"/>
                  <a:pt x="7775" y="2538"/>
                  <a:pt x="8084" y="2538"/>
                </a:cubicBezTo>
                <a:cubicBezTo>
                  <a:pt x="8345" y="2538"/>
                  <a:pt x="8474" y="2425"/>
                  <a:pt x="8509" y="2253"/>
                </a:cubicBezTo>
                <a:lnTo>
                  <a:pt x="9044" y="2253"/>
                </a:lnTo>
                <a:cubicBezTo>
                  <a:pt x="8978" y="2694"/>
                  <a:pt x="8626" y="2940"/>
                  <a:pt x="8068" y="2940"/>
                </a:cubicBezTo>
                <a:cubicBezTo>
                  <a:pt x="7451" y="2940"/>
                  <a:pt x="7002" y="2554"/>
                  <a:pt x="7002" y="1902"/>
                </a:cubicBezTo>
                <a:close/>
                <a:moveTo>
                  <a:pt x="4847" y="1902"/>
                </a:moveTo>
                <a:lnTo>
                  <a:pt x="4847" y="1871"/>
                </a:lnTo>
                <a:cubicBezTo>
                  <a:pt x="4847" y="1211"/>
                  <a:pt x="5320" y="809"/>
                  <a:pt x="5901" y="809"/>
                </a:cubicBezTo>
                <a:cubicBezTo>
                  <a:pt x="6374" y="809"/>
                  <a:pt x="6811" y="1016"/>
                  <a:pt x="6862" y="1601"/>
                </a:cubicBezTo>
                <a:lnTo>
                  <a:pt x="6327" y="1601"/>
                </a:lnTo>
                <a:cubicBezTo>
                  <a:pt x="6288" y="1363"/>
                  <a:pt x="6143" y="1254"/>
                  <a:pt x="5913" y="1254"/>
                </a:cubicBezTo>
                <a:cubicBezTo>
                  <a:pt x="5620" y="1254"/>
                  <a:pt x="5425" y="1472"/>
                  <a:pt x="5425" y="1863"/>
                </a:cubicBezTo>
                <a:lnTo>
                  <a:pt x="5425" y="1894"/>
                </a:lnTo>
                <a:cubicBezTo>
                  <a:pt x="5425" y="2304"/>
                  <a:pt x="5609" y="2515"/>
                  <a:pt x="5925" y="2515"/>
                </a:cubicBezTo>
                <a:cubicBezTo>
                  <a:pt x="6151" y="2515"/>
                  <a:pt x="6335" y="2382"/>
                  <a:pt x="6362" y="2120"/>
                </a:cubicBezTo>
                <a:lnTo>
                  <a:pt x="6873" y="2120"/>
                </a:lnTo>
                <a:cubicBezTo>
                  <a:pt x="6842" y="2604"/>
                  <a:pt x="6491" y="2940"/>
                  <a:pt x="5897" y="2940"/>
                </a:cubicBezTo>
                <a:cubicBezTo>
                  <a:pt x="5300" y="2940"/>
                  <a:pt x="4847" y="2569"/>
                  <a:pt x="4847" y="1902"/>
                </a:cubicBezTo>
                <a:close/>
                <a:moveTo>
                  <a:pt x="2692" y="1902"/>
                </a:moveTo>
                <a:lnTo>
                  <a:pt x="2692" y="1871"/>
                </a:lnTo>
                <a:cubicBezTo>
                  <a:pt x="2692" y="1211"/>
                  <a:pt x="3165" y="809"/>
                  <a:pt x="3746" y="809"/>
                </a:cubicBezTo>
                <a:cubicBezTo>
                  <a:pt x="4219" y="809"/>
                  <a:pt x="4656" y="1016"/>
                  <a:pt x="4707" y="1601"/>
                </a:cubicBezTo>
                <a:lnTo>
                  <a:pt x="4172" y="1601"/>
                </a:lnTo>
                <a:cubicBezTo>
                  <a:pt x="4133" y="1363"/>
                  <a:pt x="3988" y="1254"/>
                  <a:pt x="3758" y="1254"/>
                </a:cubicBezTo>
                <a:cubicBezTo>
                  <a:pt x="3465" y="1254"/>
                  <a:pt x="3270" y="1472"/>
                  <a:pt x="3270" y="1863"/>
                </a:cubicBezTo>
                <a:lnTo>
                  <a:pt x="3270" y="1894"/>
                </a:lnTo>
                <a:cubicBezTo>
                  <a:pt x="3270" y="2304"/>
                  <a:pt x="3454" y="2515"/>
                  <a:pt x="3770" y="2515"/>
                </a:cubicBezTo>
                <a:cubicBezTo>
                  <a:pt x="3996" y="2515"/>
                  <a:pt x="4180" y="2382"/>
                  <a:pt x="4207" y="2120"/>
                </a:cubicBezTo>
                <a:lnTo>
                  <a:pt x="4718" y="2120"/>
                </a:lnTo>
                <a:cubicBezTo>
                  <a:pt x="4687" y="2604"/>
                  <a:pt x="4336" y="2940"/>
                  <a:pt x="3743" y="2940"/>
                </a:cubicBezTo>
                <a:cubicBezTo>
                  <a:pt x="3145" y="2940"/>
                  <a:pt x="2692" y="2569"/>
                  <a:pt x="2692" y="1902"/>
                </a:cubicBezTo>
                <a:close/>
                <a:moveTo>
                  <a:pt x="917" y="106"/>
                </a:moveTo>
                <a:lnTo>
                  <a:pt x="1741" y="106"/>
                </a:lnTo>
                <a:lnTo>
                  <a:pt x="2647" y="2897"/>
                </a:lnTo>
                <a:lnTo>
                  <a:pt x="1987" y="2897"/>
                </a:lnTo>
                <a:lnTo>
                  <a:pt x="1796" y="2277"/>
                </a:lnTo>
                <a:lnTo>
                  <a:pt x="785" y="2277"/>
                </a:lnTo>
                <a:lnTo>
                  <a:pt x="593" y="2897"/>
                </a:lnTo>
                <a:lnTo>
                  <a:pt x="0" y="2897"/>
                </a:lnTo>
                <a:lnTo>
                  <a:pt x="917" y="1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0D464DE-7649-447F-B985-B6FC0ED8BF85}"/>
              </a:ext>
            </a:extLst>
          </p:cNvPr>
          <p:cNvSpPr/>
          <p:nvPr/>
        </p:nvSpPr>
        <p:spPr>
          <a:xfrm>
            <a:off x="8147254" y="2292447"/>
            <a:ext cx="3568495" cy="56505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5" name="Freeform 5">
            <a:extLst>
              <a:ext uri="{FF2B5EF4-FFF2-40B4-BE49-F238E27FC236}">
                <a16:creationId xmlns:a16="http://schemas.microsoft.com/office/drawing/2014/main" id="{66D3297D-CC94-475D-9835-E6009EB5E65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234887" y="2396774"/>
            <a:ext cx="3351034" cy="356400"/>
          </a:xfrm>
          <a:custGeom>
            <a:avLst/>
            <a:gdLst>
              <a:gd name="T0" fmla="*/ 921 w 33928"/>
              <a:gd name="T1" fmla="*/ 1828 h 3607"/>
              <a:gd name="T2" fmla="*/ 33030 w 33928"/>
              <a:gd name="T3" fmla="*/ 2319 h 3607"/>
              <a:gd name="T4" fmla="*/ 32472 w 33928"/>
              <a:gd name="T5" fmla="*/ 3607 h 3607"/>
              <a:gd name="T6" fmla="*/ 30703 w 33928"/>
              <a:gd name="T7" fmla="*/ 1128 h 3607"/>
              <a:gd name="T8" fmla="*/ 31320 w 33928"/>
              <a:gd name="T9" fmla="*/ 390 h 3607"/>
              <a:gd name="T10" fmla="*/ 31320 w 33928"/>
              <a:gd name="T11" fmla="*/ 1128 h 3607"/>
              <a:gd name="T12" fmla="*/ 31824 w 33928"/>
              <a:gd name="T13" fmla="*/ 2881 h 3607"/>
              <a:gd name="T14" fmla="*/ 30367 w 33928"/>
              <a:gd name="T15" fmla="*/ 855 h 3607"/>
              <a:gd name="T16" fmla="*/ 29985 w 33928"/>
              <a:gd name="T17" fmla="*/ 215 h 3607"/>
              <a:gd name="T18" fmla="*/ 29985 w 33928"/>
              <a:gd name="T19" fmla="*/ 215 h 3607"/>
              <a:gd name="T20" fmla="*/ 29686 w 33928"/>
              <a:gd name="T21" fmla="*/ 820 h 3607"/>
              <a:gd name="T22" fmla="*/ 28691 w 33928"/>
              <a:gd name="T23" fmla="*/ 2896 h 3607"/>
              <a:gd name="T24" fmla="*/ 26782 w 33928"/>
              <a:gd name="T25" fmla="*/ 855 h 3607"/>
              <a:gd name="T26" fmla="*/ 27816 w 33928"/>
              <a:gd name="T27" fmla="*/ 855 h 3607"/>
              <a:gd name="T28" fmla="*/ 27816 w 33928"/>
              <a:gd name="T29" fmla="*/ 2573 h 3607"/>
              <a:gd name="T30" fmla="*/ 24189 w 33928"/>
              <a:gd name="T31" fmla="*/ 1866 h 3607"/>
              <a:gd name="T32" fmla="*/ 25181 w 33928"/>
              <a:gd name="T33" fmla="*/ 1089 h 3607"/>
              <a:gd name="T34" fmla="*/ 25778 w 33928"/>
              <a:gd name="T35" fmla="*/ 2163 h 3607"/>
              <a:gd name="T36" fmla="*/ 23565 w 33928"/>
              <a:gd name="T37" fmla="*/ 1679 h 3607"/>
              <a:gd name="T38" fmla="*/ 22023 w 33928"/>
              <a:gd name="T39" fmla="*/ 1897 h 3607"/>
              <a:gd name="T40" fmla="*/ 23897 w 33928"/>
              <a:gd name="T41" fmla="*/ 1940 h 3607"/>
              <a:gd name="T42" fmla="*/ 23881 w 33928"/>
              <a:gd name="T43" fmla="*/ 2307 h 3607"/>
              <a:gd name="T44" fmla="*/ 19980 w 33928"/>
              <a:gd name="T45" fmla="*/ 2046 h 3607"/>
              <a:gd name="T46" fmla="*/ 19746 w 33928"/>
              <a:gd name="T47" fmla="*/ 828 h 3607"/>
              <a:gd name="T48" fmla="*/ 20644 w 33928"/>
              <a:gd name="T49" fmla="*/ 344 h 3607"/>
              <a:gd name="T50" fmla="*/ 20718 w 33928"/>
              <a:gd name="T51" fmla="*/ 2932 h 3607"/>
              <a:gd name="T52" fmla="*/ 17092 w 33928"/>
              <a:gd name="T53" fmla="*/ 1656 h 3607"/>
              <a:gd name="T54" fmla="*/ 17560 w 33928"/>
              <a:gd name="T55" fmla="*/ 809 h 3607"/>
              <a:gd name="T56" fmla="*/ 17592 w 33928"/>
              <a:gd name="T57" fmla="*/ 2538 h 3607"/>
              <a:gd name="T58" fmla="*/ 16510 w 33928"/>
              <a:gd name="T59" fmla="*/ 1902 h 3607"/>
              <a:gd name="T60" fmla="*/ 16417 w 33928"/>
              <a:gd name="T61" fmla="*/ 824 h 3607"/>
              <a:gd name="T62" fmla="*/ 15191 w 33928"/>
              <a:gd name="T63" fmla="*/ 2897 h 3607"/>
              <a:gd name="T64" fmla="*/ 13473 w 33928"/>
              <a:gd name="T65" fmla="*/ 856 h 3607"/>
              <a:gd name="T66" fmla="*/ 14254 w 33928"/>
              <a:gd name="T67" fmla="*/ 856 h 3607"/>
              <a:gd name="T68" fmla="*/ 14254 w 33928"/>
              <a:gd name="T69" fmla="*/ 2577 h 3607"/>
              <a:gd name="T70" fmla="*/ 11695 w 33928"/>
              <a:gd name="T71" fmla="*/ 1258 h 3607"/>
              <a:gd name="T72" fmla="*/ 11695 w 33928"/>
              <a:gd name="T73" fmla="*/ 415 h 3607"/>
              <a:gd name="T74" fmla="*/ 12687 w 33928"/>
              <a:gd name="T75" fmla="*/ 1258 h 3607"/>
              <a:gd name="T76" fmla="*/ 12699 w 33928"/>
              <a:gd name="T77" fmla="*/ 2444 h 3607"/>
              <a:gd name="T78" fmla="*/ 9321 w 33928"/>
              <a:gd name="T79" fmla="*/ 856 h 3607"/>
              <a:gd name="T80" fmla="*/ 11238 w 33928"/>
              <a:gd name="T81" fmla="*/ 1597 h 3607"/>
              <a:gd name="T82" fmla="*/ 10312 w 33928"/>
              <a:gd name="T83" fmla="*/ 1269 h 3607"/>
              <a:gd name="T84" fmla="*/ 9321 w 33928"/>
              <a:gd name="T85" fmla="*/ 856 h 3607"/>
              <a:gd name="T86" fmla="*/ 8497 w 33928"/>
              <a:gd name="T87" fmla="*/ 1656 h 3607"/>
              <a:gd name="T88" fmla="*/ 9048 w 33928"/>
              <a:gd name="T89" fmla="*/ 1847 h 3607"/>
              <a:gd name="T90" fmla="*/ 8509 w 33928"/>
              <a:gd name="T91" fmla="*/ 2253 h 3607"/>
              <a:gd name="T92" fmla="*/ 4847 w 33928"/>
              <a:gd name="T93" fmla="*/ 1902 h 3607"/>
              <a:gd name="T94" fmla="*/ 6327 w 33928"/>
              <a:gd name="T95" fmla="*/ 1601 h 3607"/>
              <a:gd name="T96" fmla="*/ 5925 w 33928"/>
              <a:gd name="T97" fmla="*/ 2515 h 3607"/>
              <a:gd name="T98" fmla="*/ 4847 w 33928"/>
              <a:gd name="T99" fmla="*/ 1902 h 3607"/>
              <a:gd name="T100" fmla="*/ 4707 w 33928"/>
              <a:gd name="T101" fmla="*/ 1601 h 3607"/>
              <a:gd name="T102" fmla="*/ 3270 w 33928"/>
              <a:gd name="T103" fmla="*/ 1894 h 3607"/>
              <a:gd name="T104" fmla="*/ 3743 w 33928"/>
              <a:gd name="T105" fmla="*/ 2940 h 3607"/>
              <a:gd name="T106" fmla="*/ 2647 w 33928"/>
              <a:gd name="T107" fmla="*/ 2897 h 3607"/>
              <a:gd name="T108" fmla="*/ 593 w 33928"/>
              <a:gd name="T109" fmla="*/ 2897 h 36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3928" h="3607">
                <a:moveTo>
                  <a:pt x="921" y="1828"/>
                </a:moveTo>
                <a:lnTo>
                  <a:pt x="1659" y="1828"/>
                </a:lnTo>
                <a:lnTo>
                  <a:pt x="1292" y="622"/>
                </a:lnTo>
                <a:lnTo>
                  <a:pt x="921" y="1828"/>
                </a:lnTo>
                <a:close/>
                <a:moveTo>
                  <a:pt x="32858" y="2686"/>
                </a:moveTo>
                <a:lnTo>
                  <a:pt x="32058" y="855"/>
                </a:lnTo>
                <a:lnTo>
                  <a:pt x="32406" y="855"/>
                </a:lnTo>
                <a:lnTo>
                  <a:pt x="33030" y="2319"/>
                </a:lnTo>
                <a:lnTo>
                  <a:pt x="33596" y="855"/>
                </a:lnTo>
                <a:lnTo>
                  <a:pt x="33928" y="855"/>
                </a:lnTo>
                <a:lnTo>
                  <a:pt x="32800" y="3607"/>
                </a:lnTo>
                <a:lnTo>
                  <a:pt x="32472" y="3607"/>
                </a:lnTo>
                <a:lnTo>
                  <a:pt x="32858" y="2686"/>
                </a:lnTo>
                <a:close/>
                <a:moveTo>
                  <a:pt x="30996" y="2385"/>
                </a:moveTo>
                <a:lnTo>
                  <a:pt x="30996" y="1128"/>
                </a:lnTo>
                <a:lnTo>
                  <a:pt x="30703" y="1128"/>
                </a:lnTo>
                <a:lnTo>
                  <a:pt x="30703" y="855"/>
                </a:lnTo>
                <a:lnTo>
                  <a:pt x="30996" y="855"/>
                </a:lnTo>
                <a:lnTo>
                  <a:pt x="30996" y="390"/>
                </a:lnTo>
                <a:lnTo>
                  <a:pt x="31320" y="390"/>
                </a:lnTo>
                <a:lnTo>
                  <a:pt x="31320" y="855"/>
                </a:lnTo>
                <a:lnTo>
                  <a:pt x="31796" y="855"/>
                </a:lnTo>
                <a:lnTo>
                  <a:pt x="31796" y="1128"/>
                </a:lnTo>
                <a:lnTo>
                  <a:pt x="31320" y="1128"/>
                </a:lnTo>
                <a:lnTo>
                  <a:pt x="31320" y="2354"/>
                </a:lnTo>
                <a:cubicBezTo>
                  <a:pt x="31320" y="2553"/>
                  <a:pt x="31410" y="2651"/>
                  <a:pt x="31574" y="2651"/>
                </a:cubicBezTo>
                <a:cubicBezTo>
                  <a:pt x="31675" y="2651"/>
                  <a:pt x="31753" y="2635"/>
                  <a:pt x="31824" y="2608"/>
                </a:cubicBezTo>
                <a:lnTo>
                  <a:pt x="31824" y="2881"/>
                </a:lnTo>
                <a:cubicBezTo>
                  <a:pt x="31757" y="2904"/>
                  <a:pt x="31679" y="2924"/>
                  <a:pt x="31546" y="2924"/>
                </a:cubicBezTo>
                <a:cubicBezTo>
                  <a:pt x="31176" y="2924"/>
                  <a:pt x="30996" y="2705"/>
                  <a:pt x="30996" y="2385"/>
                </a:cubicBezTo>
                <a:close/>
                <a:moveTo>
                  <a:pt x="30043" y="855"/>
                </a:moveTo>
                <a:lnTo>
                  <a:pt x="30367" y="855"/>
                </a:lnTo>
                <a:lnTo>
                  <a:pt x="30367" y="2896"/>
                </a:lnTo>
                <a:lnTo>
                  <a:pt x="30043" y="2896"/>
                </a:lnTo>
                <a:lnTo>
                  <a:pt x="30043" y="855"/>
                </a:lnTo>
                <a:close/>
                <a:moveTo>
                  <a:pt x="29985" y="215"/>
                </a:moveTo>
                <a:cubicBezTo>
                  <a:pt x="29985" y="98"/>
                  <a:pt x="30082" y="0"/>
                  <a:pt x="30199" y="0"/>
                </a:cubicBezTo>
                <a:cubicBezTo>
                  <a:pt x="30316" y="0"/>
                  <a:pt x="30414" y="98"/>
                  <a:pt x="30414" y="215"/>
                </a:cubicBezTo>
                <a:cubicBezTo>
                  <a:pt x="30414" y="332"/>
                  <a:pt x="30316" y="430"/>
                  <a:pt x="30199" y="430"/>
                </a:cubicBezTo>
                <a:cubicBezTo>
                  <a:pt x="30082" y="430"/>
                  <a:pt x="29985" y="332"/>
                  <a:pt x="29985" y="215"/>
                </a:cubicBezTo>
                <a:close/>
                <a:moveTo>
                  <a:pt x="28691" y="855"/>
                </a:moveTo>
                <a:lnTo>
                  <a:pt x="29015" y="855"/>
                </a:lnTo>
                <a:lnTo>
                  <a:pt x="29015" y="1222"/>
                </a:lnTo>
                <a:cubicBezTo>
                  <a:pt x="29143" y="992"/>
                  <a:pt x="29319" y="832"/>
                  <a:pt x="29686" y="820"/>
                </a:cubicBezTo>
                <a:lnTo>
                  <a:pt x="29686" y="1124"/>
                </a:lnTo>
                <a:cubicBezTo>
                  <a:pt x="29276" y="1144"/>
                  <a:pt x="29015" y="1273"/>
                  <a:pt x="29015" y="1776"/>
                </a:cubicBezTo>
                <a:lnTo>
                  <a:pt x="29015" y="2896"/>
                </a:lnTo>
                <a:lnTo>
                  <a:pt x="28691" y="2896"/>
                </a:lnTo>
                <a:lnTo>
                  <a:pt x="28691" y="855"/>
                </a:lnTo>
                <a:close/>
                <a:moveTo>
                  <a:pt x="26458" y="2147"/>
                </a:moveTo>
                <a:lnTo>
                  <a:pt x="26458" y="855"/>
                </a:lnTo>
                <a:lnTo>
                  <a:pt x="26782" y="855"/>
                </a:lnTo>
                <a:lnTo>
                  <a:pt x="26782" y="2131"/>
                </a:lnTo>
                <a:cubicBezTo>
                  <a:pt x="26782" y="2490"/>
                  <a:pt x="26934" y="2651"/>
                  <a:pt x="27254" y="2651"/>
                </a:cubicBezTo>
                <a:cubicBezTo>
                  <a:pt x="27543" y="2651"/>
                  <a:pt x="27816" y="2459"/>
                  <a:pt x="27816" y="2092"/>
                </a:cubicBezTo>
                <a:lnTo>
                  <a:pt x="27816" y="855"/>
                </a:lnTo>
                <a:lnTo>
                  <a:pt x="28140" y="855"/>
                </a:lnTo>
                <a:lnTo>
                  <a:pt x="28140" y="2896"/>
                </a:lnTo>
                <a:lnTo>
                  <a:pt x="27816" y="2896"/>
                </a:lnTo>
                <a:lnTo>
                  <a:pt x="27816" y="2573"/>
                </a:lnTo>
                <a:cubicBezTo>
                  <a:pt x="27722" y="2764"/>
                  <a:pt x="27496" y="2932"/>
                  <a:pt x="27168" y="2932"/>
                </a:cubicBezTo>
                <a:cubicBezTo>
                  <a:pt x="26762" y="2932"/>
                  <a:pt x="26458" y="2709"/>
                  <a:pt x="26458" y="2147"/>
                </a:cubicBezTo>
                <a:close/>
                <a:moveTo>
                  <a:pt x="24189" y="1897"/>
                </a:moveTo>
                <a:lnTo>
                  <a:pt x="24189" y="1866"/>
                </a:lnTo>
                <a:cubicBezTo>
                  <a:pt x="24189" y="1241"/>
                  <a:pt x="24634" y="820"/>
                  <a:pt x="25181" y="820"/>
                </a:cubicBezTo>
                <a:cubicBezTo>
                  <a:pt x="25606" y="820"/>
                  <a:pt x="26004" y="1015"/>
                  <a:pt x="26067" y="1534"/>
                </a:cubicBezTo>
                <a:lnTo>
                  <a:pt x="25747" y="1534"/>
                </a:lnTo>
                <a:cubicBezTo>
                  <a:pt x="25696" y="1210"/>
                  <a:pt x="25462" y="1089"/>
                  <a:pt x="25181" y="1089"/>
                </a:cubicBezTo>
                <a:cubicBezTo>
                  <a:pt x="24810" y="1089"/>
                  <a:pt x="24525" y="1386"/>
                  <a:pt x="24525" y="1866"/>
                </a:cubicBezTo>
                <a:lnTo>
                  <a:pt x="24525" y="1897"/>
                </a:lnTo>
                <a:cubicBezTo>
                  <a:pt x="24525" y="2397"/>
                  <a:pt x="24798" y="2662"/>
                  <a:pt x="25192" y="2662"/>
                </a:cubicBezTo>
                <a:cubicBezTo>
                  <a:pt x="25481" y="2662"/>
                  <a:pt x="25743" y="2494"/>
                  <a:pt x="25778" y="2163"/>
                </a:cubicBezTo>
                <a:lnTo>
                  <a:pt x="26078" y="2163"/>
                </a:lnTo>
                <a:cubicBezTo>
                  <a:pt x="26035" y="2604"/>
                  <a:pt x="25680" y="2932"/>
                  <a:pt x="25188" y="2932"/>
                </a:cubicBezTo>
                <a:cubicBezTo>
                  <a:pt x="24618" y="2932"/>
                  <a:pt x="24189" y="2530"/>
                  <a:pt x="24189" y="1897"/>
                </a:cubicBezTo>
                <a:close/>
                <a:moveTo>
                  <a:pt x="23565" y="1679"/>
                </a:moveTo>
                <a:cubicBezTo>
                  <a:pt x="23534" y="1257"/>
                  <a:pt x="23315" y="1089"/>
                  <a:pt x="22980" y="1089"/>
                </a:cubicBezTo>
                <a:cubicBezTo>
                  <a:pt x="22648" y="1089"/>
                  <a:pt x="22425" y="1316"/>
                  <a:pt x="22371" y="1679"/>
                </a:cubicBezTo>
                <a:lnTo>
                  <a:pt x="23565" y="1679"/>
                </a:lnTo>
                <a:close/>
                <a:moveTo>
                  <a:pt x="22023" y="1897"/>
                </a:moveTo>
                <a:lnTo>
                  <a:pt x="22023" y="1866"/>
                </a:lnTo>
                <a:cubicBezTo>
                  <a:pt x="22023" y="1249"/>
                  <a:pt x="22417" y="820"/>
                  <a:pt x="22980" y="820"/>
                </a:cubicBezTo>
                <a:cubicBezTo>
                  <a:pt x="23452" y="820"/>
                  <a:pt x="23897" y="1105"/>
                  <a:pt x="23897" y="1835"/>
                </a:cubicBezTo>
                <a:lnTo>
                  <a:pt x="23897" y="1940"/>
                </a:lnTo>
                <a:lnTo>
                  <a:pt x="22359" y="1940"/>
                </a:lnTo>
                <a:cubicBezTo>
                  <a:pt x="22374" y="2405"/>
                  <a:pt x="22597" y="2662"/>
                  <a:pt x="23015" y="2662"/>
                </a:cubicBezTo>
                <a:cubicBezTo>
                  <a:pt x="23331" y="2662"/>
                  <a:pt x="23514" y="2545"/>
                  <a:pt x="23557" y="2307"/>
                </a:cubicBezTo>
                <a:lnTo>
                  <a:pt x="23881" y="2307"/>
                </a:lnTo>
                <a:cubicBezTo>
                  <a:pt x="23811" y="2717"/>
                  <a:pt x="23471" y="2932"/>
                  <a:pt x="23011" y="2932"/>
                </a:cubicBezTo>
                <a:cubicBezTo>
                  <a:pt x="22433" y="2932"/>
                  <a:pt x="22023" y="2526"/>
                  <a:pt x="22023" y="1897"/>
                </a:cubicBezTo>
                <a:close/>
                <a:moveTo>
                  <a:pt x="19653" y="2046"/>
                </a:moveTo>
                <a:lnTo>
                  <a:pt x="19980" y="2046"/>
                </a:lnTo>
                <a:cubicBezTo>
                  <a:pt x="20023" y="2377"/>
                  <a:pt x="20156" y="2658"/>
                  <a:pt x="20718" y="2658"/>
                </a:cubicBezTo>
                <a:cubicBezTo>
                  <a:pt x="21077" y="2658"/>
                  <a:pt x="21354" y="2448"/>
                  <a:pt x="21354" y="2131"/>
                </a:cubicBezTo>
                <a:cubicBezTo>
                  <a:pt x="21354" y="1815"/>
                  <a:pt x="21210" y="1683"/>
                  <a:pt x="20679" y="1597"/>
                </a:cubicBezTo>
                <a:cubicBezTo>
                  <a:pt x="20094" y="1507"/>
                  <a:pt x="19746" y="1323"/>
                  <a:pt x="19746" y="828"/>
                </a:cubicBezTo>
                <a:cubicBezTo>
                  <a:pt x="19746" y="398"/>
                  <a:pt x="20117" y="70"/>
                  <a:pt x="20644" y="70"/>
                </a:cubicBezTo>
                <a:cubicBezTo>
                  <a:pt x="21202" y="70"/>
                  <a:pt x="21550" y="344"/>
                  <a:pt x="21604" y="839"/>
                </a:cubicBezTo>
                <a:lnTo>
                  <a:pt x="21300" y="839"/>
                </a:lnTo>
                <a:cubicBezTo>
                  <a:pt x="21234" y="488"/>
                  <a:pt x="21031" y="344"/>
                  <a:pt x="20644" y="344"/>
                </a:cubicBezTo>
                <a:cubicBezTo>
                  <a:pt x="20262" y="344"/>
                  <a:pt x="20063" y="535"/>
                  <a:pt x="20063" y="796"/>
                </a:cubicBezTo>
                <a:cubicBezTo>
                  <a:pt x="20063" y="1070"/>
                  <a:pt x="20164" y="1210"/>
                  <a:pt x="20734" y="1296"/>
                </a:cubicBezTo>
                <a:cubicBezTo>
                  <a:pt x="21354" y="1394"/>
                  <a:pt x="21682" y="1581"/>
                  <a:pt x="21682" y="2108"/>
                </a:cubicBezTo>
                <a:cubicBezTo>
                  <a:pt x="21682" y="2576"/>
                  <a:pt x="21273" y="2932"/>
                  <a:pt x="20718" y="2932"/>
                </a:cubicBezTo>
                <a:cubicBezTo>
                  <a:pt x="19973" y="2932"/>
                  <a:pt x="19703" y="2522"/>
                  <a:pt x="19653" y="2046"/>
                </a:cubicBezTo>
                <a:close/>
                <a:moveTo>
                  <a:pt x="18005" y="1656"/>
                </a:moveTo>
                <a:cubicBezTo>
                  <a:pt x="17986" y="1348"/>
                  <a:pt x="17830" y="1199"/>
                  <a:pt x="17560" y="1199"/>
                </a:cubicBezTo>
                <a:cubicBezTo>
                  <a:pt x="17307" y="1199"/>
                  <a:pt x="17135" y="1367"/>
                  <a:pt x="17092" y="1656"/>
                </a:cubicBezTo>
                <a:lnTo>
                  <a:pt x="18005" y="1656"/>
                </a:lnTo>
                <a:close/>
                <a:moveTo>
                  <a:pt x="16510" y="1902"/>
                </a:moveTo>
                <a:lnTo>
                  <a:pt x="16510" y="1871"/>
                </a:lnTo>
                <a:cubicBezTo>
                  <a:pt x="16510" y="1227"/>
                  <a:pt x="16967" y="809"/>
                  <a:pt x="17560" y="809"/>
                </a:cubicBezTo>
                <a:cubicBezTo>
                  <a:pt x="18087" y="809"/>
                  <a:pt x="18556" y="1117"/>
                  <a:pt x="18556" y="1847"/>
                </a:cubicBezTo>
                <a:lnTo>
                  <a:pt x="18556" y="2003"/>
                </a:lnTo>
                <a:lnTo>
                  <a:pt x="17084" y="2003"/>
                </a:lnTo>
                <a:cubicBezTo>
                  <a:pt x="17100" y="2343"/>
                  <a:pt x="17283" y="2538"/>
                  <a:pt x="17592" y="2538"/>
                </a:cubicBezTo>
                <a:cubicBezTo>
                  <a:pt x="17853" y="2538"/>
                  <a:pt x="17982" y="2425"/>
                  <a:pt x="18017" y="2253"/>
                </a:cubicBezTo>
                <a:lnTo>
                  <a:pt x="18552" y="2253"/>
                </a:lnTo>
                <a:cubicBezTo>
                  <a:pt x="18486" y="2694"/>
                  <a:pt x="18134" y="2940"/>
                  <a:pt x="17576" y="2940"/>
                </a:cubicBezTo>
                <a:cubicBezTo>
                  <a:pt x="16959" y="2940"/>
                  <a:pt x="16510" y="2554"/>
                  <a:pt x="16510" y="1902"/>
                </a:cubicBezTo>
                <a:close/>
                <a:moveTo>
                  <a:pt x="15191" y="856"/>
                </a:moveTo>
                <a:lnTo>
                  <a:pt x="15757" y="856"/>
                </a:lnTo>
                <a:lnTo>
                  <a:pt x="15757" y="1246"/>
                </a:lnTo>
                <a:cubicBezTo>
                  <a:pt x="15886" y="973"/>
                  <a:pt x="16085" y="828"/>
                  <a:pt x="16417" y="824"/>
                </a:cubicBezTo>
                <a:lnTo>
                  <a:pt x="16417" y="1351"/>
                </a:lnTo>
                <a:cubicBezTo>
                  <a:pt x="16000" y="1348"/>
                  <a:pt x="15757" y="1484"/>
                  <a:pt x="15757" y="1875"/>
                </a:cubicBezTo>
                <a:lnTo>
                  <a:pt x="15757" y="2897"/>
                </a:lnTo>
                <a:lnTo>
                  <a:pt x="15191" y="2897"/>
                </a:lnTo>
                <a:lnTo>
                  <a:pt x="15191" y="856"/>
                </a:lnTo>
                <a:close/>
                <a:moveTo>
                  <a:pt x="12911" y="2171"/>
                </a:moveTo>
                <a:lnTo>
                  <a:pt x="12911" y="856"/>
                </a:lnTo>
                <a:lnTo>
                  <a:pt x="13473" y="856"/>
                </a:lnTo>
                <a:lnTo>
                  <a:pt x="13473" y="2093"/>
                </a:lnTo>
                <a:cubicBezTo>
                  <a:pt x="13473" y="2370"/>
                  <a:pt x="13586" y="2503"/>
                  <a:pt x="13828" y="2503"/>
                </a:cubicBezTo>
                <a:cubicBezTo>
                  <a:pt x="14066" y="2503"/>
                  <a:pt x="14254" y="2355"/>
                  <a:pt x="14254" y="2054"/>
                </a:cubicBezTo>
                <a:lnTo>
                  <a:pt x="14254" y="856"/>
                </a:lnTo>
                <a:lnTo>
                  <a:pt x="14816" y="856"/>
                </a:lnTo>
                <a:lnTo>
                  <a:pt x="14816" y="2897"/>
                </a:lnTo>
                <a:lnTo>
                  <a:pt x="14254" y="2897"/>
                </a:lnTo>
                <a:lnTo>
                  <a:pt x="14254" y="2577"/>
                </a:lnTo>
                <a:cubicBezTo>
                  <a:pt x="14148" y="2784"/>
                  <a:pt x="13941" y="2940"/>
                  <a:pt x="13606" y="2940"/>
                </a:cubicBezTo>
                <a:cubicBezTo>
                  <a:pt x="13207" y="2940"/>
                  <a:pt x="12911" y="2706"/>
                  <a:pt x="12911" y="2171"/>
                </a:cubicBezTo>
                <a:close/>
                <a:moveTo>
                  <a:pt x="11695" y="2292"/>
                </a:moveTo>
                <a:lnTo>
                  <a:pt x="11695" y="1258"/>
                </a:lnTo>
                <a:lnTo>
                  <a:pt x="11434" y="1258"/>
                </a:lnTo>
                <a:lnTo>
                  <a:pt x="11434" y="856"/>
                </a:lnTo>
                <a:lnTo>
                  <a:pt x="11695" y="856"/>
                </a:lnTo>
                <a:lnTo>
                  <a:pt x="11695" y="415"/>
                </a:lnTo>
                <a:lnTo>
                  <a:pt x="12257" y="415"/>
                </a:lnTo>
                <a:lnTo>
                  <a:pt x="12257" y="856"/>
                </a:lnTo>
                <a:lnTo>
                  <a:pt x="12687" y="856"/>
                </a:lnTo>
                <a:lnTo>
                  <a:pt x="12687" y="1258"/>
                </a:lnTo>
                <a:lnTo>
                  <a:pt x="12257" y="1258"/>
                </a:lnTo>
                <a:lnTo>
                  <a:pt x="12257" y="2241"/>
                </a:lnTo>
                <a:cubicBezTo>
                  <a:pt x="12257" y="2405"/>
                  <a:pt x="12339" y="2483"/>
                  <a:pt x="12484" y="2483"/>
                </a:cubicBezTo>
                <a:cubicBezTo>
                  <a:pt x="12570" y="2483"/>
                  <a:pt x="12632" y="2472"/>
                  <a:pt x="12699" y="2444"/>
                </a:cubicBezTo>
                <a:lnTo>
                  <a:pt x="12699" y="2882"/>
                </a:lnTo>
                <a:cubicBezTo>
                  <a:pt x="12620" y="2909"/>
                  <a:pt x="12507" y="2936"/>
                  <a:pt x="12355" y="2936"/>
                </a:cubicBezTo>
                <a:cubicBezTo>
                  <a:pt x="11926" y="2936"/>
                  <a:pt x="11695" y="2718"/>
                  <a:pt x="11695" y="2292"/>
                </a:cubicBezTo>
                <a:close/>
                <a:moveTo>
                  <a:pt x="9321" y="856"/>
                </a:moveTo>
                <a:lnTo>
                  <a:pt x="9887" y="856"/>
                </a:lnTo>
                <a:lnTo>
                  <a:pt x="9887" y="1180"/>
                </a:lnTo>
                <a:cubicBezTo>
                  <a:pt x="9988" y="977"/>
                  <a:pt x="10211" y="809"/>
                  <a:pt x="10551" y="809"/>
                </a:cubicBezTo>
                <a:cubicBezTo>
                  <a:pt x="10953" y="809"/>
                  <a:pt x="11238" y="1051"/>
                  <a:pt x="11238" y="1597"/>
                </a:cubicBezTo>
                <a:lnTo>
                  <a:pt x="11238" y="2897"/>
                </a:lnTo>
                <a:lnTo>
                  <a:pt x="10672" y="2897"/>
                </a:lnTo>
                <a:lnTo>
                  <a:pt x="10672" y="1679"/>
                </a:lnTo>
                <a:cubicBezTo>
                  <a:pt x="10672" y="1402"/>
                  <a:pt x="10562" y="1269"/>
                  <a:pt x="10312" y="1269"/>
                </a:cubicBezTo>
                <a:cubicBezTo>
                  <a:pt x="10070" y="1269"/>
                  <a:pt x="9887" y="1418"/>
                  <a:pt x="9887" y="1718"/>
                </a:cubicBezTo>
                <a:lnTo>
                  <a:pt x="9887" y="2897"/>
                </a:lnTo>
                <a:lnTo>
                  <a:pt x="9321" y="2897"/>
                </a:lnTo>
                <a:lnTo>
                  <a:pt x="9321" y="856"/>
                </a:lnTo>
                <a:close/>
                <a:moveTo>
                  <a:pt x="8497" y="1656"/>
                </a:moveTo>
                <a:cubicBezTo>
                  <a:pt x="8478" y="1348"/>
                  <a:pt x="8322" y="1199"/>
                  <a:pt x="8052" y="1199"/>
                </a:cubicBezTo>
                <a:cubicBezTo>
                  <a:pt x="7799" y="1199"/>
                  <a:pt x="7627" y="1367"/>
                  <a:pt x="7584" y="1656"/>
                </a:cubicBezTo>
                <a:lnTo>
                  <a:pt x="8497" y="1656"/>
                </a:lnTo>
                <a:close/>
                <a:moveTo>
                  <a:pt x="7002" y="1902"/>
                </a:moveTo>
                <a:lnTo>
                  <a:pt x="7002" y="1871"/>
                </a:lnTo>
                <a:cubicBezTo>
                  <a:pt x="7002" y="1227"/>
                  <a:pt x="7459" y="809"/>
                  <a:pt x="8052" y="809"/>
                </a:cubicBezTo>
                <a:cubicBezTo>
                  <a:pt x="8579" y="809"/>
                  <a:pt x="9048" y="1117"/>
                  <a:pt x="9048" y="1847"/>
                </a:cubicBezTo>
                <a:lnTo>
                  <a:pt x="9048" y="2003"/>
                </a:lnTo>
                <a:lnTo>
                  <a:pt x="7576" y="2003"/>
                </a:lnTo>
                <a:cubicBezTo>
                  <a:pt x="7592" y="2343"/>
                  <a:pt x="7775" y="2538"/>
                  <a:pt x="8084" y="2538"/>
                </a:cubicBezTo>
                <a:cubicBezTo>
                  <a:pt x="8345" y="2538"/>
                  <a:pt x="8474" y="2425"/>
                  <a:pt x="8509" y="2253"/>
                </a:cubicBezTo>
                <a:lnTo>
                  <a:pt x="9044" y="2253"/>
                </a:lnTo>
                <a:cubicBezTo>
                  <a:pt x="8978" y="2694"/>
                  <a:pt x="8626" y="2940"/>
                  <a:pt x="8068" y="2940"/>
                </a:cubicBezTo>
                <a:cubicBezTo>
                  <a:pt x="7451" y="2940"/>
                  <a:pt x="7002" y="2554"/>
                  <a:pt x="7002" y="1902"/>
                </a:cubicBezTo>
                <a:close/>
                <a:moveTo>
                  <a:pt x="4847" y="1902"/>
                </a:moveTo>
                <a:lnTo>
                  <a:pt x="4847" y="1871"/>
                </a:lnTo>
                <a:cubicBezTo>
                  <a:pt x="4847" y="1211"/>
                  <a:pt x="5320" y="809"/>
                  <a:pt x="5901" y="809"/>
                </a:cubicBezTo>
                <a:cubicBezTo>
                  <a:pt x="6374" y="809"/>
                  <a:pt x="6811" y="1016"/>
                  <a:pt x="6862" y="1601"/>
                </a:cubicBezTo>
                <a:lnTo>
                  <a:pt x="6327" y="1601"/>
                </a:lnTo>
                <a:cubicBezTo>
                  <a:pt x="6288" y="1363"/>
                  <a:pt x="6143" y="1254"/>
                  <a:pt x="5913" y="1254"/>
                </a:cubicBezTo>
                <a:cubicBezTo>
                  <a:pt x="5620" y="1254"/>
                  <a:pt x="5425" y="1472"/>
                  <a:pt x="5425" y="1863"/>
                </a:cubicBezTo>
                <a:lnTo>
                  <a:pt x="5425" y="1894"/>
                </a:lnTo>
                <a:cubicBezTo>
                  <a:pt x="5425" y="2304"/>
                  <a:pt x="5609" y="2515"/>
                  <a:pt x="5925" y="2515"/>
                </a:cubicBezTo>
                <a:cubicBezTo>
                  <a:pt x="6151" y="2515"/>
                  <a:pt x="6335" y="2382"/>
                  <a:pt x="6362" y="2120"/>
                </a:cubicBezTo>
                <a:lnTo>
                  <a:pt x="6873" y="2120"/>
                </a:lnTo>
                <a:cubicBezTo>
                  <a:pt x="6842" y="2604"/>
                  <a:pt x="6491" y="2940"/>
                  <a:pt x="5897" y="2940"/>
                </a:cubicBezTo>
                <a:cubicBezTo>
                  <a:pt x="5300" y="2940"/>
                  <a:pt x="4847" y="2569"/>
                  <a:pt x="4847" y="1902"/>
                </a:cubicBezTo>
                <a:close/>
                <a:moveTo>
                  <a:pt x="2692" y="1902"/>
                </a:moveTo>
                <a:lnTo>
                  <a:pt x="2692" y="1871"/>
                </a:lnTo>
                <a:cubicBezTo>
                  <a:pt x="2692" y="1211"/>
                  <a:pt x="3165" y="809"/>
                  <a:pt x="3746" y="809"/>
                </a:cubicBezTo>
                <a:cubicBezTo>
                  <a:pt x="4219" y="809"/>
                  <a:pt x="4656" y="1016"/>
                  <a:pt x="4707" y="1601"/>
                </a:cubicBezTo>
                <a:lnTo>
                  <a:pt x="4172" y="1601"/>
                </a:lnTo>
                <a:cubicBezTo>
                  <a:pt x="4133" y="1363"/>
                  <a:pt x="3988" y="1254"/>
                  <a:pt x="3758" y="1254"/>
                </a:cubicBezTo>
                <a:cubicBezTo>
                  <a:pt x="3465" y="1254"/>
                  <a:pt x="3270" y="1472"/>
                  <a:pt x="3270" y="1863"/>
                </a:cubicBezTo>
                <a:lnTo>
                  <a:pt x="3270" y="1894"/>
                </a:lnTo>
                <a:cubicBezTo>
                  <a:pt x="3270" y="2304"/>
                  <a:pt x="3454" y="2515"/>
                  <a:pt x="3770" y="2515"/>
                </a:cubicBezTo>
                <a:cubicBezTo>
                  <a:pt x="3996" y="2515"/>
                  <a:pt x="4180" y="2382"/>
                  <a:pt x="4207" y="2120"/>
                </a:cubicBezTo>
                <a:lnTo>
                  <a:pt x="4718" y="2120"/>
                </a:lnTo>
                <a:cubicBezTo>
                  <a:pt x="4687" y="2604"/>
                  <a:pt x="4336" y="2940"/>
                  <a:pt x="3743" y="2940"/>
                </a:cubicBezTo>
                <a:cubicBezTo>
                  <a:pt x="3145" y="2940"/>
                  <a:pt x="2692" y="2569"/>
                  <a:pt x="2692" y="1902"/>
                </a:cubicBezTo>
                <a:close/>
                <a:moveTo>
                  <a:pt x="917" y="106"/>
                </a:moveTo>
                <a:lnTo>
                  <a:pt x="1741" y="106"/>
                </a:lnTo>
                <a:lnTo>
                  <a:pt x="2647" y="2897"/>
                </a:lnTo>
                <a:lnTo>
                  <a:pt x="1987" y="2897"/>
                </a:lnTo>
                <a:lnTo>
                  <a:pt x="1796" y="2277"/>
                </a:lnTo>
                <a:lnTo>
                  <a:pt x="785" y="2277"/>
                </a:lnTo>
                <a:lnTo>
                  <a:pt x="593" y="2897"/>
                </a:lnTo>
                <a:lnTo>
                  <a:pt x="0" y="2897"/>
                </a:lnTo>
                <a:lnTo>
                  <a:pt x="917" y="1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31217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3FCF02-C6B8-4C43-A196-3498D4D72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</p:spPr>
        <p:txBody>
          <a:bodyPr/>
          <a:lstStyle/>
          <a:p>
            <a:r>
              <a:rPr lang="en-US"/>
              <a:t>icons</a:t>
            </a:r>
            <a:endParaRPr lang="en-US" dirty="0"/>
          </a:p>
        </p:txBody>
      </p:sp>
      <p:grpSp>
        <p:nvGrpSpPr>
          <p:cNvPr id="379" name="Group 378">
            <a:extLst>
              <a:ext uri="{FF2B5EF4-FFF2-40B4-BE49-F238E27FC236}">
                <a16:creationId xmlns:a16="http://schemas.microsoft.com/office/drawing/2014/main" id="{99C574EA-5A22-4D66-95ED-672096101185}"/>
              </a:ext>
            </a:extLst>
          </p:cNvPr>
          <p:cNvGrpSpPr/>
          <p:nvPr/>
        </p:nvGrpSpPr>
        <p:grpSpPr>
          <a:xfrm>
            <a:off x="8091488" y="1485901"/>
            <a:ext cx="461963" cy="411163"/>
            <a:chOff x="8091488" y="1485901"/>
            <a:chExt cx="461963" cy="411163"/>
          </a:xfrm>
          <a:solidFill>
            <a:schemeClr val="accent1"/>
          </a:solidFill>
        </p:grpSpPr>
        <p:sp>
          <p:nvSpPr>
            <p:cNvPr id="165" name="Freeform 5">
              <a:extLst>
                <a:ext uri="{FF2B5EF4-FFF2-40B4-BE49-F238E27FC236}">
                  <a16:creationId xmlns:a16="http://schemas.microsoft.com/office/drawing/2014/main" id="{5E74BE56-E86C-4759-9E68-0D02588B9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1488" y="1720851"/>
              <a:ext cx="219075" cy="176213"/>
            </a:xfrm>
            <a:custGeom>
              <a:avLst/>
              <a:gdLst>
                <a:gd name="T0" fmla="*/ 226 w 605"/>
                <a:gd name="T1" fmla="*/ 0 h 492"/>
                <a:gd name="T2" fmla="*/ 0 w 605"/>
                <a:gd name="T3" fmla="*/ 0 h 492"/>
                <a:gd name="T4" fmla="*/ 491 w 605"/>
                <a:gd name="T5" fmla="*/ 492 h 492"/>
                <a:gd name="T6" fmla="*/ 605 w 605"/>
                <a:gd name="T7" fmla="*/ 379 h 492"/>
                <a:gd name="T8" fmla="*/ 226 w 605"/>
                <a:gd name="T9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5" h="492">
                  <a:moveTo>
                    <a:pt x="226" y="0"/>
                  </a:moveTo>
                  <a:lnTo>
                    <a:pt x="0" y="0"/>
                  </a:lnTo>
                  <a:lnTo>
                    <a:pt x="491" y="492"/>
                  </a:lnTo>
                  <a:lnTo>
                    <a:pt x="605" y="379"/>
                  </a:lnTo>
                  <a:lnTo>
                    <a:pt x="2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6" name="Freeform 6">
              <a:extLst>
                <a:ext uri="{FF2B5EF4-FFF2-40B4-BE49-F238E27FC236}">
                  <a16:creationId xmlns:a16="http://schemas.microsoft.com/office/drawing/2014/main" id="{F9CB4943-92E3-4330-B8AA-4A52CABBE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1488" y="1485901"/>
              <a:ext cx="461963" cy="234950"/>
            </a:xfrm>
            <a:custGeom>
              <a:avLst/>
              <a:gdLst>
                <a:gd name="T0" fmla="*/ 221 w 1282"/>
                <a:gd name="T1" fmla="*/ 492 h 652"/>
                <a:gd name="T2" fmla="*/ 605 w 1282"/>
                <a:gd name="T3" fmla="*/ 114 h 652"/>
                <a:gd name="T4" fmla="*/ 491 w 1282"/>
                <a:gd name="T5" fmla="*/ 0 h 652"/>
                <a:gd name="T6" fmla="*/ 0 w 1282"/>
                <a:gd name="T7" fmla="*/ 492 h 652"/>
                <a:gd name="T8" fmla="*/ 0 w 1282"/>
                <a:gd name="T9" fmla="*/ 652 h 652"/>
                <a:gd name="T10" fmla="*/ 226 w 1282"/>
                <a:gd name="T11" fmla="*/ 652 h 652"/>
                <a:gd name="T12" fmla="*/ 1282 w 1282"/>
                <a:gd name="T13" fmla="*/ 652 h 652"/>
                <a:gd name="T14" fmla="*/ 1282 w 1282"/>
                <a:gd name="T15" fmla="*/ 492 h 652"/>
                <a:gd name="T16" fmla="*/ 221 w 1282"/>
                <a:gd name="T17" fmla="*/ 49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2" h="652">
                  <a:moveTo>
                    <a:pt x="221" y="492"/>
                  </a:moveTo>
                  <a:lnTo>
                    <a:pt x="605" y="114"/>
                  </a:lnTo>
                  <a:lnTo>
                    <a:pt x="491" y="0"/>
                  </a:lnTo>
                  <a:lnTo>
                    <a:pt x="0" y="492"/>
                  </a:lnTo>
                  <a:lnTo>
                    <a:pt x="0" y="652"/>
                  </a:lnTo>
                  <a:lnTo>
                    <a:pt x="226" y="652"/>
                  </a:lnTo>
                  <a:lnTo>
                    <a:pt x="1282" y="652"/>
                  </a:lnTo>
                  <a:lnTo>
                    <a:pt x="1282" y="492"/>
                  </a:lnTo>
                  <a:lnTo>
                    <a:pt x="221" y="4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67" name="Freeform 7">
            <a:extLst>
              <a:ext uri="{FF2B5EF4-FFF2-40B4-BE49-F238E27FC236}">
                <a16:creationId xmlns:a16="http://schemas.microsoft.com/office/drawing/2014/main" id="{1AC94A2E-6CB7-491A-B497-125433E85279}"/>
              </a:ext>
            </a:extLst>
          </p:cNvPr>
          <p:cNvSpPr>
            <a:spLocks noEditPoints="1"/>
          </p:cNvSpPr>
          <p:nvPr/>
        </p:nvSpPr>
        <p:spPr bwMode="auto">
          <a:xfrm>
            <a:off x="8077201" y="2016126"/>
            <a:ext cx="468313" cy="196850"/>
          </a:xfrm>
          <a:custGeom>
            <a:avLst/>
            <a:gdLst>
              <a:gd name="T0" fmla="*/ 142 w 1297"/>
              <a:gd name="T1" fmla="*/ 28 h 548"/>
              <a:gd name="T2" fmla="*/ 161 w 1297"/>
              <a:gd name="T3" fmla="*/ 161 h 548"/>
              <a:gd name="T4" fmla="*/ 0 w 1297"/>
              <a:gd name="T5" fmla="*/ 227 h 548"/>
              <a:gd name="T6" fmla="*/ 461 w 1297"/>
              <a:gd name="T7" fmla="*/ 545 h 548"/>
              <a:gd name="T8" fmla="*/ 355 w 1297"/>
              <a:gd name="T9" fmla="*/ 452 h 548"/>
              <a:gd name="T10" fmla="*/ 355 w 1297"/>
              <a:gd name="T11" fmla="*/ 452 h 548"/>
              <a:gd name="T12" fmla="*/ 538 w 1297"/>
              <a:gd name="T13" fmla="*/ 382 h 548"/>
              <a:gd name="T14" fmla="*/ 538 w 1297"/>
              <a:gd name="T15" fmla="*/ 411 h 548"/>
              <a:gd name="T16" fmla="*/ 582 w 1297"/>
              <a:gd name="T17" fmla="*/ 545 h 548"/>
              <a:gd name="T18" fmla="*/ 639 w 1297"/>
              <a:gd name="T19" fmla="*/ 377 h 548"/>
              <a:gd name="T20" fmla="*/ 613 w 1297"/>
              <a:gd name="T21" fmla="*/ 426 h 548"/>
              <a:gd name="T22" fmla="*/ 677 w 1297"/>
              <a:gd name="T23" fmla="*/ 395 h 548"/>
              <a:gd name="T24" fmla="*/ 762 w 1297"/>
              <a:gd name="T25" fmla="*/ 538 h 548"/>
              <a:gd name="T26" fmla="*/ 693 w 1297"/>
              <a:gd name="T27" fmla="*/ 510 h 548"/>
              <a:gd name="T28" fmla="*/ 725 w 1297"/>
              <a:gd name="T29" fmla="*/ 400 h 548"/>
              <a:gd name="T30" fmla="*/ 819 w 1297"/>
              <a:gd name="T31" fmla="*/ 380 h 548"/>
              <a:gd name="T32" fmla="*/ 911 w 1297"/>
              <a:gd name="T33" fmla="*/ 380 h 548"/>
              <a:gd name="T34" fmla="*/ 1003 w 1297"/>
              <a:gd name="T35" fmla="*/ 380 h 548"/>
              <a:gd name="T36" fmla="*/ 866 w 1297"/>
              <a:gd name="T37" fmla="*/ 545 h 548"/>
              <a:gd name="T38" fmla="*/ 117 w 1297"/>
              <a:gd name="T39" fmla="*/ 82 h 548"/>
              <a:gd name="T40" fmla="*/ 29 w 1297"/>
              <a:gd name="T41" fmla="*/ 27 h 548"/>
              <a:gd name="T42" fmla="*/ 117 w 1297"/>
              <a:gd name="T43" fmla="*/ 193 h 548"/>
              <a:gd name="T44" fmla="*/ 78 w 1297"/>
              <a:gd name="T45" fmla="*/ 122 h 548"/>
              <a:gd name="T46" fmla="*/ 226 w 1297"/>
              <a:gd name="T47" fmla="*/ 231 h 548"/>
              <a:gd name="T48" fmla="*/ 210 w 1297"/>
              <a:gd name="T49" fmla="*/ 137 h 548"/>
              <a:gd name="T50" fmla="*/ 243 w 1297"/>
              <a:gd name="T51" fmla="*/ 82 h 548"/>
              <a:gd name="T52" fmla="*/ 212 w 1297"/>
              <a:gd name="T53" fmla="*/ 65 h 548"/>
              <a:gd name="T54" fmla="*/ 306 w 1297"/>
              <a:gd name="T55" fmla="*/ 121 h 548"/>
              <a:gd name="T56" fmla="*/ 282 w 1297"/>
              <a:gd name="T57" fmla="*/ 207 h 548"/>
              <a:gd name="T58" fmla="*/ 201 w 1297"/>
              <a:gd name="T59" fmla="*/ 183 h 548"/>
              <a:gd name="T60" fmla="*/ 280 w 1297"/>
              <a:gd name="T61" fmla="*/ 155 h 548"/>
              <a:gd name="T62" fmla="*/ 395 w 1297"/>
              <a:gd name="T63" fmla="*/ 231 h 548"/>
              <a:gd name="T64" fmla="*/ 395 w 1297"/>
              <a:gd name="T65" fmla="*/ 59 h 548"/>
              <a:gd name="T66" fmla="*/ 396 w 1297"/>
              <a:gd name="T67" fmla="*/ 82 h 548"/>
              <a:gd name="T68" fmla="*/ 420 w 1297"/>
              <a:gd name="T69" fmla="*/ 198 h 548"/>
              <a:gd name="T70" fmla="*/ 493 w 1297"/>
              <a:gd name="T71" fmla="*/ 130 h 548"/>
              <a:gd name="T72" fmla="*/ 562 w 1297"/>
              <a:gd name="T73" fmla="*/ 227 h 548"/>
              <a:gd name="T74" fmla="*/ 629 w 1297"/>
              <a:gd name="T75" fmla="*/ 227 h 548"/>
              <a:gd name="T76" fmla="*/ 650 w 1297"/>
              <a:gd name="T77" fmla="*/ 159 h 548"/>
              <a:gd name="T78" fmla="*/ 741 w 1297"/>
              <a:gd name="T79" fmla="*/ 158 h 548"/>
              <a:gd name="T80" fmla="*/ 693 w 1297"/>
              <a:gd name="T81" fmla="*/ 129 h 548"/>
              <a:gd name="T82" fmla="*/ 870 w 1297"/>
              <a:gd name="T83" fmla="*/ 225 h 548"/>
              <a:gd name="T84" fmla="*/ 807 w 1297"/>
              <a:gd name="T85" fmla="*/ 146 h 548"/>
              <a:gd name="T86" fmla="*/ 889 w 1297"/>
              <a:gd name="T87" fmla="*/ 92 h 548"/>
              <a:gd name="T88" fmla="*/ 805 w 1297"/>
              <a:gd name="T89" fmla="*/ 82 h 548"/>
              <a:gd name="T90" fmla="*/ 921 w 1297"/>
              <a:gd name="T91" fmla="*/ 96 h 548"/>
              <a:gd name="T92" fmla="*/ 903 w 1297"/>
              <a:gd name="T93" fmla="*/ 227 h 548"/>
              <a:gd name="T94" fmla="*/ 820 w 1297"/>
              <a:gd name="T95" fmla="*/ 170 h 548"/>
              <a:gd name="T96" fmla="*/ 892 w 1297"/>
              <a:gd name="T97" fmla="*/ 183 h 548"/>
              <a:gd name="T98" fmla="*/ 972 w 1297"/>
              <a:gd name="T99" fmla="*/ 63 h 548"/>
              <a:gd name="T100" fmla="*/ 1022 w 1297"/>
              <a:gd name="T101" fmla="*/ 94 h 548"/>
              <a:gd name="T102" fmla="*/ 974 w 1297"/>
              <a:gd name="T103" fmla="*/ 227 h 548"/>
              <a:gd name="T104" fmla="*/ 1051 w 1297"/>
              <a:gd name="T105" fmla="*/ 220 h 548"/>
              <a:gd name="T106" fmla="*/ 1084 w 1297"/>
              <a:gd name="T107" fmla="*/ 59 h 548"/>
              <a:gd name="T108" fmla="*/ 1152 w 1297"/>
              <a:gd name="T109" fmla="*/ 227 h 548"/>
              <a:gd name="T110" fmla="*/ 1117 w 1297"/>
              <a:gd name="T111" fmla="*/ 193 h 548"/>
              <a:gd name="T112" fmla="*/ 1046 w 1297"/>
              <a:gd name="T113" fmla="*/ 145 h 548"/>
              <a:gd name="T114" fmla="*/ 1261 w 1297"/>
              <a:gd name="T115" fmla="*/ 200 h 548"/>
              <a:gd name="T116" fmla="*/ 1179 w 1297"/>
              <a:gd name="T117" fmla="*/ 129 h 548"/>
              <a:gd name="T118" fmla="*/ 1230 w 1297"/>
              <a:gd name="T119" fmla="*/ 59 h 548"/>
              <a:gd name="T120" fmla="*/ 1255 w 1297"/>
              <a:gd name="T121" fmla="*/ 89 h 548"/>
              <a:gd name="T122" fmla="*/ 1212 w 1297"/>
              <a:gd name="T123" fmla="*/ 120 h 548"/>
              <a:gd name="T124" fmla="*/ 1289 w 1297"/>
              <a:gd name="T125" fmla="*/ 205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97" h="548">
                <a:moveTo>
                  <a:pt x="0" y="227"/>
                </a:moveTo>
                <a:lnTo>
                  <a:pt x="0" y="0"/>
                </a:lnTo>
                <a:lnTo>
                  <a:pt x="80" y="0"/>
                </a:lnTo>
                <a:cubicBezTo>
                  <a:pt x="96" y="0"/>
                  <a:pt x="109" y="2"/>
                  <a:pt x="119" y="7"/>
                </a:cubicBezTo>
                <a:cubicBezTo>
                  <a:pt x="129" y="12"/>
                  <a:pt x="136" y="19"/>
                  <a:pt x="142" y="28"/>
                </a:cubicBezTo>
                <a:cubicBezTo>
                  <a:pt x="147" y="38"/>
                  <a:pt x="150" y="48"/>
                  <a:pt x="150" y="58"/>
                </a:cubicBezTo>
                <a:cubicBezTo>
                  <a:pt x="150" y="68"/>
                  <a:pt x="148" y="77"/>
                  <a:pt x="143" y="86"/>
                </a:cubicBezTo>
                <a:cubicBezTo>
                  <a:pt x="138" y="94"/>
                  <a:pt x="131" y="101"/>
                  <a:pt x="121" y="106"/>
                </a:cubicBezTo>
                <a:cubicBezTo>
                  <a:pt x="133" y="110"/>
                  <a:pt x="143" y="117"/>
                  <a:pt x="150" y="127"/>
                </a:cubicBezTo>
                <a:cubicBezTo>
                  <a:pt x="157" y="137"/>
                  <a:pt x="161" y="148"/>
                  <a:pt x="161" y="161"/>
                </a:cubicBezTo>
                <a:cubicBezTo>
                  <a:pt x="161" y="172"/>
                  <a:pt x="158" y="182"/>
                  <a:pt x="154" y="191"/>
                </a:cubicBezTo>
                <a:cubicBezTo>
                  <a:pt x="150" y="200"/>
                  <a:pt x="145" y="207"/>
                  <a:pt x="139" y="212"/>
                </a:cubicBezTo>
                <a:cubicBezTo>
                  <a:pt x="132" y="217"/>
                  <a:pt x="125" y="221"/>
                  <a:pt x="115" y="224"/>
                </a:cubicBezTo>
                <a:cubicBezTo>
                  <a:pt x="106" y="226"/>
                  <a:pt x="95" y="227"/>
                  <a:pt x="81" y="227"/>
                </a:cubicBezTo>
                <a:lnTo>
                  <a:pt x="0" y="227"/>
                </a:lnTo>
                <a:close/>
                <a:moveTo>
                  <a:pt x="295" y="545"/>
                </a:moveTo>
                <a:lnTo>
                  <a:pt x="376" y="318"/>
                </a:lnTo>
                <a:lnTo>
                  <a:pt x="407" y="318"/>
                </a:lnTo>
                <a:lnTo>
                  <a:pt x="493" y="545"/>
                </a:lnTo>
                <a:lnTo>
                  <a:pt x="461" y="545"/>
                </a:lnTo>
                <a:lnTo>
                  <a:pt x="436" y="476"/>
                </a:lnTo>
                <a:lnTo>
                  <a:pt x="347" y="476"/>
                </a:lnTo>
                <a:lnTo>
                  <a:pt x="324" y="545"/>
                </a:lnTo>
                <a:lnTo>
                  <a:pt x="295" y="545"/>
                </a:lnTo>
                <a:close/>
                <a:moveTo>
                  <a:pt x="355" y="452"/>
                </a:moveTo>
                <a:lnTo>
                  <a:pt x="428" y="452"/>
                </a:lnTo>
                <a:lnTo>
                  <a:pt x="406" y="389"/>
                </a:lnTo>
                <a:cubicBezTo>
                  <a:pt x="399" y="369"/>
                  <a:pt x="394" y="354"/>
                  <a:pt x="390" y="341"/>
                </a:cubicBezTo>
                <a:cubicBezTo>
                  <a:pt x="387" y="356"/>
                  <a:pt x="384" y="370"/>
                  <a:pt x="379" y="385"/>
                </a:cubicBezTo>
                <a:lnTo>
                  <a:pt x="355" y="452"/>
                </a:lnTo>
                <a:close/>
                <a:moveTo>
                  <a:pt x="498" y="545"/>
                </a:moveTo>
                <a:lnTo>
                  <a:pt x="498" y="380"/>
                </a:lnTo>
                <a:lnTo>
                  <a:pt x="521" y="380"/>
                </a:lnTo>
                <a:lnTo>
                  <a:pt x="521" y="405"/>
                </a:lnTo>
                <a:cubicBezTo>
                  <a:pt x="527" y="394"/>
                  <a:pt x="533" y="386"/>
                  <a:pt x="538" y="382"/>
                </a:cubicBezTo>
                <a:cubicBezTo>
                  <a:pt x="543" y="378"/>
                  <a:pt x="548" y="377"/>
                  <a:pt x="554" y="377"/>
                </a:cubicBezTo>
                <a:cubicBezTo>
                  <a:pt x="563" y="377"/>
                  <a:pt x="572" y="380"/>
                  <a:pt x="581" y="385"/>
                </a:cubicBezTo>
                <a:lnTo>
                  <a:pt x="572" y="411"/>
                </a:lnTo>
                <a:cubicBezTo>
                  <a:pt x="566" y="407"/>
                  <a:pt x="559" y="406"/>
                  <a:pt x="553" y="406"/>
                </a:cubicBezTo>
                <a:cubicBezTo>
                  <a:pt x="547" y="406"/>
                  <a:pt x="542" y="407"/>
                  <a:pt x="538" y="411"/>
                </a:cubicBezTo>
                <a:cubicBezTo>
                  <a:pt x="533" y="415"/>
                  <a:pt x="530" y="420"/>
                  <a:pt x="528" y="426"/>
                </a:cubicBezTo>
                <a:cubicBezTo>
                  <a:pt x="525" y="436"/>
                  <a:pt x="524" y="447"/>
                  <a:pt x="524" y="459"/>
                </a:cubicBezTo>
                <a:lnTo>
                  <a:pt x="524" y="545"/>
                </a:lnTo>
                <a:lnTo>
                  <a:pt x="498" y="545"/>
                </a:lnTo>
                <a:close/>
                <a:moveTo>
                  <a:pt x="582" y="545"/>
                </a:moveTo>
                <a:lnTo>
                  <a:pt x="582" y="380"/>
                </a:lnTo>
                <a:lnTo>
                  <a:pt x="606" y="380"/>
                </a:lnTo>
                <a:lnTo>
                  <a:pt x="606" y="405"/>
                </a:lnTo>
                <a:cubicBezTo>
                  <a:pt x="612" y="394"/>
                  <a:pt x="617" y="386"/>
                  <a:pt x="622" y="382"/>
                </a:cubicBezTo>
                <a:cubicBezTo>
                  <a:pt x="627" y="378"/>
                  <a:pt x="633" y="377"/>
                  <a:pt x="639" y="377"/>
                </a:cubicBezTo>
                <a:cubicBezTo>
                  <a:pt x="648" y="377"/>
                  <a:pt x="657" y="380"/>
                  <a:pt x="666" y="385"/>
                </a:cubicBezTo>
                <a:lnTo>
                  <a:pt x="657" y="411"/>
                </a:lnTo>
                <a:cubicBezTo>
                  <a:pt x="650" y="407"/>
                  <a:pt x="644" y="406"/>
                  <a:pt x="638" y="406"/>
                </a:cubicBezTo>
                <a:cubicBezTo>
                  <a:pt x="632" y="406"/>
                  <a:pt x="627" y="407"/>
                  <a:pt x="622" y="411"/>
                </a:cubicBezTo>
                <a:cubicBezTo>
                  <a:pt x="618" y="415"/>
                  <a:pt x="615" y="420"/>
                  <a:pt x="613" y="426"/>
                </a:cubicBezTo>
                <a:cubicBezTo>
                  <a:pt x="610" y="436"/>
                  <a:pt x="608" y="447"/>
                  <a:pt x="608" y="459"/>
                </a:cubicBezTo>
                <a:lnTo>
                  <a:pt x="608" y="545"/>
                </a:lnTo>
                <a:lnTo>
                  <a:pt x="582" y="545"/>
                </a:lnTo>
                <a:close/>
                <a:moveTo>
                  <a:pt x="653" y="463"/>
                </a:moveTo>
                <a:cubicBezTo>
                  <a:pt x="653" y="432"/>
                  <a:pt x="661" y="410"/>
                  <a:pt x="677" y="395"/>
                </a:cubicBezTo>
                <a:cubicBezTo>
                  <a:pt x="690" y="383"/>
                  <a:pt x="706" y="377"/>
                  <a:pt x="725" y="377"/>
                </a:cubicBezTo>
                <a:cubicBezTo>
                  <a:pt x="746" y="377"/>
                  <a:pt x="764" y="384"/>
                  <a:pt x="777" y="399"/>
                </a:cubicBezTo>
                <a:cubicBezTo>
                  <a:pt x="790" y="414"/>
                  <a:pt x="797" y="434"/>
                  <a:pt x="797" y="460"/>
                </a:cubicBezTo>
                <a:cubicBezTo>
                  <a:pt x="797" y="481"/>
                  <a:pt x="794" y="498"/>
                  <a:pt x="788" y="510"/>
                </a:cubicBezTo>
                <a:cubicBezTo>
                  <a:pt x="782" y="522"/>
                  <a:pt x="774" y="532"/>
                  <a:pt x="762" y="538"/>
                </a:cubicBezTo>
                <a:cubicBezTo>
                  <a:pt x="751" y="545"/>
                  <a:pt x="739" y="548"/>
                  <a:pt x="725" y="548"/>
                </a:cubicBezTo>
                <a:cubicBezTo>
                  <a:pt x="704" y="548"/>
                  <a:pt x="686" y="541"/>
                  <a:pt x="673" y="526"/>
                </a:cubicBezTo>
                <a:cubicBezTo>
                  <a:pt x="660" y="512"/>
                  <a:pt x="653" y="490"/>
                  <a:pt x="653" y="463"/>
                </a:cubicBezTo>
                <a:close/>
                <a:moveTo>
                  <a:pt x="680" y="463"/>
                </a:moveTo>
                <a:cubicBezTo>
                  <a:pt x="680" y="484"/>
                  <a:pt x="684" y="499"/>
                  <a:pt x="693" y="510"/>
                </a:cubicBezTo>
                <a:cubicBezTo>
                  <a:pt x="701" y="520"/>
                  <a:pt x="712" y="526"/>
                  <a:pt x="725" y="526"/>
                </a:cubicBezTo>
                <a:cubicBezTo>
                  <a:pt x="738" y="526"/>
                  <a:pt x="749" y="520"/>
                  <a:pt x="758" y="510"/>
                </a:cubicBezTo>
                <a:cubicBezTo>
                  <a:pt x="766" y="499"/>
                  <a:pt x="770" y="483"/>
                  <a:pt x="770" y="462"/>
                </a:cubicBezTo>
                <a:cubicBezTo>
                  <a:pt x="770" y="441"/>
                  <a:pt x="766" y="426"/>
                  <a:pt x="757" y="416"/>
                </a:cubicBezTo>
                <a:cubicBezTo>
                  <a:pt x="749" y="405"/>
                  <a:pt x="738" y="400"/>
                  <a:pt x="725" y="400"/>
                </a:cubicBezTo>
                <a:cubicBezTo>
                  <a:pt x="712" y="400"/>
                  <a:pt x="701" y="405"/>
                  <a:pt x="693" y="415"/>
                </a:cubicBezTo>
                <a:cubicBezTo>
                  <a:pt x="684" y="426"/>
                  <a:pt x="680" y="442"/>
                  <a:pt x="680" y="463"/>
                </a:cubicBezTo>
                <a:close/>
                <a:moveTo>
                  <a:pt x="838" y="545"/>
                </a:moveTo>
                <a:lnTo>
                  <a:pt x="792" y="380"/>
                </a:lnTo>
                <a:lnTo>
                  <a:pt x="819" y="380"/>
                </a:lnTo>
                <a:lnTo>
                  <a:pt x="844" y="475"/>
                </a:lnTo>
                <a:lnTo>
                  <a:pt x="852" y="511"/>
                </a:lnTo>
                <a:cubicBezTo>
                  <a:pt x="853" y="509"/>
                  <a:pt x="855" y="498"/>
                  <a:pt x="860" y="477"/>
                </a:cubicBezTo>
                <a:lnTo>
                  <a:pt x="885" y="380"/>
                </a:lnTo>
                <a:lnTo>
                  <a:pt x="911" y="380"/>
                </a:lnTo>
                <a:lnTo>
                  <a:pt x="934" y="476"/>
                </a:lnTo>
                <a:lnTo>
                  <a:pt x="942" y="507"/>
                </a:lnTo>
                <a:lnTo>
                  <a:pt x="951" y="475"/>
                </a:lnTo>
                <a:lnTo>
                  <a:pt x="977" y="380"/>
                </a:lnTo>
                <a:lnTo>
                  <a:pt x="1003" y="380"/>
                </a:lnTo>
                <a:lnTo>
                  <a:pt x="954" y="545"/>
                </a:lnTo>
                <a:lnTo>
                  <a:pt x="928" y="545"/>
                </a:lnTo>
                <a:lnTo>
                  <a:pt x="903" y="446"/>
                </a:lnTo>
                <a:lnTo>
                  <a:pt x="897" y="418"/>
                </a:lnTo>
                <a:lnTo>
                  <a:pt x="866" y="545"/>
                </a:lnTo>
                <a:lnTo>
                  <a:pt x="838" y="545"/>
                </a:lnTo>
                <a:close/>
                <a:moveTo>
                  <a:pt x="29" y="96"/>
                </a:moveTo>
                <a:lnTo>
                  <a:pt x="74" y="96"/>
                </a:lnTo>
                <a:cubicBezTo>
                  <a:pt x="87" y="96"/>
                  <a:pt x="96" y="95"/>
                  <a:pt x="101" y="93"/>
                </a:cubicBezTo>
                <a:cubicBezTo>
                  <a:pt x="108" y="91"/>
                  <a:pt x="114" y="87"/>
                  <a:pt x="117" y="82"/>
                </a:cubicBezTo>
                <a:cubicBezTo>
                  <a:pt x="121" y="76"/>
                  <a:pt x="123" y="70"/>
                  <a:pt x="123" y="62"/>
                </a:cubicBezTo>
                <a:cubicBezTo>
                  <a:pt x="123" y="54"/>
                  <a:pt x="121" y="47"/>
                  <a:pt x="118" y="42"/>
                </a:cubicBezTo>
                <a:cubicBezTo>
                  <a:pt x="114" y="36"/>
                  <a:pt x="109" y="32"/>
                  <a:pt x="103" y="30"/>
                </a:cubicBezTo>
                <a:cubicBezTo>
                  <a:pt x="97" y="28"/>
                  <a:pt x="86" y="27"/>
                  <a:pt x="71" y="27"/>
                </a:cubicBezTo>
                <a:lnTo>
                  <a:pt x="29" y="27"/>
                </a:lnTo>
                <a:lnTo>
                  <a:pt x="29" y="96"/>
                </a:lnTo>
                <a:close/>
                <a:moveTo>
                  <a:pt x="29" y="201"/>
                </a:moveTo>
                <a:lnTo>
                  <a:pt x="81" y="201"/>
                </a:lnTo>
                <a:cubicBezTo>
                  <a:pt x="90" y="201"/>
                  <a:pt x="97" y="200"/>
                  <a:pt x="100" y="200"/>
                </a:cubicBezTo>
                <a:cubicBezTo>
                  <a:pt x="107" y="198"/>
                  <a:pt x="112" y="196"/>
                  <a:pt x="117" y="193"/>
                </a:cubicBezTo>
                <a:cubicBezTo>
                  <a:pt x="121" y="191"/>
                  <a:pt x="125" y="186"/>
                  <a:pt x="127" y="181"/>
                </a:cubicBezTo>
                <a:cubicBezTo>
                  <a:pt x="130" y="175"/>
                  <a:pt x="132" y="169"/>
                  <a:pt x="132" y="162"/>
                </a:cubicBezTo>
                <a:cubicBezTo>
                  <a:pt x="132" y="153"/>
                  <a:pt x="129" y="146"/>
                  <a:pt x="125" y="139"/>
                </a:cubicBezTo>
                <a:cubicBezTo>
                  <a:pt x="121" y="133"/>
                  <a:pt x="116" y="129"/>
                  <a:pt x="109" y="126"/>
                </a:cubicBezTo>
                <a:cubicBezTo>
                  <a:pt x="101" y="124"/>
                  <a:pt x="91" y="122"/>
                  <a:pt x="78" y="122"/>
                </a:cubicBezTo>
                <a:lnTo>
                  <a:pt x="29" y="122"/>
                </a:lnTo>
                <a:lnTo>
                  <a:pt x="29" y="201"/>
                </a:lnTo>
                <a:close/>
                <a:moveTo>
                  <a:pt x="282" y="207"/>
                </a:moveTo>
                <a:cubicBezTo>
                  <a:pt x="273" y="216"/>
                  <a:pt x="263" y="222"/>
                  <a:pt x="254" y="225"/>
                </a:cubicBezTo>
                <a:cubicBezTo>
                  <a:pt x="245" y="229"/>
                  <a:pt x="236" y="231"/>
                  <a:pt x="226" y="231"/>
                </a:cubicBezTo>
                <a:cubicBezTo>
                  <a:pt x="209" y="231"/>
                  <a:pt x="196" y="227"/>
                  <a:pt x="187" y="218"/>
                </a:cubicBezTo>
                <a:cubicBezTo>
                  <a:pt x="178" y="209"/>
                  <a:pt x="173" y="198"/>
                  <a:pt x="173" y="184"/>
                </a:cubicBezTo>
                <a:cubicBezTo>
                  <a:pt x="173" y="176"/>
                  <a:pt x="175" y="169"/>
                  <a:pt x="178" y="162"/>
                </a:cubicBezTo>
                <a:cubicBezTo>
                  <a:pt x="182" y="155"/>
                  <a:pt x="186" y="150"/>
                  <a:pt x="192" y="146"/>
                </a:cubicBezTo>
                <a:cubicBezTo>
                  <a:pt x="197" y="142"/>
                  <a:pt x="203" y="139"/>
                  <a:pt x="210" y="137"/>
                </a:cubicBezTo>
                <a:cubicBezTo>
                  <a:pt x="215" y="135"/>
                  <a:pt x="223" y="134"/>
                  <a:pt x="234" y="133"/>
                </a:cubicBezTo>
                <a:cubicBezTo>
                  <a:pt x="255" y="130"/>
                  <a:pt x="270" y="127"/>
                  <a:pt x="280" y="123"/>
                </a:cubicBezTo>
                <a:cubicBezTo>
                  <a:pt x="280" y="119"/>
                  <a:pt x="280" y="117"/>
                  <a:pt x="280" y="116"/>
                </a:cubicBezTo>
                <a:cubicBezTo>
                  <a:pt x="280" y="104"/>
                  <a:pt x="278" y="96"/>
                  <a:pt x="273" y="92"/>
                </a:cubicBezTo>
                <a:cubicBezTo>
                  <a:pt x="266" y="85"/>
                  <a:pt x="256" y="82"/>
                  <a:pt x="243" y="82"/>
                </a:cubicBezTo>
                <a:cubicBezTo>
                  <a:pt x="231" y="82"/>
                  <a:pt x="222" y="85"/>
                  <a:pt x="216" y="89"/>
                </a:cubicBezTo>
                <a:cubicBezTo>
                  <a:pt x="210" y="94"/>
                  <a:pt x="206" y="102"/>
                  <a:pt x="203" y="114"/>
                </a:cubicBezTo>
                <a:lnTo>
                  <a:pt x="177" y="110"/>
                </a:lnTo>
                <a:cubicBezTo>
                  <a:pt x="180" y="98"/>
                  <a:pt x="184" y="89"/>
                  <a:pt x="189" y="82"/>
                </a:cubicBezTo>
                <a:cubicBezTo>
                  <a:pt x="194" y="74"/>
                  <a:pt x="202" y="69"/>
                  <a:pt x="212" y="65"/>
                </a:cubicBezTo>
                <a:cubicBezTo>
                  <a:pt x="222" y="61"/>
                  <a:pt x="234" y="59"/>
                  <a:pt x="247" y="59"/>
                </a:cubicBezTo>
                <a:cubicBezTo>
                  <a:pt x="260" y="59"/>
                  <a:pt x="271" y="61"/>
                  <a:pt x="279" y="64"/>
                </a:cubicBezTo>
                <a:cubicBezTo>
                  <a:pt x="287" y="67"/>
                  <a:pt x="293" y="72"/>
                  <a:pt x="297" y="77"/>
                </a:cubicBezTo>
                <a:cubicBezTo>
                  <a:pt x="301" y="82"/>
                  <a:pt x="304" y="88"/>
                  <a:pt x="305" y="96"/>
                </a:cubicBezTo>
                <a:cubicBezTo>
                  <a:pt x="306" y="100"/>
                  <a:pt x="306" y="109"/>
                  <a:pt x="306" y="121"/>
                </a:cubicBezTo>
                <a:lnTo>
                  <a:pt x="306" y="158"/>
                </a:lnTo>
                <a:cubicBezTo>
                  <a:pt x="306" y="184"/>
                  <a:pt x="307" y="201"/>
                  <a:pt x="308" y="208"/>
                </a:cubicBezTo>
                <a:cubicBezTo>
                  <a:pt x="309" y="214"/>
                  <a:pt x="311" y="221"/>
                  <a:pt x="314" y="227"/>
                </a:cubicBezTo>
                <a:lnTo>
                  <a:pt x="287" y="227"/>
                </a:lnTo>
                <a:cubicBezTo>
                  <a:pt x="285" y="222"/>
                  <a:pt x="283" y="215"/>
                  <a:pt x="282" y="207"/>
                </a:cubicBezTo>
                <a:close/>
                <a:moveTo>
                  <a:pt x="280" y="145"/>
                </a:moveTo>
                <a:cubicBezTo>
                  <a:pt x="271" y="149"/>
                  <a:pt x="256" y="152"/>
                  <a:pt x="238" y="155"/>
                </a:cubicBezTo>
                <a:cubicBezTo>
                  <a:pt x="227" y="157"/>
                  <a:pt x="219" y="159"/>
                  <a:pt x="215" y="161"/>
                </a:cubicBezTo>
                <a:cubicBezTo>
                  <a:pt x="210" y="163"/>
                  <a:pt x="207" y="166"/>
                  <a:pt x="204" y="170"/>
                </a:cubicBezTo>
                <a:cubicBezTo>
                  <a:pt x="202" y="174"/>
                  <a:pt x="201" y="178"/>
                  <a:pt x="201" y="183"/>
                </a:cubicBezTo>
                <a:cubicBezTo>
                  <a:pt x="201" y="190"/>
                  <a:pt x="203" y="197"/>
                  <a:pt x="209" y="202"/>
                </a:cubicBezTo>
                <a:cubicBezTo>
                  <a:pt x="214" y="207"/>
                  <a:pt x="222" y="209"/>
                  <a:pt x="232" y="209"/>
                </a:cubicBezTo>
                <a:cubicBezTo>
                  <a:pt x="242" y="209"/>
                  <a:pt x="251" y="207"/>
                  <a:pt x="259" y="202"/>
                </a:cubicBezTo>
                <a:cubicBezTo>
                  <a:pt x="266" y="197"/>
                  <a:pt x="272" y="191"/>
                  <a:pt x="276" y="183"/>
                </a:cubicBezTo>
                <a:cubicBezTo>
                  <a:pt x="279" y="177"/>
                  <a:pt x="280" y="167"/>
                  <a:pt x="280" y="155"/>
                </a:cubicBezTo>
                <a:lnTo>
                  <a:pt x="280" y="145"/>
                </a:lnTo>
                <a:close/>
                <a:moveTo>
                  <a:pt x="433" y="167"/>
                </a:moveTo>
                <a:lnTo>
                  <a:pt x="458" y="171"/>
                </a:lnTo>
                <a:cubicBezTo>
                  <a:pt x="456" y="190"/>
                  <a:pt x="448" y="204"/>
                  <a:pt x="437" y="215"/>
                </a:cubicBezTo>
                <a:cubicBezTo>
                  <a:pt x="425" y="226"/>
                  <a:pt x="411" y="231"/>
                  <a:pt x="395" y="231"/>
                </a:cubicBezTo>
                <a:cubicBezTo>
                  <a:pt x="374" y="231"/>
                  <a:pt x="357" y="224"/>
                  <a:pt x="344" y="209"/>
                </a:cubicBezTo>
                <a:cubicBezTo>
                  <a:pt x="331" y="194"/>
                  <a:pt x="325" y="173"/>
                  <a:pt x="325" y="146"/>
                </a:cubicBezTo>
                <a:cubicBezTo>
                  <a:pt x="325" y="128"/>
                  <a:pt x="328" y="112"/>
                  <a:pt x="333" y="99"/>
                </a:cubicBezTo>
                <a:cubicBezTo>
                  <a:pt x="339" y="86"/>
                  <a:pt x="347" y="76"/>
                  <a:pt x="358" y="69"/>
                </a:cubicBezTo>
                <a:cubicBezTo>
                  <a:pt x="369" y="62"/>
                  <a:pt x="382" y="59"/>
                  <a:pt x="395" y="59"/>
                </a:cubicBezTo>
                <a:cubicBezTo>
                  <a:pt x="411" y="59"/>
                  <a:pt x="425" y="64"/>
                  <a:pt x="436" y="73"/>
                </a:cubicBezTo>
                <a:cubicBezTo>
                  <a:pt x="446" y="82"/>
                  <a:pt x="453" y="95"/>
                  <a:pt x="456" y="111"/>
                </a:cubicBezTo>
                <a:lnTo>
                  <a:pt x="431" y="115"/>
                </a:lnTo>
                <a:cubicBezTo>
                  <a:pt x="428" y="104"/>
                  <a:pt x="424" y="96"/>
                  <a:pt x="418" y="90"/>
                </a:cubicBezTo>
                <a:cubicBezTo>
                  <a:pt x="412" y="85"/>
                  <a:pt x="405" y="82"/>
                  <a:pt x="396" y="82"/>
                </a:cubicBezTo>
                <a:cubicBezTo>
                  <a:pt x="383" y="82"/>
                  <a:pt x="372" y="87"/>
                  <a:pt x="364" y="97"/>
                </a:cubicBezTo>
                <a:cubicBezTo>
                  <a:pt x="356" y="107"/>
                  <a:pt x="352" y="123"/>
                  <a:pt x="352" y="145"/>
                </a:cubicBezTo>
                <a:cubicBezTo>
                  <a:pt x="352" y="167"/>
                  <a:pt x="356" y="183"/>
                  <a:pt x="363" y="193"/>
                </a:cubicBezTo>
                <a:cubicBezTo>
                  <a:pt x="371" y="203"/>
                  <a:pt x="382" y="208"/>
                  <a:pt x="394" y="208"/>
                </a:cubicBezTo>
                <a:cubicBezTo>
                  <a:pt x="405" y="208"/>
                  <a:pt x="413" y="205"/>
                  <a:pt x="420" y="198"/>
                </a:cubicBezTo>
                <a:cubicBezTo>
                  <a:pt x="427" y="191"/>
                  <a:pt x="431" y="181"/>
                  <a:pt x="433" y="167"/>
                </a:cubicBezTo>
                <a:close/>
                <a:moveTo>
                  <a:pt x="467" y="227"/>
                </a:moveTo>
                <a:lnTo>
                  <a:pt x="467" y="0"/>
                </a:lnTo>
                <a:lnTo>
                  <a:pt x="493" y="0"/>
                </a:lnTo>
                <a:lnTo>
                  <a:pt x="493" y="130"/>
                </a:lnTo>
                <a:lnTo>
                  <a:pt x="554" y="63"/>
                </a:lnTo>
                <a:lnTo>
                  <a:pt x="588" y="63"/>
                </a:lnTo>
                <a:lnTo>
                  <a:pt x="529" y="124"/>
                </a:lnTo>
                <a:lnTo>
                  <a:pt x="594" y="227"/>
                </a:lnTo>
                <a:lnTo>
                  <a:pt x="562" y="227"/>
                </a:lnTo>
                <a:lnTo>
                  <a:pt x="511" y="143"/>
                </a:lnTo>
                <a:lnTo>
                  <a:pt x="493" y="162"/>
                </a:lnTo>
                <a:lnTo>
                  <a:pt x="493" y="227"/>
                </a:lnTo>
                <a:lnTo>
                  <a:pt x="467" y="227"/>
                </a:lnTo>
                <a:close/>
                <a:moveTo>
                  <a:pt x="629" y="227"/>
                </a:moveTo>
                <a:lnTo>
                  <a:pt x="582" y="63"/>
                </a:lnTo>
                <a:lnTo>
                  <a:pt x="609" y="63"/>
                </a:lnTo>
                <a:lnTo>
                  <a:pt x="634" y="158"/>
                </a:lnTo>
                <a:lnTo>
                  <a:pt x="643" y="193"/>
                </a:lnTo>
                <a:cubicBezTo>
                  <a:pt x="643" y="191"/>
                  <a:pt x="646" y="180"/>
                  <a:pt x="650" y="159"/>
                </a:cubicBezTo>
                <a:lnTo>
                  <a:pt x="675" y="63"/>
                </a:lnTo>
                <a:lnTo>
                  <a:pt x="701" y="63"/>
                </a:lnTo>
                <a:lnTo>
                  <a:pt x="725" y="158"/>
                </a:lnTo>
                <a:lnTo>
                  <a:pt x="732" y="190"/>
                </a:lnTo>
                <a:lnTo>
                  <a:pt x="741" y="158"/>
                </a:lnTo>
                <a:lnTo>
                  <a:pt x="767" y="63"/>
                </a:lnTo>
                <a:lnTo>
                  <a:pt x="793" y="63"/>
                </a:lnTo>
                <a:lnTo>
                  <a:pt x="745" y="227"/>
                </a:lnTo>
                <a:lnTo>
                  <a:pt x="718" y="227"/>
                </a:lnTo>
                <a:lnTo>
                  <a:pt x="693" y="129"/>
                </a:lnTo>
                <a:lnTo>
                  <a:pt x="687" y="101"/>
                </a:lnTo>
                <a:lnTo>
                  <a:pt x="656" y="227"/>
                </a:lnTo>
                <a:lnTo>
                  <a:pt x="629" y="227"/>
                </a:lnTo>
                <a:close/>
                <a:moveTo>
                  <a:pt x="898" y="207"/>
                </a:moveTo>
                <a:cubicBezTo>
                  <a:pt x="888" y="216"/>
                  <a:pt x="879" y="222"/>
                  <a:pt x="870" y="225"/>
                </a:cubicBezTo>
                <a:cubicBezTo>
                  <a:pt x="861" y="229"/>
                  <a:pt x="852" y="231"/>
                  <a:pt x="841" y="231"/>
                </a:cubicBezTo>
                <a:cubicBezTo>
                  <a:pt x="825" y="231"/>
                  <a:pt x="812" y="227"/>
                  <a:pt x="803" y="218"/>
                </a:cubicBezTo>
                <a:cubicBezTo>
                  <a:pt x="793" y="209"/>
                  <a:pt x="789" y="198"/>
                  <a:pt x="789" y="184"/>
                </a:cubicBezTo>
                <a:cubicBezTo>
                  <a:pt x="789" y="176"/>
                  <a:pt x="791" y="169"/>
                  <a:pt x="794" y="162"/>
                </a:cubicBezTo>
                <a:cubicBezTo>
                  <a:pt x="797" y="155"/>
                  <a:pt x="802" y="150"/>
                  <a:pt x="807" y="146"/>
                </a:cubicBezTo>
                <a:cubicBezTo>
                  <a:pt x="813" y="142"/>
                  <a:pt x="819" y="139"/>
                  <a:pt x="826" y="137"/>
                </a:cubicBezTo>
                <a:cubicBezTo>
                  <a:pt x="831" y="135"/>
                  <a:pt x="839" y="134"/>
                  <a:pt x="849" y="133"/>
                </a:cubicBezTo>
                <a:cubicBezTo>
                  <a:pt x="870" y="130"/>
                  <a:pt x="886" y="127"/>
                  <a:pt x="896" y="123"/>
                </a:cubicBezTo>
                <a:cubicBezTo>
                  <a:pt x="896" y="119"/>
                  <a:pt x="896" y="117"/>
                  <a:pt x="896" y="116"/>
                </a:cubicBezTo>
                <a:cubicBezTo>
                  <a:pt x="896" y="104"/>
                  <a:pt x="894" y="96"/>
                  <a:pt x="889" y="92"/>
                </a:cubicBezTo>
                <a:cubicBezTo>
                  <a:pt x="882" y="85"/>
                  <a:pt x="872" y="82"/>
                  <a:pt x="859" y="82"/>
                </a:cubicBezTo>
                <a:cubicBezTo>
                  <a:pt x="847" y="82"/>
                  <a:pt x="838" y="85"/>
                  <a:pt x="832" y="89"/>
                </a:cubicBezTo>
                <a:cubicBezTo>
                  <a:pt x="826" y="94"/>
                  <a:pt x="822" y="102"/>
                  <a:pt x="819" y="114"/>
                </a:cubicBezTo>
                <a:lnTo>
                  <a:pt x="793" y="110"/>
                </a:lnTo>
                <a:cubicBezTo>
                  <a:pt x="796" y="98"/>
                  <a:pt x="799" y="89"/>
                  <a:pt x="805" y="82"/>
                </a:cubicBezTo>
                <a:cubicBezTo>
                  <a:pt x="810" y="74"/>
                  <a:pt x="818" y="69"/>
                  <a:pt x="828" y="65"/>
                </a:cubicBezTo>
                <a:cubicBezTo>
                  <a:pt x="838" y="61"/>
                  <a:pt x="850" y="59"/>
                  <a:pt x="863" y="59"/>
                </a:cubicBezTo>
                <a:cubicBezTo>
                  <a:pt x="876" y="59"/>
                  <a:pt x="887" y="61"/>
                  <a:pt x="895" y="64"/>
                </a:cubicBezTo>
                <a:cubicBezTo>
                  <a:pt x="903" y="67"/>
                  <a:pt x="909" y="72"/>
                  <a:pt x="913" y="77"/>
                </a:cubicBezTo>
                <a:cubicBezTo>
                  <a:pt x="917" y="82"/>
                  <a:pt x="919" y="88"/>
                  <a:pt x="921" y="96"/>
                </a:cubicBezTo>
                <a:cubicBezTo>
                  <a:pt x="922" y="100"/>
                  <a:pt x="922" y="109"/>
                  <a:pt x="922" y="121"/>
                </a:cubicBezTo>
                <a:lnTo>
                  <a:pt x="922" y="158"/>
                </a:lnTo>
                <a:cubicBezTo>
                  <a:pt x="922" y="184"/>
                  <a:pt x="923" y="201"/>
                  <a:pt x="924" y="208"/>
                </a:cubicBezTo>
                <a:cubicBezTo>
                  <a:pt x="925" y="214"/>
                  <a:pt x="927" y="221"/>
                  <a:pt x="930" y="227"/>
                </a:cubicBezTo>
                <a:lnTo>
                  <a:pt x="903" y="227"/>
                </a:lnTo>
                <a:cubicBezTo>
                  <a:pt x="900" y="222"/>
                  <a:pt x="899" y="215"/>
                  <a:pt x="898" y="207"/>
                </a:cubicBezTo>
                <a:close/>
                <a:moveTo>
                  <a:pt x="896" y="145"/>
                </a:moveTo>
                <a:cubicBezTo>
                  <a:pt x="887" y="149"/>
                  <a:pt x="872" y="152"/>
                  <a:pt x="853" y="155"/>
                </a:cubicBezTo>
                <a:cubicBezTo>
                  <a:pt x="843" y="157"/>
                  <a:pt x="835" y="159"/>
                  <a:pt x="831" y="161"/>
                </a:cubicBezTo>
                <a:cubicBezTo>
                  <a:pt x="826" y="163"/>
                  <a:pt x="823" y="166"/>
                  <a:pt x="820" y="170"/>
                </a:cubicBezTo>
                <a:cubicBezTo>
                  <a:pt x="818" y="174"/>
                  <a:pt x="817" y="178"/>
                  <a:pt x="817" y="183"/>
                </a:cubicBezTo>
                <a:cubicBezTo>
                  <a:pt x="817" y="190"/>
                  <a:pt x="819" y="197"/>
                  <a:pt x="825" y="202"/>
                </a:cubicBezTo>
                <a:cubicBezTo>
                  <a:pt x="830" y="207"/>
                  <a:pt x="838" y="209"/>
                  <a:pt x="848" y="209"/>
                </a:cubicBezTo>
                <a:cubicBezTo>
                  <a:pt x="858" y="209"/>
                  <a:pt x="867" y="207"/>
                  <a:pt x="874" y="202"/>
                </a:cubicBezTo>
                <a:cubicBezTo>
                  <a:pt x="882" y="197"/>
                  <a:pt x="888" y="191"/>
                  <a:pt x="892" y="183"/>
                </a:cubicBezTo>
                <a:cubicBezTo>
                  <a:pt x="894" y="177"/>
                  <a:pt x="896" y="167"/>
                  <a:pt x="896" y="155"/>
                </a:cubicBezTo>
                <a:lnTo>
                  <a:pt x="896" y="145"/>
                </a:lnTo>
                <a:close/>
                <a:moveTo>
                  <a:pt x="948" y="227"/>
                </a:moveTo>
                <a:lnTo>
                  <a:pt x="948" y="63"/>
                </a:lnTo>
                <a:lnTo>
                  <a:pt x="972" y="63"/>
                </a:lnTo>
                <a:lnTo>
                  <a:pt x="972" y="88"/>
                </a:lnTo>
                <a:cubicBezTo>
                  <a:pt x="978" y="76"/>
                  <a:pt x="983" y="68"/>
                  <a:pt x="988" y="65"/>
                </a:cubicBezTo>
                <a:cubicBezTo>
                  <a:pt x="993" y="61"/>
                  <a:pt x="999" y="59"/>
                  <a:pt x="1005" y="59"/>
                </a:cubicBezTo>
                <a:cubicBezTo>
                  <a:pt x="1014" y="59"/>
                  <a:pt x="1023" y="62"/>
                  <a:pt x="1032" y="68"/>
                </a:cubicBezTo>
                <a:lnTo>
                  <a:pt x="1022" y="94"/>
                </a:lnTo>
                <a:cubicBezTo>
                  <a:pt x="1016" y="90"/>
                  <a:pt x="1010" y="88"/>
                  <a:pt x="1003" y="88"/>
                </a:cubicBezTo>
                <a:cubicBezTo>
                  <a:pt x="998" y="88"/>
                  <a:pt x="993" y="90"/>
                  <a:pt x="988" y="94"/>
                </a:cubicBezTo>
                <a:cubicBezTo>
                  <a:pt x="984" y="97"/>
                  <a:pt x="981" y="102"/>
                  <a:pt x="979" y="109"/>
                </a:cubicBezTo>
                <a:cubicBezTo>
                  <a:pt x="976" y="119"/>
                  <a:pt x="974" y="130"/>
                  <a:pt x="974" y="141"/>
                </a:cubicBezTo>
                <a:lnTo>
                  <a:pt x="974" y="227"/>
                </a:lnTo>
                <a:lnTo>
                  <a:pt x="948" y="227"/>
                </a:lnTo>
                <a:close/>
                <a:moveTo>
                  <a:pt x="1128" y="227"/>
                </a:moveTo>
                <a:lnTo>
                  <a:pt x="1128" y="207"/>
                </a:lnTo>
                <a:cubicBezTo>
                  <a:pt x="1118" y="223"/>
                  <a:pt x="1104" y="231"/>
                  <a:pt x="1085" y="231"/>
                </a:cubicBezTo>
                <a:cubicBezTo>
                  <a:pt x="1073" y="231"/>
                  <a:pt x="1062" y="227"/>
                  <a:pt x="1051" y="220"/>
                </a:cubicBezTo>
                <a:cubicBezTo>
                  <a:pt x="1041" y="213"/>
                  <a:pt x="1033" y="203"/>
                  <a:pt x="1027" y="190"/>
                </a:cubicBezTo>
                <a:cubicBezTo>
                  <a:pt x="1022" y="177"/>
                  <a:pt x="1019" y="162"/>
                  <a:pt x="1019" y="145"/>
                </a:cubicBezTo>
                <a:cubicBezTo>
                  <a:pt x="1019" y="129"/>
                  <a:pt x="1022" y="114"/>
                  <a:pt x="1027" y="101"/>
                </a:cubicBezTo>
                <a:cubicBezTo>
                  <a:pt x="1032" y="87"/>
                  <a:pt x="1039" y="77"/>
                  <a:pt x="1050" y="70"/>
                </a:cubicBezTo>
                <a:cubicBezTo>
                  <a:pt x="1060" y="63"/>
                  <a:pt x="1071" y="59"/>
                  <a:pt x="1084" y="59"/>
                </a:cubicBezTo>
                <a:cubicBezTo>
                  <a:pt x="1093" y="59"/>
                  <a:pt x="1101" y="61"/>
                  <a:pt x="1109" y="65"/>
                </a:cubicBezTo>
                <a:cubicBezTo>
                  <a:pt x="1116" y="70"/>
                  <a:pt x="1122" y="75"/>
                  <a:pt x="1126" y="82"/>
                </a:cubicBezTo>
                <a:lnTo>
                  <a:pt x="1126" y="0"/>
                </a:lnTo>
                <a:lnTo>
                  <a:pt x="1152" y="0"/>
                </a:lnTo>
                <a:lnTo>
                  <a:pt x="1152" y="227"/>
                </a:lnTo>
                <a:lnTo>
                  <a:pt x="1128" y="227"/>
                </a:lnTo>
                <a:close/>
                <a:moveTo>
                  <a:pt x="1046" y="145"/>
                </a:moveTo>
                <a:cubicBezTo>
                  <a:pt x="1046" y="166"/>
                  <a:pt x="1050" y="182"/>
                  <a:pt x="1058" y="192"/>
                </a:cubicBezTo>
                <a:cubicBezTo>
                  <a:pt x="1066" y="203"/>
                  <a:pt x="1076" y="208"/>
                  <a:pt x="1088" y="208"/>
                </a:cubicBezTo>
                <a:cubicBezTo>
                  <a:pt x="1099" y="208"/>
                  <a:pt x="1109" y="203"/>
                  <a:pt x="1117" y="193"/>
                </a:cubicBezTo>
                <a:cubicBezTo>
                  <a:pt x="1124" y="183"/>
                  <a:pt x="1128" y="168"/>
                  <a:pt x="1128" y="148"/>
                </a:cubicBezTo>
                <a:cubicBezTo>
                  <a:pt x="1128" y="125"/>
                  <a:pt x="1124" y="109"/>
                  <a:pt x="1116" y="98"/>
                </a:cubicBezTo>
                <a:cubicBezTo>
                  <a:pt x="1108" y="88"/>
                  <a:pt x="1098" y="82"/>
                  <a:pt x="1086" y="82"/>
                </a:cubicBezTo>
                <a:cubicBezTo>
                  <a:pt x="1075" y="82"/>
                  <a:pt x="1065" y="87"/>
                  <a:pt x="1057" y="97"/>
                </a:cubicBezTo>
                <a:cubicBezTo>
                  <a:pt x="1050" y="108"/>
                  <a:pt x="1046" y="123"/>
                  <a:pt x="1046" y="145"/>
                </a:cubicBezTo>
                <a:close/>
                <a:moveTo>
                  <a:pt x="1169" y="178"/>
                </a:moveTo>
                <a:lnTo>
                  <a:pt x="1195" y="174"/>
                </a:lnTo>
                <a:cubicBezTo>
                  <a:pt x="1196" y="185"/>
                  <a:pt x="1200" y="193"/>
                  <a:pt x="1207" y="199"/>
                </a:cubicBezTo>
                <a:cubicBezTo>
                  <a:pt x="1214" y="205"/>
                  <a:pt x="1223" y="208"/>
                  <a:pt x="1235" y="208"/>
                </a:cubicBezTo>
                <a:cubicBezTo>
                  <a:pt x="1247" y="208"/>
                  <a:pt x="1256" y="205"/>
                  <a:pt x="1261" y="200"/>
                </a:cubicBezTo>
                <a:cubicBezTo>
                  <a:pt x="1267" y="195"/>
                  <a:pt x="1270" y="189"/>
                  <a:pt x="1270" y="182"/>
                </a:cubicBezTo>
                <a:cubicBezTo>
                  <a:pt x="1270" y="176"/>
                  <a:pt x="1267" y="171"/>
                  <a:pt x="1262" y="167"/>
                </a:cubicBezTo>
                <a:cubicBezTo>
                  <a:pt x="1259" y="164"/>
                  <a:pt x="1250" y="161"/>
                  <a:pt x="1236" y="158"/>
                </a:cubicBezTo>
                <a:cubicBezTo>
                  <a:pt x="1217" y="152"/>
                  <a:pt x="1203" y="148"/>
                  <a:pt x="1196" y="144"/>
                </a:cubicBezTo>
                <a:cubicBezTo>
                  <a:pt x="1189" y="140"/>
                  <a:pt x="1183" y="135"/>
                  <a:pt x="1179" y="129"/>
                </a:cubicBezTo>
                <a:cubicBezTo>
                  <a:pt x="1176" y="122"/>
                  <a:pt x="1174" y="115"/>
                  <a:pt x="1174" y="107"/>
                </a:cubicBezTo>
                <a:cubicBezTo>
                  <a:pt x="1174" y="99"/>
                  <a:pt x="1175" y="92"/>
                  <a:pt x="1178" y="86"/>
                </a:cubicBezTo>
                <a:cubicBezTo>
                  <a:pt x="1181" y="80"/>
                  <a:pt x="1186" y="75"/>
                  <a:pt x="1191" y="71"/>
                </a:cubicBezTo>
                <a:cubicBezTo>
                  <a:pt x="1195" y="67"/>
                  <a:pt x="1201" y="65"/>
                  <a:pt x="1208" y="62"/>
                </a:cubicBezTo>
                <a:cubicBezTo>
                  <a:pt x="1215" y="60"/>
                  <a:pt x="1222" y="59"/>
                  <a:pt x="1230" y="59"/>
                </a:cubicBezTo>
                <a:cubicBezTo>
                  <a:pt x="1242" y="59"/>
                  <a:pt x="1253" y="61"/>
                  <a:pt x="1262" y="65"/>
                </a:cubicBezTo>
                <a:cubicBezTo>
                  <a:pt x="1271" y="68"/>
                  <a:pt x="1277" y="74"/>
                  <a:pt x="1282" y="80"/>
                </a:cubicBezTo>
                <a:cubicBezTo>
                  <a:pt x="1286" y="86"/>
                  <a:pt x="1289" y="95"/>
                  <a:pt x="1291" y="105"/>
                </a:cubicBezTo>
                <a:lnTo>
                  <a:pt x="1265" y="109"/>
                </a:lnTo>
                <a:cubicBezTo>
                  <a:pt x="1264" y="101"/>
                  <a:pt x="1261" y="94"/>
                  <a:pt x="1255" y="89"/>
                </a:cubicBezTo>
                <a:cubicBezTo>
                  <a:pt x="1250" y="84"/>
                  <a:pt x="1242" y="82"/>
                  <a:pt x="1232" y="82"/>
                </a:cubicBezTo>
                <a:cubicBezTo>
                  <a:pt x="1220" y="82"/>
                  <a:pt x="1211" y="84"/>
                  <a:pt x="1206" y="88"/>
                </a:cubicBezTo>
                <a:cubicBezTo>
                  <a:pt x="1201" y="93"/>
                  <a:pt x="1199" y="98"/>
                  <a:pt x="1199" y="103"/>
                </a:cubicBezTo>
                <a:cubicBezTo>
                  <a:pt x="1199" y="107"/>
                  <a:pt x="1200" y="110"/>
                  <a:pt x="1202" y="113"/>
                </a:cubicBezTo>
                <a:cubicBezTo>
                  <a:pt x="1204" y="116"/>
                  <a:pt x="1207" y="118"/>
                  <a:pt x="1212" y="120"/>
                </a:cubicBezTo>
                <a:cubicBezTo>
                  <a:pt x="1214" y="121"/>
                  <a:pt x="1222" y="124"/>
                  <a:pt x="1235" y="128"/>
                </a:cubicBezTo>
                <a:cubicBezTo>
                  <a:pt x="1253" y="133"/>
                  <a:pt x="1266" y="137"/>
                  <a:pt x="1273" y="140"/>
                </a:cubicBezTo>
                <a:cubicBezTo>
                  <a:pt x="1281" y="144"/>
                  <a:pt x="1286" y="149"/>
                  <a:pt x="1290" y="155"/>
                </a:cubicBezTo>
                <a:cubicBezTo>
                  <a:pt x="1295" y="161"/>
                  <a:pt x="1297" y="169"/>
                  <a:pt x="1297" y="179"/>
                </a:cubicBezTo>
                <a:cubicBezTo>
                  <a:pt x="1297" y="188"/>
                  <a:pt x="1294" y="197"/>
                  <a:pt x="1289" y="205"/>
                </a:cubicBezTo>
                <a:cubicBezTo>
                  <a:pt x="1284" y="213"/>
                  <a:pt x="1277" y="220"/>
                  <a:pt x="1267" y="224"/>
                </a:cubicBezTo>
                <a:cubicBezTo>
                  <a:pt x="1258" y="229"/>
                  <a:pt x="1247" y="231"/>
                  <a:pt x="1235" y="231"/>
                </a:cubicBezTo>
                <a:cubicBezTo>
                  <a:pt x="1215" y="231"/>
                  <a:pt x="1200" y="226"/>
                  <a:pt x="1189" y="218"/>
                </a:cubicBezTo>
                <a:cubicBezTo>
                  <a:pt x="1179" y="209"/>
                  <a:pt x="1172" y="196"/>
                  <a:pt x="1169" y="1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8" name="Freeform 8">
            <a:extLst>
              <a:ext uri="{FF2B5EF4-FFF2-40B4-BE49-F238E27FC236}">
                <a16:creationId xmlns:a16="http://schemas.microsoft.com/office/drawing/2014/main" id="{004EE7C7-F8C4-4F31-AFC7-7693F64C3344}"/>
              </a:ext>
            </a:extLst>
          </p:cNvPr>
          <p:cNvSpPr>
            <a:spLocks noEditPoints="1"/>
          </p:cNvSpPr>
          <p:nvPr/>
        </p:nvSpPr>
        <p:spPr bwMode="auto">
          <a:xfrm>
            <a:off x="8878888" y="2016126"/>
            <a:ext cx="390525" cy="196850"/>
          </a:xfrm>
          <a:custGeom>
            <a:avLst/>
            <a:gdLst>
              <a:gd name="T0" fmla="*/ 143 w 1084"/>
              <a:gd name="T1" fmla="*/ 27 h 548"/>
              <a:gd name="T2" fmla="*/ 127 w 1084"/>
              <a:gd name="T3" fmla="*/ 124 h 548"/>
              <a:gd name="T4" fmla="*/ 188 w 1084"/>
              <a:gd name="T5" fmla="*/ 545 h 548"/>
              <a:gd name="T6" fmla="*/ 354 w 1084"/>
              <a:gd name="T7" fmla="*/ 545 h 548"/>
              <a:gd name="T8" fmla="*/ 188 w 1084"/>
              <a:gd name="T9" fmla="*/ 545 h 548"/>
              <a:gd name="T10" fmla="*/ 284 w 1084"/>
              <a:gd name="T11" fmla="*/ 341 h 548"/>
              <a:gd name="T12" fmla="*/ 391 w 1084"/>
              <a:gd name="T13" fmla="*/ 380 h 548"/>
              <a:gd name="T14" fmla="*/ 448 w 1084"/>
              <a:gd name="T15" fmla="*/ 377 h 548"/>
              <a:gd name="T16" fmla="*/ 431 w 1084"/>
              <a:gd name="T17" fmla="*/ 411 h 548"/>
              <a:gd name="T18" fmla="*/ 391 w 1084"/>
              <a:gd name="T19" fmla="*/ 545 h 548"/>
              <a:gd name="T20" fmla="*/ 499 w 1084"/>
              <a:gd name="T21" fmla="*/ 405 h 548"/>
              <a:gd name="T22" fmla="*/ 550 w 1084"/>
              <a:gd name="T23" fmla="*/ 411 h 548"/>
              <a:gd name="T24" fmla="*/ 502 w 1084"/>
              <a:gd name="T25" fmla="*/ 459 h 548"/>
              <a:gd name="T26" fmla="*/ 570 w 1084"/>
              <a:gd name="T27" fmla="*/ 395 h 548"/>
              <a:gd name="T28" fmla="*/ 682 w 1084"/>
              <a:gd name="T29" fmla="*/ 510 h 548"/>
              <a:gd name="T30" fmla="*/ 547 w 1084"/>
              <a:gd name="T31" fmla="*/ 463 h 548"/>
              <a:gd name="T32" fmla="*/ 651 w 1084"/>
              <a:gd name="T33" fmla="*/ 510 h 548"/>
              <a:gd name="T34" fmla="*/ 586 w 1084"/>
              <a:gd name="T35" fmla="*/ 415 h 548"/>
              <a:gd name="T36" fmla="*/ 713 w 1084"/>
              <a:gd name="T37" fmla="*/ 380 h 548"/>
              <a:gd name="T38" fmla="*/ 778 w 1084"/>
              <a:gd name="T39" fmla="*/ 380 h 548"/>
              <a:gd name="T40" fmla="*/ 844 w 1084"/>
              <a:gd name="T41" fmla="*/ 475 h 548"/>
              <a:gd name="T42" fmla="*/ 821 w 1084"/>
              <a:gd name="T43" fmla="*/ 545 h 548"/>
              <a:gd name="T44" fmla="*/ 732 w 1084"/>
              <a:gd name="T45" fmla="*/ 545 h 548"/>
              <a:gd name="T46" fmla="*/ 267 w 1084"/>
              <a:gd name="T47" fmla="*/ 81 h 548"/>
              <a:gd name="T48" fmla="*/ 215 w 1084"/>
              <a:gd name="T49" fmla="*/ 231 h 548"/>
              <a:gd name="T50" fmla="*/ 183 w 1084"/>
              <a:gd name="T51" fmla="*/ 192 h 548"/>
              <a:gd name="T52" fmla="*/ 247 w 1084"/>
              <a:gd name="T53" fmla="*/ 98 h 548"/>
              <a:gd name="T54" fmla="*/ 303 w 1084"/>
              <a:gd name="T55" fmla="*/ 227 h 548"/>
              <a:gd name="T56" fmla="*/ 343 w 1084"/>
              <a:gd name="T57" fmla="*/ 65 h 548"/>
              <a:gd name="T58" fmla="*/ 359 w 1084"/>
              <a:gd name="T59" fmla="*/ 88 h 548"/>
              <a:gd name="T60" fmla="*/ 329 w 1084"/>
              <a:gd name="T61" fmla="*/ 227 h 548"/>
              <a:gd name="T62" fmla="*/ 397 w 1084"/>
              <a:gd name="T63" fmla="*/ 63 h 548"/>
              <a:gd name="T64" fmla="*/ 462 w 1084"/>
              <a:gd name="T65" fmla="*/ 63 h 548"/>
              <a:gd name="T66" fmla="*/ 528 w 1084"/>
              <a:gd name="T67" fmla="*/ 158 h 548"/>
              <a:gd name="T68" fmla="*/ 505 w 1084"/>
              <a:gd name="T69" fmla="*/ 227 h 548"/>
              <a:gd name="T70" fmla="*/ 416 w 1084"/>
              <a:gd name="T71" fmla="*/ 227 h 548"/>
              <a:gd name="T72" fmla="*/ 590 w 1084"/>
              <a:gd name="T73" fmla="*/ 218 h 548"/>
              <a:gd name="T74" fmla="*/ 614 w 1084"/>
              <a:gd name="T75" fmla="*/ 137 h 548"/>
              <a:gd name="T76" fmla="*/ 676 w 1084"/>
              <a:gd name="T77" fmla="*/ 92 h 548"/>
              <a:gd name="T78" fmla="*/ 581 w 1084"/>
              <a:gd name="T79" fmla="*/ 110 h 548"/>
              <a:gd name="T80" fmla="*/ 682 w 1084"/>
              <a:gd name="T81" fmla="*/ 64 h 548"/>
              <a:gd name="T82" fmla="*/ 710 w 1084"/>
              <a:gd name="T83" fmla="*/ 158 h 548"/>
              <a:gd name="T84" fmla="*/ 686 w 1084"/>
              <a:gd name="T85" fmla="*/ 207 h 548"/>
              <a:gd name="T86" fmla="*/ 608 w 1084"/>
              <a:gd name="T87" fmla="*/ 170 h 548"/>
              <a:gd name="T88" fmla="*/ 662 w 1084"/>
              <a:gd name="T89" fmla="*/ 202 h 548"/>
              <a:gd name="T90" fmla="*/ 736 w 1084"/>
              <a:gd name="T91" fmla="*/ 227 h 548"/>
              <a:gd name="T92" fmla="*/ 776 w 1084"/>
              <a:gd name="T93" fmla="*/ 65 h 548"/>
              <a:gd name="T94" fmla="*/ 791 w 1084"/>
              <a:gd name="T95" fmla="*/ 88 h 548"/>
              <a:gd name="T96" fmla="*/ 762 w 1084"/>
              <a:gd name="T97" fmla="*/ 227 h 548"/>
              <a:gd name="T98" fmla="*/ 873 w 1084"/>
              <a:gd name="T99" fmla="*/ 231 h 548"/>
              <a:gd name="T100" fmla="*/ 814 w 1084"/>
              <a:gd name="T101" fmla="*/ 101 h 548"/>
              <a:gd name="T102" fmla="*/ 914 w 1084"/>
              <a:gd name="T103" fmla="*/ 82 h 548"/>
              <a:gd name="T104" fmla="*/ 915 w 1084"/>
              <a:gd name="T105" fmla="*/ 227 h 548"/>
              <a:gd name="T106" fmla="*/ 904 w 1084"/>
              <a:gd name="T107" fmla="*/ 193 h 548"/>
              <a:gd name="T108" fmla="*/ 845 w 1084"/>
              <a:gd name="T109" fmla="*/ 97 h 548"/>
              <a:gd name="T110" fmla="*/ 995 w 1084"/>
              <a:gd name="T111" fmla="*/ 199 h 548"/>
              <a:gd name="T112" fmla="*/ 1050 w 1084"/>
              <a:gd name="T113" fmla="*/ 167 h 548"/>
              <a:gd name="T114" fmla="*/ 961 w 1084"/>
              <a:gd name="T115" fmla="*/ 107 h 548"/>
              <a:gd name="T116" fmla="*/ 1018 w 1084"/>
              <a:gd name="T117" fmla="*/ 59 h 548"/>
              <a:gd name="T118" fmla="*/ 1053 w 1084"/>
              <a:gd name="T119" fmla="*/ 109 h 548"/>
              <a:gd name="T120" fmla="*/ 986 w 1084"/>
              <a:gd name="T121" fmla="*/ 103 h 548"/>
              <a:gd name="T122" fmla="*/ 1061 w 1084"/>
              <a:gd name="T123" fmla="*/ 140 h 548"/>
              <a:gd name="T124" fmla="*/ 1055 w 1084"/>
              <a:gd name="T125" fmla="*/ 224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4" h="548">
                <a:moveTo>
                  <a:pt x="0" y="227"/>
                </a:moveTo>
                <a:lnTo>
                  <a:pt x="0" y="0"/>
                </a:lnTo>
                <a:lnTo>
                  <a:pt x="143" y="0"/>
                </a:lnTo>
                <a:lnTo>
                  <a:pt x="143" y="27"/>
                </a:lnTo>
                <a:lnTo>
                  <a:pt x="28" y="27"/>
                </a:lnTo>
                <a:lnTo>
                  <a:pt x="28" y="98"/>
                </a:lnTo>
                <a:lnTo>
                  <a:pt x="127" y="98"/>
                </a:lnTo>
                <a:lnTo>
                  <a:pt x="127" y="124"/>
                </a:lnTo>
                <a:lnTo>
                  <a:pt x="28" y="124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188" y="545"/>
                </a:moveTo>
                <a:lnTo>
                  <a:pt x="269" y="318"/>
                </a:lnTo>
                <a:lnTo>
                  <a:pt x="300" y="318"/>
                </a:lnTo>
                <a:lnTo>
                  <a:pt x="386" y="545"/>
                </a:lnTo>
                <a:lnTo>
                  <a:pt x="354" y="545"/>
                </a:lnTo>
                <a:lnTo>
                  <a:pt x="330" y="476"/>
                </a:lnTo>
                <a:lnTo>
                  <a:pt x="241" y="476"/>
                </a:lnTo>
                <a:lnTo>
                  <a:pt x="218" y="545"/>
                </a:lnTo>
                <a:lnTo>
                  <a:pt x="188" y="545"/>
                </a:lnTo>
                <a:close/>
                <a:moveTo>
                  <a:pt x="249" y="452"/>
                </a:moveTo>
                <a:lnTo>
                  <a:pt x="321" y="452"/>
                </a:lnTo>
                <a:lnTo>
                  <a:pt x="299" y="389"/>
                </a:lnTo>
                <a:cubicBezTo>
                  <a:pt x="292" y="369"/>
                  <a:pt x="287" y="354"/>
                  <a:pt x="284" y="341"/>
                </a:cubicBezTo>
                <a:cubicBezTo>
                  <a:pt x="281" y="356"/>
                  <a:pt x="277" y="370"/>
                  <a:pt x="272" y="385"/>
                </a:cubicBezTo>
                <a:lnTo>
                  <a:pt x="249" y="452"/>
                </a:lnTo>
                <a:close/>
                <a:moveTo>
                  <a:pt x="391" y="545"/>
                </a:moveTo>
                <a:lnTo>
                  <a:pt x="391" y="380"/>
                </a:lnTo>
                <a:lnTo>
                  <a:pt x="414" y="380"/>
                </a:lnTo>
                <a:lnTo>
                  <a:pt x="414" y="405"/>
                </a:lnTo>
                <a:cubicBezTo>
                  <a:pt x="420" y="394"/>
                  <a:pt x="426" y="386"/>
                  <a:pt x="431" y="382"/>
                </a:cubicBezTo>
                <a:cubicBezTo>
                  <a:pt x="436" y="378"/>
                  <a:pt x="442" y="377"/>
                  <a:pt x="448" y="377"/>
                </a:cubicBezTo>
                <a:cubicBezTo>
                  <a:pt x="457" y="377"/>
                  <a:pt x="465" y="380"/>
                  <a:pt x="475" y="385"/>
                </a:cubicBezTo>
                <a:lnTo>
                  <a:pt x="465" y="411"/>
                </a:lnTo>
                <a:cubicBezTo>
                  <a:pt x="459" y="407"/>
                  <a:pt x="453" y="406"/>
                  <a:pt x="446" y="406"/>
                </a:cubicBezTo>
                <a:cubicBezTo>
                  <a:pt x="441" y="406"/>
                  <a:pt x="436" y="407"/>
                  <a:pt x="431" y="411"/>
                </a:cubicBezTo>
                <a:cubicBezTo>
                  <a:pt x="427" y="415"/>
                  <a:pt x="423" y="420"/>
                  <a:pt x="421" y="426"/>
                </a:cubicBezTo>
                <a:cubicBezTo>
                  <a:pt x="419" y="436"/>
                  <a:pt x="417" y="447"/>
                  <a:pt x="417" y="459"/>
                </a:cubicBezTo>
                <a:lnTo>
                  <a:pt x="417" y="545"/>
                </a:lnTo>
                <a:lnTo>
                  <a:pt x="391" y="545"/>
                </a:lnTo>
                <a:close/>
                <a:moveTo>
                  <a:pt x="476" y="545"/>
                </a:moveTo>
                <a:lnTo>
                  <a:pt x="476" y="380"/>
                </a:lnTo>
                <a:lnTo>
                  <a:pt x="499" y="380"/>
                </a:lnTo>
                <a:lnTo>
                  <a:pt x="499" y="405"/>
                </a:lnTo>
                <a:cubicBezTo>
                  <a:pt x="505" y="394"/>
                  <a:pt x="511" y="386"/>
                  <a:pt x="516" y="382"/>
                </a:cubicBezTo>
                <a:cubicBezTo>
                  <a:pt x="521" y="378"/>
                  <a:pt x="526" y="377"/>
                  <a:pt x="532" y="377"/>
                </a:cubicBezTo>
                <a:cubicBezTo>
                  <a:pt x="541" y="377"/>
                  <a:pt x="550" y="380"/>
                  <a:pt x="559" y="385"/>
                </a:cubicBezTo>
                <a:lnTo>
                  <a:pt x="550" y="411"/>
                </a:lnTo>
                <a:cubicBezTo>
                  <a:pt x="544" y="407"/>
                  <a:pt x="537" y="406"/>
                  <a:pt x="531" y="406"/>
                </a:cubicBezTo>
                <a:cubicBezTo>
                  <a:pt x="525" y="406"/>
                  <a:pt x="520" y="407"/>
                  <a:pt x="516" y="411"/>
                </a:cubicBezTo>
                <a:cubicBezTo>
                  <a:pt x="511" y="415"/>
                  <a:pt x="508" y="420"/>
                  <a:pt x="506" y="426"/>
                </a:cubicBezTo>
                <a:cubicBezTo>
                  <a:pt x="503" y="436"/>
                  <a:pt x="502" y="447"/>
                  <a:pt x="502" y="459"/>
                </a:cubicBezTo>
                <a:lnTo>
                  <a:pt x="502" y="545"/>
                </a:lnTo>
                <a:lnTo>
                  <a:pt x="476" y="545"/>
                </a:lnTo>
                <a:close/>
                <a:moveTo>
                  <a:pt x="547" y="463"/>
                </a:moveTo>
                <a:cubicBezTo>
                  <a:pt x="547" y="432"/>
                  <a:pt x="555" y="410"/>
                  <a:pt x="570" y="395"/>
                </a:cubicBezTo>
                <a:cubicBezTo>
                  <a:pt x="583" y="383"/>
                  <a:pt x="600" y="377"/>
                  <a:pt x="619" y="377"/>
                </a:cubicBezTo>
                <a:cubicBezTo>
                  <a:pt x="640" y="377"/>
                  <a:pt x="657" y="384"/>
                  <a:pt x="670" y="399"/>
                </a:cubicBezTo>
                <a:cubicBezTo>
                  <a:pt x="684" y="414"/>
                  <a:pt x="690" y="434"/>
                  <a:pt x="690" y="460"/>
                </a:cubicBezTo>
                <a:cubicBezTo>
                  <a:pt x="690" y="481"/>
                  <a:pt x="687" y="498"/>
                  <a:pt x="682" y="510"/>
                </a:cubicBezTo>
                <a:cubicBezTo>
                  <a:pt x="676" y="522"/>
                  <a:pt x="667" y="532"/>
                  <a:pt x="656" y="538"/>
                </a:cubicBezTo>
                <a:cubicBezTo>
                  <a:pt x="644" y="545"/>
                  <a:pt x="632" y="548"/>
                  <a:pt x="619" y="548"/>
                </a:cubicBezTo>
                <a:cubicBezTo>
                  <a:pt x="597" y="548"/>
                  <a:pt x="580" y="541"/>
                  <a:pt x="566" y="526"/>
                </a:cubicBezTo>
                <a:cubicBezTo>
                  <a:pt x="553" y="512"/>
                  <a:pt x="547" y="490"/>
                  <a:pt x="547" y="463"/>
                </a:cubicBezTo>
                <a:close/>
                <a:moveTo>
                  <a:pt x="573" y="463"/>
                </a:moveTo>
                <a:cubicBezTo>
                  <a:pt x="573" y="484"/>
                  <a:pt x="578" y="499"/>
                  <a:pt x="586" y="510"/>
                </a:cubicBezTo>
                <a:cubicBezTo>
                  <a:pt x="595" y="520"/>
                  <a:pt x="606" y="526"/>
                  <a:pt x="619" y="526"/>
                </a:cubicBezTo>
                <a:cubicBezTo>
                  <a:pt x="632" y="526"/>
                  <a:pt x="642" y="520"/>
                  <a:pt x="651" y="510"/>
                </a:cubicBezTo>
                <a:cubicBezTo>
                  <a:pt x="659" y="499"/>
                  <a:pt x="664" y="483"/>
                  <a:pt x="664" y="462"/>
                </a:cubicBezTo>
                <a:cubicBezTo>
                  <a:pt x="664" y="441"/>
                  <a:pt x="659" y="426"/>
                  <a:pt x="651" y="416"/>
                </a:cubicBezTo>
                <a:cubicBezTo>
                  <a:pt x="642" y="405"/>
                  <a:pt x="631" y="400"/>
                  <a:pt x="619" y="400"/>
                </a:cubicBezTo>
                <a:cubicBezTo>
                  <a:pt x="606" y="400"/>
                  <a:pt x="595" y="405"/>
                  <a:pt x="586" y="415"/>
                </a:cubicBezTo>
                <a:cubicBezTo>
                  <a:pt x="578" y="426"/>
                  <a:pt x="573" y="442"/>
                  <a:pt x="573" y="463"/>
                </a:cubicBezTo>
                <a:close/>
                <a:moveTo>
                  <a:pt x="732" y="545"/>
                </a:moveTo>
                <a:lnTo>
                  <a:pt x="685" y="380"/>
                </a:lnTo>
                <a:lnTo>
                  <a:pt x="713" y="380"/>
                </a:lnTo>
                <a:lnTo>
                  <a:pt x="737" y="475"/>
                </a:lnTo>
                <a:lnTo>
                  <a:pt x="746" y="511"/>
                </a:lnTo>
                <a:cubicBezTo>
                  <a:pt x="746" y="509"/>
                  <a:pt x="749" y="498"/>
                  <a:pt x="754" y="477"/>
                </a:cubicBezTo>
                <a:lnTo>
                  <a:pt x="778" y="380"/>
                </a:lnTo>
                <a:lnTo>
                  <a:pt x="805" y="380"/>
                </a:lnTo>
                <a:lnTo>
                  <a:pt x="828" y="476"/>
                </a:lnTo>
                <a:lnTo>
                  <a:pt x="835" y="507"/>
                </a:lnTo>
                <a:lnTo>
                  <a:pt x="844" y="475"/>
                </a:lnTo>
                <a:lnTo>
                  <a:pt x="871" y="380"/>
                </a:lnTo>
                <a:lnTo>
                  <a:pt x="896" y="380"/>
                </a:lnTo>
                <a:lnTo>
                  <a:pt x="848" y="545"/>
                </a:lnTo>
                <a:lnTo>
                  <a:pt x="821" y="545"/>
                </a:lnTo>
                <a:lnTo>
                  <a:pt x="797" y="446"/>
                </a:lnTo>
                <a:lnTo>
                  <a:pt x="790" y="418"/>
                </a:lnTo>
                <a:lnTo>
                  <a:pt x="759" y="545"/>
                </a:lnTo>
                <a:lnTo>
                  <a:pt x="732" y="545"/>
                </a:lnTo>
                <a:close/>
                <a:moveTo>
                  <a:pt x="143" y="145"/>
                </a:moveTo>
                <a:cubicBezTo>
                  <a:pt x="143" y="115"/>
                  <a:pt x="151" y="92"/>
                  <a:pt x="167" y="77"/>
                </a:cubicBezTo>
                <a:cubicBezTo>
                  <a:pt x="180" y="65"/>
                  <a:pt x="196" y="59"/>
                  <a:pt x="215" y="59"/>
                </a:cubicBezTo>
                <a:cubicBezTo>
                  <a:pt x="236" y="59"/>
                  <a:pt x="253" y="67"/>
                  <a:pt x="267" y="81"/>
                </a:cubicBezTo>
                <a:cubicBezTo>
                  <a:pt x="280" y="96"/>
                  <a:pt x="287" y="117"/>
                  <a:pt x="287" y="143"/>
                </a:cubicBezTo>
                <a:cubicBezTo>
                  <a:pt x="287" y="164"/>
                  <a:pt x="284" y="180"/>
                  <a:pt x="278" y="193"/>
                </a:cubicBezTo>
                <a:cubicBezTo>
                  <a:pt x="272" y="205"/>
                  <a:pt x="264" y="214"/>
                  <a:pt x="252" y="221"/>
                </a:cubicBezTo>
                <a:cubicBezTo>
                  <a:pt x="241" y="228"/>
                  <a:pt x="229" y="231"/>
                  <a:pt x="215" y="231"/>
                </a:cubicBezTo>
                <a:cubicBezTo>
                  <a:pt x="194" y="231"/>
                  <a:pt x="176" y="224"/>
                  <a:pt x="163" y="209"/>
                </a:cubicBezTo>
                <a:cubicBezTo>
                  <a:pt x="150" y="194"/>
                  <a:pt x="143" y="173"/>
                  <a:pt x="143" y="145"/>
                </a:cubicBezTo>
                <a:close/>
                <a:moveTo>
                  <a:pt x="170" y="145"/>
                </a:moveTo>
                <a:cubicBezTo>
                  <a:pt x="170" y="166"/>
                  <a:pt x="174" y="182"/>
                  <a:pt x="183" y="192"/>
                </a:cubicBezTo>
                <a:cubicBezTo>
                  <a:pt x="191" y="203"/>
                  <a:pt x="202" y="208"/>
                  <a:pt x="215" y="208"/>
                </a:cubicBezTo>
                <a:cubicBezTo>
                  <a:pt x="228" y="208"/>
                  <a:pt x="239" y="203"/>
                  <a:pt x="247" y="192"/>
                </a:cubicBezTo>
                <a:cubicBezTo>
                  <a:pt x="256" y="182"/>
                  <a:pt x="260" y="166"/>
                  <a:pt x="260" y="144"/>
                </a:cubicBezTo>
                <a:cubicBezTo>
                  <a:pt x="260" y="124"/>
                  <a:pt x="256" y="108"/>
                  <a:pt x="247" y="98"/>
                </a:cubicBezTo>
                <a:cubicBezTo>
                  <a:pt x="239" y="88"/>
                  <a:pt x="228" y="82"/>
                  <a:pt x="215" y="82"/>
                </a:cubicBezTo>
                <a:cubicBezTo>
                  <a:pt x="202" y="82"/>
                  <a:pt x="191" y="88"/>
                  <a:pt x="183" y="98"/>
                </a:cubicBezTo>
                <a:cubicBezTo>
                  <a:pt x="174" y="108"/>
                  <a:pt x="170" y="124"/>
                  <a:pt x="170" y="145"/>
                </a:cubicBezTo>
                <a:close/>
                <a:moveTo>
                  <a:pt x="303" y="227"/>
                </a:moveTo>
                <a:lnTo>
                  <a:pt x="303" y="63"/>
                </a:lnTo>
                <a:lnTo>
                  <a:pt x="327" y="63"/>
                </a:lnTo>
                <a:lnTo>
                  <a:pt x="327" y="88"/>
                </a:lnTo>
                <a:cubicBezTo>
                  <a:pt x="333" y="76"/>
                  <a:pt x="338" y="68"/>
                  <a:pt x="343" y="65"/>
                </a:cubicBezTo>
                <a:cubicBezTo>
                  <a:pt x="348" y="61"/>
                  <a:pt x="354" y="59"/>
                  <a:pt x="360" y="59"/>
                </a:cubicBezTo>
                <a:cubicBezTo>
                  <a:pt x="369" y="59"/>
                  <a:pt x="378" y="62"/>
                  <a:pt x="387" y="68"/>
                </a:cubicBezTo>
                <a:lnTo>
                  <a:pt x="378" y="94"/>
                </a:lnTo>
                <a:cubicBezTo>
                  <a:pt x="371" y="90"/>
                  <a:pt x="365" y="88"/>
                  <a:pt x="359" y="88"/>
                </a:cubicBezTo>
                <a:cubicBezTo>
                  <a:pt x="353" y="88"/>
                  <a:pt x="348" y="90"/>
                  <a:pt x="343" y="94"/>
                </a:cubicBezTo>
                <a:cubicBezTo>
                  <a:pt x="339" y="97"/>
                  <a:pt x="336" y="102"/>
                  <a:pt x="334" y="109"/>
                </a:cubicBezTo>
                <a:cubicBezTo>
                  <a:pt x="331" y="119"/>
                  <a:pt x="329" y="130"/>
                  <a:pt x="329" y="141"/>
                </a:cubicBezTo>
                <a:lnTo>
                  <a:pt x="329" y="227"/>
                </a:lnTo>
                <a:lnTo>
                  <a:pt x="303" y="227"/>
                </a:lnTo>
                <a:close/>
                <a:moveTo>
                  <a:pt x="416" y="227"/>
                </a:moveTo>
                <a:lnTo>
                  <a:pt x="370" y="63"/>
                </a:lnTo>
                <a:lnTo>
                  <a:pt x="397" y="63"/>
                </a:lnTo>
                <a:lnTo>
                  <a:pt x="421" y="158"/>
                </a:lnTo>
                <a:lnTo>
                  <a:pt x="430" y="193"/>
                </a:lnTo>
                <a:cubicBezTo>
                  <a:pt x="430" y="191"/>
                  <a:pt x="433" y="180"/>
                  <a:pt x="438" y="159"/>
                </a:cubicBezTo>
                <a:lnTo>
                  <a:pt x="462" y="63"/>
                </a:lnTo>
                <a:lnTo>
                  <a:pt x="489" y="63"/>
                </a:lnTo>
                <a:lnTo>
                  <a:pt x="512" y="158"/>
                </a:lnTo>
                <a:lnTo>
                  <a:pt x="520" y="190"/>
                </a:lnTo>
                <a:lnTo>
                  <a:pt x="528" y="158"/>
                </a:lnTo>
                <a:lnTo>
                  <a:pt x="555" y="63"/>
                </a:lnTo>
                <a:lnTo>
                  <a:pt x="580" y="63"/>
                </a:lnTo>
                <a:lnTo>
                  <a:pt x="532" y="227"/>
                </a:lnTo>
                <a:lnTo>
                  <a:pt x="505" y="227"/>
                </a:lnTo>
                <a:lnTo>
                  <a:pt x="481" y="129"/>
                </a:lnTo>
                <a:lnTo>
                  <a:pt x="475" y="101"/>
                </a:lnTo>
                <a:lnTo>
                  <a:pt x="444" y="227"/>
                </a:lnTo>
                <a:lnTo>
                  <a:pt x="416" y="227"/>
                </a:lnTo>
                <a:close/>
                <a:moveTo>
                  <a:pt x="686" y="207"/>
                </a:moveTo>
                <a:cubicBezTo>
                  <a:pt x="676" y="216"/>
                  <a:pt x="667" y="222"/>
                  <a:pt x="658" y="225"/>
                </a:cubicBezTo>
                <a:cubicBezTo>
                  <a:pt x="649" y="229"/>
                  <a:pt x="639" y="231"/>
                  <a:pt x="629" y="231"/>
                </a:cubicBezTo>
                <a:cubicBezTo>
                  <a:pt x="612" y="231"/>
                  <a:pt x="599" y="227"/>
                  <a:pt x="590" y="218"/>
                </a:cubicBezTo>
                <a:cubicBezTo>
                  <a:pt x="581" y="209"/>
                  <a:pt x="576" y="198"/>
                  <a:pt x="576" y="184"/>
                </a:cubicBezTo>
                <a:cubicBezTo>
                  <a:pt x="576" y="176"/>
                  <a:pt x="578" y="169"/>
                  <a:pt x="582" y="162"/>
                </a:cubicBezTo>
                <a:cubicBezTo>
                  <a:pt x="585" y="155"/>
                  <a:pt x="589" y="150"/>
                  <a:pt x="595" y="146"/>
                </a:cubicBezTo>
                <a:cubicBezTo>
                  <a:pt x="601" y="142"/>
                  <a:pt x="607" y="139"/>
                  <a:pt x="614" y="137"/>
                </a:cubicBezTo>
                <a:cubicBezTo>
                  <a:pt x="619" y="135"/>
                  <a:pt x="627" y="134"/>
                  <a:pt x="637" y="133"/>
                </a:cubicBezTo>
                <a:cubicBezTo>
                  <a:pt x="658" y="130"/>
                  <a:pt x="673" y="127"/>
                  <a:pt x="683" y="123"/>
                </a:cubicBezTo>
                <a:cubicBezTo>
                  <a:pt x="683" y="119"/>
                  <a:pt x="683" y="117"/>
                  <a:pt x="683" y="116"/>
                </a:cubicBezTo>
                <a:cubicBezTo>
                  <a:pt x="683" y="104"/>
                  <a:pt x="681" y="96"/>
                  <a:pt x="676" y="92"/>
                </a:cubicBezTo>
                <a:cubicBezTo>
                  <a:pt x="669" y="85"/>
                  <a:pt x="660" y="82"/>
                  <a:pt x="646" y="82"/>
                </a:cubicBezTo>
                <a:cubicBezTo>
                  <a:pt x="634" y="82"/>
                  <a:pt x="625" y="85"/>
                  <a:pt x="619" y="89"/>
                </a:cubicBezTo>
                <a:cubicBezTo>
                  <a:pt x="613" y="94"/>
                  <a:pt x="609" y="102"/>
                  <a:pt x="606" y="114"/>
                </a:cubicBezTo>
                <a:lnTo>
                  <a:pt x="581" y="110"/>
                </a:lnTo>
                <a:cubicBezTo>
                  <a:pt x="583" y="98"/>
                  <a:pt x="587" y="89"/>
                  <a:pt x="592" y="82"/>
                </a:cubicBezTo>
                <a:cubicBezTo>
                  <a:pt x="598" y="74"/>
                  <a:pt x="605" y="69"/>
                  <a:pt x="615" y="65"/>
                </a:cubicBezTo>
                <a:cubicBezTo>
                  <a:pt x="625" y="61"/>
                  <a:pt x="637" y="59"/>
                  <a:pt x="650" y="59"/>
                </a:cubicBezTo>
                <a:cubicBezTo>
                  <a:pt x="663" y="59"/>
                  <a:pt x="674" y="61"/>
                  <a:pt x="682" y="64"/>
                </a:cubicBezTo>
                <a:cubicBezTo>
                  <a:pt x="690" y="67"/>
                  <a:pt x="697" y="72"/>
                  <a:pt x="700" y="77"/>
                </a:cubicBezTo>
                <a:cubicBezTo>
                  <a:pt x="704" y="82"/>
                  <a:pt x="707" y="88"/>
                  <a:pt x="709" y="96"/>
                </a:cubicBezTo>
                <a:cubicBezTo>
                  <a:pt x="709" y="100"/>
                  <a:pt x="710" y="109"/>
                  <a:pt x="710" y="121"/>
                </a:cubicBezTo>
                <a:lnTo>
                  <a:pt x="710" y="158"/>
                </a:lnTo>
                <a:cubicBezTo>
                  <a:pt x="710" y="184"/>
                  <a:pt x="710" y="201"/>
                  <a:pt x="711" y="208"/>
                </a:cubicBezTo>
                <a:cubicBezTo>
                  <a:pt x="712" y="214"/>
                  <a:pt x="715" y="221"/>
                  <a:pt x="718" y="227"/>
                </a:cubicBezTo>
                <a:lnTo>
                  <a:pt x="691" y="227"/>
                </a:lnTo>
                <a:cubicBezTo>
                  <a:pt x="688" y="222"/>
                  <a:pt x="686" y="215"/>
                  <a:pt x="686" y="207"/>
                </a:cubicBezTo>
                <a:close/>
                <a:moveTo>
                  <a:pt x="683" y="145"/>
                </a:moveTo>
                <a:cubicBezTo>
                  <a:pt x="674" y="149"/>
                  <a:pt x="660" y="152"/>
                  <a:pt x="641" y="155"/>
                </a:cubicBezTo>
                <a:cubicBezTo>
                  <a:pt x="630" y="157"/>
                  <a:pt x="623" y="159"/>
                  <a:pt x="618" y="161"/>
                </a:cubicBezTo>
                <a:cubicBezTo>
                  <a:pt x="614" y="163"/>
                  <a:pt x="610" y="166"/>
                  <a:pt x="608" y="170"/>
                </a:cubicBezTo>
                <a:cubicBezTo>
                  <a:pt x="605" y="174"/>
                  <a:pt x="604" y="178"/>
                  <a:pt x="604" y="183"/>
                </a:cubicBezTo>
                <a:cubicBezTo>
                  <a:pt x="604" y="190"/>
                  <a:pt x="607" y="197"/>
                  <a:pt x="612" y="202"/>
                </a:cubicBezTo>
                <a:cubicBezTo>
                  <a:pt x="617" y="207"/>
                  <a:pt x="625" y="209"/>
                  <a:pt x="635" y="209"/>
                </a:cubicBezTo>
                <a:cubicBezTo>
                  <a:pt x="645" y="209"/>
                  <a:pt x="654" y="207"/>
                  <a:pt x="662" y="202"/>
                </a:cubicBezTo>
                <a:cubicBezTo>
                  <a:pt x="670" y="197"/>
                  <a:pt x="676" y="191"/>
                  <a:pt x="679" y="183"/>
                </a:cubicBezTo>
                <a:cubicBezTo>
                  <a:pt x="682" y="177"/>
                  <a:pt x="683" y="167"/>
                  <a:pt x="683" y="155"/>
                </a:cubicBezTo>
                <a:lnTo>
                  <a:pt x="683" y="145"/>
                </a:lnTo>
                <a:close/>
                <a:moveTo>
                  <a:pt x="736" y="227"/>
                </a:moveTo>
                <a:lnTo>
                  <a:pt x="736" y="63"/>
                </a:lnTo>
                <a:lnTo>
                  <a:pt x="759" y="63"/>
                </a:lnTo>
                <a:lnTo>
                  <a:pt x="759" y="88"/>
                </a:lnTo>
                <a:cubicBezTo>
                  <a:pt x="765" y="76"/>
                  <a:pt x="771" y="68"/>
                  <a:pt x="776" y="65"/>
                </a:cubicBezTo>
                <a:cubicBezTo>
                  <a:pt x="781" y="61"/>
                  <a:pt x="786" y="59"/>
                  <a:pt x="792" y="59"/>
                </a:cubicBezTo>
                <a:cubicBezTo>
                  <a:pt x="801" y="59"/>
                  <a:pt x="810" y="62"/>
                  <a:pt x="819" y="68"/>
                </a:cubicBezTo>
                <a:lnTo>
                  <a:pt x="810" y="94"/>
                </a:lnTo>
                <a:cubicBezTo>
                  <a:pt x="804" y="90"/>
                  <a:pt x="797" y="88"/>
                  <a:pt x="791" y="88"/>
                </a:cubicBezTo>
                <a:cubicBezTo>
                  <a:pt x="785" y="88"/>
                  <a:pt x="780" y="90"/>
                  <a:pt x="776" y="94"/>
                </a:cubicBezTo>
                <a:cubicBezTo>
                  <a:pt x="771" y="97"/>
                  <a:pt x="768" y="102"/>
                  <a:pt x="766" y="109"/>
                </a:cubicBezTo>
                <a:cubicBezTo>
                  <a:pt x="763" y="119"/>
                  <a:pt x="762" y="130"/>
                  <a:pt x="762" y="141"/>
                </a:cubicBezTo>
                <a:lnTo>
                  <a:pt x="762" y="227"/>
                </a:lnTo>
                <a:lnTo>
                  <a:pt x="736" y="227"/>
                </a:lnTo>
                <a:close/>
                <a:moveTo>
                  <a:pt x="915" y="227"/>
                </a:moveTo>
                <a:lnTo>
                  <a:pt x="915" y="207"/>
                </a:lnTo>
                <a:cubicBezTo>
                  <a:pt x="906" y="223"/>
                  <a:pt x="891" y="231"/>
                  <a:pt x="873" y="231"/>
                </a:cubicBezTo>
                <a:cubicBezTo>
                  <a:pt x="860" y="231"/>
                  <a:pt x="849" y="227"/>
                  <a:pt x="839" y="220"/>
                </a:cubicBezTo>
                <a:cubicBezTo>
                  <a:pt x="829" y="213"/>
                  <a:pt x="821" y="203"/>
                  <a:pt x="815" y="190"/>
                </a:cubicBezTo>
                <a:cubicBezTo>
                  <a:pt x="809" y="177"/>
                  <a:pt x="807" y="162"/>
                  <a:pt x="807" y="145"/>
                </a:cubicBezTo>
                <a:cubicBezTo>
                  <a:pt x="807" y="129"/>
                  <a:pt x="809" y="114"/>
                  <a:pt x="814" y="101"/>
                </a:cubicBezTo>
                <a:cubicBezTo>
                  <a:pt x="819" y="87"/>
                  <a:pt x="827" y="77"/>
                  <a:pt x="837" y="70"/>
                </a:cubicBezTo>
                <a:cubicBezTo>
                  <a:pt x="847" y="63"/>
                  <a:pt x="859" y="59"/>
                  <a:pt x="871" y="59"/>
                </a:cubicBezTo>
                <a:cubicBezTo>
                  <a:pt x="881" y="59"/>
                  <a:pt x="889" y="61"/>
                  <a:pt x="896" y="65"/>
                </a:cubicBezTo>
                <a:cubicBezTo>
                  <a:pt x="903" y="70"/>
                  <a:pt x="909" y="75"/>
                  <a:pt x="914" y="82"/>
                </a:cubicBezTo>
                <a:lnTo>
                  <a:pt x="914" y="0"/>
                </a:lnTo>
                <a:lnTo>
                  <a:pt x="940" y="0"/>
                </a:lnTo>
                <a:lnTo>
                  <a:pt x="940" y="227"/>
                </a:lnTo>
                <a:lnTo>
                  <a:pt x="915" y="227"/>
                </a:lnTo>
                <a:close/>
                <a:moveTo>
                  <a:pt x="833" y="145"/>
                </a:moveTo>
                <a:cubicBezTo>
                  <a:pt x="833" y="166"/>
                  <a:pt x="837" y="182"/>
                  <a:pt x="846" y="192"/>
                </a:cubicBezTo>
                <a:cubicBezTo>
                  <a:pt x="854" y="203"/>
                  <a:pt x="864" y="208"/>
                  <a:pt x="875" y="208"/>
                </a:cubicBezTo>
                <a:cubicBezTo>
                  <a:pt x="886" y="208"/>
                  <a:pt x="896" y="203"/>
                  <a:pt x="904" y="193"/>
                </a:cubicBezTo>
                <a:cubicBezTo>
                  <a:pt x="912" y="183"/>
                  <a:pt x="916" y="168"/>
                  <a:pt x="916" y="148"/>
                </a:cubicBezTo>
                <a:cubicBezTo>
                  <a:pt x="916" y="125"/>
                  <a:pt x="912" y="109"/>
                  <a:pt x="904" y="98"/>
                </a:cubicBezTo>
                <a:cubicBezTo>
                  <a:pt x="896" y="88"/>
                  <a:pt x="886" y="82"/>
                  <a:pt x="874" y="82"/>
                </a:cubicBezTo>
                <a:cubicBezTo>
                  <a:pt x="862" y="82"/>
                  <a:pt x="853" y="87"/>
                  <a:pt x="845" y="97"/>
                </a:cubicBezTo>
                <a:cubicBezTo>
                  <a:pt x="837" y="108"/>
                  <a:pt x="833" y="123"/>
                  <a:pt x="833" y="145"/>
                </a:cubicBezTo>
                <a:close/>
                <a:moveTo>
                  <a:pt x="957" y="178"/>
                </a:moveTo>
                <a:lnTo>
                  <a:pt x="982" y="174"/>
                </a:lnTo>
                <a:cubicBezTo>
                  <a:pt x="984" y="185"/>
                  <a:pt x="988" y="193"/>
                  <a:pt x="995" y="199"/>
                </a:cubicBezTo>
                <a:cubicBezTo>
                  <a:pt x="1001" y="205"/>
                  <a:pt x="1010" y="208"/>
                  <a:pt x="1022" y="208"/>
                </a:cubicBezTo>
                <a:cubicBezTo>
                  <a:pt x="1034" y="208"/>
                  <a:pt x="1043" y="205"/>
                  <a:pt x="1049" y="200"/>
                </a:cubicBezTo>
                <a:cubicBezTo>
                  <a:pt x="1055" y="195"/>
                  <a:pt x="1058" y="189"/>
                  <a:pt x="1058" y="182"/>
                </a:cubicBezTo>
                <a:cubicBezTo>
                  <a:pt x="1058" y="176"/>
                  <a:pt x="1055" y="171"/>
                  <a:pt x="1050" y="167"/>
                </a:cubicBezTo>
                <a:cubicBezTo>
                  <a:pt x="1046" y="164"/>
                  <a:pt x="1037" y="161"/>
                  <a:pt x="1023" y="158"/>
                </a:cubicBezTo>
                <a:cubicBezTo>
                  <a:pt x="1004" y="152"/>
                  <a:pt x="991" y="148"/>
                  <a:pt x="984" y="144"/>
                </a:cubicBezTo>
                <a:cubicBezTo>
                  <a:pt x="976" y="140"/>
                  <a:pt x="971" y="135"/>
                  <a:pt x="967" y="129"/>
                </a:cubicBezTo>
                <a:cubicBezTo>
                  <a:pt x="963" y="122"/>
                  <a:pt x="961" y="115"/>
                  <a:pt x="961" y="107"/>
                </a:cubicBezTo>
                <a:cubicBezTo>
                  <a:pt x="961" y="99"/>
                  <a:pt x="963" y="92"/>
                  <a:pt x="966" y="86"/>
                </a:cubicBezTo>
                <a:cubicBezTo>
                  <a:pt x="969" y="80"/>
                  <a:pt x="973" y="75"/>
                  <a:pt x="979" y="71"/>
                </a:cubicBezTo>
                <a:cubicBezTo>
                  <a:pt x="983" y="67"/>
                  <a:pt x="988" y="65"/>
                  <a:pt x="995" y="62"/>
                </a:cubicBezTo>
                <a:cubicBezTo>
                  <a:pt x="1002" y="60"/>
                  <a:pt x="1010" y="59"/>
                  <a:pt x="1018" y="59"/>
                </a:cubicBezTo>
                <a:cubicBezTo>
                  <a:pt x="1030" y="59"/>
                  <a:pt x="1040" y="61"/>
                  <a:pt x="1049" y="65"/>
                </a:cubicBezTo>
                <a:cubicBezTo>
                  <a:pt x="1058" y="68"/>
                  <a:pt x="1065" y="74"/>
                  <a:pt x="1069" y="80"/>
                </a:cubicBezTo>
                <a:cubicBezTo>
                  <a:pt x="1074" y="86"/>
                  <a:pt x="1077" y="95"/>
                  <a:pt x="1078" y="105"/>
                </a:cubicBezTo>
                <a:lnTo>
                  <a:pt x="1053" y="109"/>
                </a:lnTo>
                <a:cubicBezTo>
                  <a:pt x="1052" y="101"/>
                  <a:pt x="1048" y="94"/>
                  <a:pt x="1043" y="89"/>
                </a:cubicBezTo>
                <a:cubicBezTo>
                  <a:pt x="1037" y="84"/>
                  <a:pt x="1030" y="82"/>
                  <a:pt x="1019" y="82"/>
                </a:cubicBezTo>
                <a:cubicBezTo>
                  <a:pt x="1008" y="82"/>
                  <a:pt x="999" y="84"/>
                  <a:pt x="994" y="88"/>
                </a:cubicBezTo>
                <a:cubicBezTo>
                  <a:pt x="989" y="93"/>
                  <a:pt x="986" y="98"/>
                  <a:pt x="986" y="103"/>
                </a:cubicBezTo>
                <a:cubicBezTo>
                  <a:pt x="986" y="107"/>
                  <a:pt x="987" y="110"/>
                  <a:pt x="989" y="113"/>
                </a:cubicBezTo>
                <a:cubicBezTo>
                  <a:pt x="992" y="116"/>
                  <a:pt x="995" y="118"/>
                  <a:pt x="999" y="120"/>
                </a:cubicBezTo>
                <a:cubicBezTo>
                  <a:pt x="1002" y="121"/>
                  <a:pt x="1010" y="124"/>
                  <a:pt x="1022" y="128"/>
                </a:cubicBezTo>
                <a:cubicBezTo>
                  <a:pt x="1041" y="133"/>
                  <a:pt x="1054" y="137"/>
                  <a:pt x="1061" y="140"/>
                </a:cubicBezTo>
                <a:cubicBezTo>
                  <a:pt x="1068" y="144"/>
                  <a:pt x="1074" y="149"/>
                  <a:pt x="1078" y="155"/>
                </a:cubicBezTo>
                <a:cubicBezTo>
                  <a:pt x="1082" y="161"/>
                  <a:pt x="1084" y="169"/>
                  <a:pt x="1084" y="179"/>
                </a:cubicBezTo>
                <a:cubicBezTo>
                  <a:pt x="1084" y="188"/>
                  <a:pt x="1082" y="197"/>
                  <a:pt x="1077" y="205"/>
                </a:cubicBezTo>
                <a:cubicBezTo>
                  <a:pt x="1072" y="213"/>
                  <a:pt x="1064" y="220"/>
                  <a:pt x="1055" y="224"/>
                </a:cubicBezTo>
                <a:cubicBezTo>
                  <a:pt x="1045" y="229"/>
                  <a:pt x="1034" y="231"/>
                  <a:pt x="1022" y="231"/>
                </a:cubicBezTo>
                <a:cubicBezTo>
                  <a:pt x="1002" y="231"/>
                  <a:pt x="987" y="226"/>
                  <a:pt x="977" y="218"/>
                </a:cubicBezTo>
                <a:cubicBezTo>
                  <a:pt x="966" y="209"/>
                  <a:pt x="960" y="196"/>
                  <a:pt x="957" y="1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9" name="Freeform 9">
            <a:extLst>
              <a:ext uri="{FF2B5EF4-FFF2-40B4-BE49-F238E27FC236}">
                <a16:creationId xmlns:a16="http://schemas.microsoft.com/office/drawing/2014/main" id="{1C9F2895-DD8E-4331-877E-F0589DEBA7BF}"/>
              </a:ext>
            </a:extLst>
          </p:cNvPr>
          <p:cNvSpPr>
            <a:spLocks noEditPoints="1"/>
          </p:cNvSpPr>
          <p:nvPr/>
        </p:nvSpPr>
        <p:spPr bwMode="auto">
          <a:xfrm>
            <a:off x="9755188" y="2016126"/>
            <a:ext cx="176213" cy="82550"/>
          </a:xfrm>
          <a:custGeom>
            <a:avLst/>
            <a:gdLst>
              <a:gd name="T0" fmla="*/ 70 w 490"/>
              <a:gd name="T1" fmla="*/ 227 h 231"/>
              <a:gd name="T2" fmla="*/ 70 w 490"/>
              <a:gd name="T3" fmla="*/ 27 h 231"/>
              <a:gd name="T4" fmla="*/ 0 w 490"/>
              <a:gd name="T5" fmla="*/ 27 h 231"/>
              <a:gd name="T6" fmla="*/ 0 w 490"/>
              <a:gd name="T7" fmla="*/ 0 h 231"/>
              <a:gd name="T8" fmla="*/ 168 w 490"/>
              <a:gd name="T9" fmla="*/ 0 h 231"/>
              <a:gd name="T10" fmla="*/ 168 w 490"/>
              <a:gd name="T11" fmla="*/ 27 h 231"/>
              <a:gd name="T12" fmla="*/ 98 w 490"/>
              <a:gd name="T13" fmla="*/ 27 h 231"/>
              <a:gd name="T14" fmla="*/ 98 w 490"/>
              <a:gd name="T15" fmla="*/ 227 h 231"/>
              <a:gd name="T16" fmla="*/ 70 w 490"/>
              <a:gd name="T17" fmla="*/ 227 h 231"/>
              <a:gd name="T18" fmla="*/ 177 w 490"/>
              <a:gd name="T19" fmla="*/ 32 h 231"/>
              <a:gd name="T20" fmla="*/ 177 w 490"/>
              <a:gd name="T21" fmla="*/ 0 h 231"/>
              <a:gd name="T22" fmla="*/ 203 w 490"/>
              <a:gd name="T23" fmla="*/ 0 h 231"/>
              <a:gd name="T24" fmla="*/ 203 w 490"/>
              <a:gd name="T25" fmla="*/ 32 h 231"/>
              <a:gd name="T26" fmla="*/ 177 w 490"/>
              <a:gd name="T27" fmla="*/ 32 h 231"/>
              <a:gd name="T28" fmla="*/ 177 w 490"/>
              <a:gd name="T29" fmla="*/ 227 h 231"/>
              <a:gd name="T30" fmla="*/ 177 w 490"/>
              <a:gd name="T31" fmla="*/ 63 h 231"/>
              <a:gd name="T32" fmla="*/ 203 w 490"/>
              <a:gd name="T33" fmla="*/ 63 h 231"/>
              <a:gd name="T34" fmla="*/ 203 w 490"/>
              <a:gd name="T35" fmla="*/ 227 h 231"/>
              <a:gd name="T36" fmla="*/ 177 w 490"/>
              <a:gd name="T37" fmla="*/ 227 h 231"/>
              <a:gd name="T38" fmla="*/ 329 w 490"/>
              <a:gd name="T39" fmla="*/ 167 h 231"/>
              <a:gd name="T40" fmla="*/ 355 w 490"/>
              <a:gd name="T41" fmla="*/ 171 h 231"/>
              <a:gd name="T42" fmla="*/ 333 w 490"/>
              <a:gd name="T43" fmla="*/ 215 h 231"/>
              <a:gd name="T44" fmla="*/ 291 w 490"/>
              <a:gd name="T45" fmla="*/ 231 h 231"/>
              <a:gd name="T46" fmla="*/ 241 w 490"/>
              <a:gd name="T47" fmla="*/ 209 h 231"/>
              <a:gd name="T48" fmla="*/ 221 w 490"/>
              <a:gd name="T49" fmla="*/ 146 h 231"/>
              <a:gd name="T50" fmla="*/ 230 w 490"/>
              <a:gd name="T51" fmla="*/ 99 h 231"/>
              <a:gd name="T52" fmla="*/ 255 w 490"/>
              <a:gd name="T53" fmla="*/ 69 h 231"/>
              <a:gd name="T54" fmla="*/ 291 w 490"/>
              <a:gd name="T55" fmla="*/ 59 h 231"/>
              <a:gd name="T56" fmla="*/ 332 w 490"/>
              <a:gd name="T57" fmla="*/ 73 h 231"/>
              <a:gd name="T58" fmla="*/ 352 w 490"/>
              <a:gd name="T59" fmla="*/ 111 h 231"/>
              <a:gd name="T60" fmla="*/ 327 w 490"/>
              <a:gd name="T61" fmla="*/ 115 h 231"/>
              <a:gd name="T62" fmla="*/ 314 w 490"/>
              <a:gd name="T63" fmla="*/ 90 h 231"/>
              <a:gd name="T64" fmla="*/ 292 w 490"/>
              <a:gd name="T65" fmla="*/ 82 h 231"/>
              <a:gd name="T66" fmla="*/ 260 w 490"/>
              <a:gd name="T67" fmla="*/ 97 h 231"/>
              <a:gd name="T68" fmla="*/ 248 w 490"/>
              <a:gd name="T69" fmla="*/ 145 h 231"/>
              <a:gd name="T70" fmla="*/ 260 w 490"/>
              <a:gd name="T71" fmla="*/ 193 h 231"/>
              <a:gd name="T72" fmla="*/ 291 w 490"/>
              <a:gd name="T73" fmla="*/ 208 h 231"/>
              <a:gd name="T74" fmla="*/ 316 w 490"/>
              <a:gd name="T75" fmla="*/ 198 h 231"/>
              <a:gd name="T76" fmla="*/ 329 w 490"/>
              <a:gd name="T77" fmla="*/ 167 h 231"/>
              <a:gd name="T78" fmla="*/ 363 w 490"/>
              <a:gd name="T79" fmla="*/ 227 h 231"/>
              <a:gd name="T80" fmla="*/ 363 w 490"/>
              <a:gd name="T81" fmla="*/ 0 h 231"/>
              <a:gd name="T82" fmla="*/ 389 w 490"/>
              <a:gd name="T83" fmla="*/ 0 h 231"/>
              <a:gd name="T84" fmla="*/ 389 w 490"/>
              <a:gd name="T85" fmla="*/ 130 h 231"/>
              <a:gd name="T86" fmla="*/ 451 w 490"/>
              <a:gd name="T87" fmla="*/ 63 h 231"/>
              <a:gd name="T88" fmla="*/ 484 w 490"/>
              <a:gd name="T89" fmla="*/ 63 h 231"/>
              <a:gd name="T90" fmla="*/ 426 w 490"/>
              <a:gd name="T91" fmla="*/ 124 h 231"/>
              <a:gd name="T92" fmla="*/ 490 w 490"/>
              <a:gd name="T93" fmla="*/ 227 h 231"/>
              <a:gd name="T94" fmla="*/ 458 w 490"/>
              <a:gd name="T95" fmla="*/ 227 h 231"/>
              <a:gd name="T96" fmla="*/ 407 w 490"/>
              <a:gd name="T97" fmla="*/ 143 h 231"/>
              <a:gd name="T98" fmla="*/ 389 w 490"/>
              <a:gd name="T99" fmla="*/ 162 h 231"/>
              <a:gd name="T100" fmla="*/ 389 w 490"/>
              <a:gd name="T101" fmla="*/ 227 h 231"/>
              <a:gd name="T102" fmla="*/ 363 w 490"/>
              <a:gd name="T103" fmla="*/ 227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90" h="231">
                <a:moveTo>
                  <a:pt x="70" y="227"/>
                </a:moveTo>
                <a:lnTo>
                  <a:pt x="70" y="27"/>
                </a:lnTo>
                <a:lnTo>
                  <a:pt x="0" y="27"/>
                </a:lnTo>
                <a:lnTo>
                  <a:pt x="0" y="0"/>
                </a:lnTo>
                <a:lnTo>
                  <a:pt x="168" y="0"/>
                </a:lnTo>
                <a:lnTo>
                  <a:pt x="168" y="27"/>
                </a:lnTo>
                <a:lnTo>
                  <a:pt x="98" y="27"/>
                </a:lnTo>
                <a:lnTo>
                  <a:pt x="98" y="227"/>
                </a:lnTo>
                <a:lnTo>
                  <a:pt x="70" y="227"/>
                </a:lnTo>
                <a:close/>
                <a:moveTo>
                  <a:pt x="177" y="32"/>
                </a:moveTo>
                <a:lnTo>
                  <a:pt x="177" y="0"/>
                </a:lnTo>
                <a:lnTo>
                  <a:pt x="203" y="0"/>
                </a:lnTo>
                <a:lnTo>
                  <a:pt x="203" y="32"/>
                </a:lnTo>
                <a:lnTo>
                  <a:pt x="177" y="32"/>
                </a:lnTo>
                <a:close/>
                <a:moveTo>
                  <a:pt x="177" y="227"/>
                </a:moveTo>
                <a:lnTo>
                  <a:pt x="177" y="63"/>
                </a:lnTo>
                <a:lnTo>
                  <a:pt x="203" y="63"/>
                </a:lnTo>
                <a:lnTo>
                  <a:pt x="203" y="227"/>
                </a:lnTo>
                <a:lnTo>
                  <a:pt x="177" y="227"/>
                </a:lnTo>
                <a:close/>
                <a:moveTo>
                  <a:pt x="329" y="167"/>
                </a:moveTo>
                <a:lnTo>
                  <a:pt x="355" y="171"/>
                </a:lnTo>
                <a:cubicBezTo>
                  <a:pt x="352" y="190"/>
                  <a:pt x="345" y="204"/>
                  <a:pt x="333" y="215"/>
                </a:cubicBezTo>
                <a:cubicBezTo>
                  <a:pt x="322" y="226"/>
                  <a:pt x="308" y="231"/>
                  <a:pt x="291" y="231"/>
                </a:cubicBezTo>
                <a:cubicBezTo>
                  <a:pt x="270" y="231"/>
                  <a:pt x="253" y="224"/>
                  <a:pt x="241" y="209"/>
                </a:cubicBezTo>
                <a:cubicBezTo>
                  <a:pt x="228" y="194"/>
                  <a:pt x="221" y="173"/>
                  <a:pt x="221" y="146"/>
                </a:cubicBezTo>
                <a:cubicBezTo>
                  <a:pt x="221" y="128"/>
                  <a:pt x="224" y="112"/>
                  <a:pt x="230" y="99"/>
                </a:cubicBezTo>
                <a:cubicBezTo>
                  <a:pt x="235" y="86"/>
                  <a:pt x="243" y="76"/>
                  <a:pt x="255" y="69"/>
                </a:cubicBezTo>
                <a:cubicBezTo>
                  <a:pt x="266" y="62"/>
                  <a:pt x="278" y="59"/>
                  <a:pt x="291" y="59"/>
                </a:cubicBezTo>
                <a:cubicBezTo>
                  <a:pt x="308" y="59"/>
                  <a:pt x="322" y="64"/>
                  <a:pt x="332" y="73"/>
                </a:cubicBezTo>
                <a:cubicBezTo>
                  <a:pt x="343" y="82"/>
                  <a:pt x="349" y="95"/>
                  <a:pt x="352" y="111"/>
                </a:cubicBezTo>
                <a:lnTo>
                  <a:pt x="327" y="115"/>
                </a:lnTo>
                <a:cubicBezTo>
                  <a:pt x="325" y="104"/>
                  <a:pt x="321" y="96"/>
                  <a:pt x="314" y="90"/>
                </a:cubicBezTo>
                <a:cubicBezTo>
                  <a:pt x="308" y="85"/>
                  <a:pt x="301" y="82"/>
                  <a:pt x="292" y="82"/>
                </a:cubicBezTo>
                <a:cubicBezTo>
                  <a:pt x="279" y="82"/>
                  <a:pt x="269" y="87"/>
                  <a:pt x="260" y="97"/>
                </a:cubicBezTo>
                <a:cubicBezTo>
                  <a:pt x="252" y="107"/>
                  <a:pt x="248" y="123"/>
                  <a:pt x="248" y="145"/>
                </a:cubicBezTo>
                <a:cubicBezTo>
                  <a:pt x="248" y="167"/>
                  <a:pt x="252" y="183"/>
                  <a:pt x="260" y="193"/>
                </a:cubicBezTo>
                <a:cubicBezTo>
                  <a:pt x="268" y="203"/>
                  <a:pt x="278" y="208"/>
                  <a:pt x="291" y="208"/>
                </a:cubicBezTo>
                <a:cubicBezTo>
                  <a:pt x="301" y="208"/>
                  <a:pt x="310" y="205"/>
                  <a:pt x="316" y="198"/>
                </a:cubicBezTo>
                <a:cubicBezTo>
                  <a:pt x="323" y="191"/>
                  <a:pt x="328" y="181"/>
                  <a:pt x="329" y="167"/>
                </a:cubicBezTo>
                <a:close/>
                <a:moveTo>
                  <a:pt x="363" y="227"/>
                </a:moveTo>
                <a:lnTo>
                  <a:pt x="363" y="0"/>
                </a:lnTo>
                <a:lnTo>
                  <a:pt x="389" y="0"/>
                </a:lnTo>
                <a:lnTo>
                  <a:pt x="389" y="130"/>
                </a:lnTo>
                <a:lnTo>
                  <a:pt x="451" y="63"/>
                </a:lnTo>
                <a:lnTo>
                  <a:pt x="484" y="63"/>
                </a:lnTo>
                <a:lnTo>
                  <a:pt x="426" y="124"/>
                </a:lnTo>
                <a:lnTo>
                  <a:pt x="490" y="227"/>
                </a:lnTo>
                <a:lnTo>
                  <a:pt x="458" y="227"/>
                </a:lnTo>
                <a:lnTo>
                  <a:pt x="407" y="143"/>
                </a:lnTo>
                <a:lnTo>
                  <a:pt x="389" y="162"/>
                </a:lnTo>
                <a:lnTo>
                  <a:pt x="389" y="227"/>
                </a:lnTo>
                <a:lnTo>
                  <a:pt x="363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90" name="Group 389">
            <a:extLst>
              <a:ext uri="{FF2B5EF4-FFF2-40B4-BE49-F238E27FC236}">
                <a16:creationId xmlns:a16="http://schemas.microsoft.com/office/drawing/2014/main" id="{06C258FC-8142-4332-9691-2ACA99CA31C1}"/>
              </a:ext>
            </a:extLst>
          </p:cNvPr>
          <p:cNvGrpSpPr/>
          <p:nvPr/>
        </p:nvGrpSpPr>
        <p:grpSpPr>
          <a:xfrm>
            <a:off x="496888" y="1460501"/>
            <a:ext cx="403225" cy="461963"/>
            <a:chOff x="496888" y="1460501"/>
            <a:chExt cx="403225" cy="461963"/>
          </a:xfrm>
          <a:solidFill>
            <a:schemeClr val="accent1"/>
          </a:solidFill>
        </p:grpSpPr>
        <p:sp>
          <p:nvSpPr>
            <p:cNvPr id="170" name="Freeform 10">
              <a:extLst>
                <a:ext uri="{FF2B5EF4-FFF2-40B4-BE49-F238E27FC236}">
                  <a16:creationId xmlns:a16="http://schemas.microsoft.com/office/drawing/2014/main" id="{D6A2B437-4AA1-48B1-90B4-C56BE48EF2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888" y="1460501"/>
              <a:ext cx="403225" cy="461963"/>
            </a:xfrm>
            <a:custGeom>
              <a:avLst/>
              <a:gdLst>
                <a:gd name="T0" fmla="*/ 1123 w 1123"/>
                <a:gd name="T1" fmla="*/ 447 h 1282"/>
                <a:gd name="T2" fmla="*/ 675 w 1123"/>
                <a:gd name="T3" fmla="*/ 0 h 1282"/>
                <a:gd name="T4" fmla="*/ 448 w 1123"/>
                <a:gd name="T5" fmla="*/ 0 h 1282"/>
                <a:gd name="T6" fmla="*/ 0 w 1123"/>
                <a:gd name="T7" fmla="*/ 447 h 1282"/>
                <a:gd name="T8" fmla="*/ 0 w 1123"/>
                <a:gd name="T9" fmla="*/ 1282 h 1282"/>
                <a:gd name="T10" fmla="*/ 161 w 1123"/>
                <a:gd name="T11" fmla="*/ 1282 h 1282"/>
                <a:gd name="T12" fmla="*/ 161 w 1123"/>
                <a:gd name="T13" fmla="*/ 514 h 1282"/>
                <a:gd name="T14" fmla="*/ 561 w 1123"/>
                <a:gd name="T15" fmla="*/ 113 h 1282"/>
                <a:gd name="T16" fmla="*/ 962 w 1123"/>
                <a:gd name="T17" fmla="*/ 514 h 1282"/>
                <a:gd name="T18" fmla="*/ 962 w 1123"/>
                <a:gd name="T19" fmla="*/ 1282 h 1282"/>
                <a:gd name="T20" fmla="*/ 1123 w 1123"/>
                <a:gd name="T21" fmla="*/ 1282 h 1282"/>
                <a:gd name="T22" fmla="*/ 1123 w 1123"/>
                <a:gd name="T23" fmla="*/ 447 h 1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23" h="1282">
                  <a:moveTo>
                    <a:pt x="1123" y="447"/>
                  </a:moveTo>
                  <a:lnTo>
                    <a:pt x="675" y="0"/>
                  </a:lnTo>
                  <a:lnTo>
                    <a:pt x="448" y="0"/>
                  </a:lnTo>
                  <a:lnTo>
                    <a:pt x="0" y="447"/>
                  </a:lnTo>
                  <a:lnTo>
                    <a:pt x="0" y="1282"/>
                  </a:lnTo>
                  <a:lnTo>
                    <a:pt x="161" y="1282"/>
                  </a:lnTo>
                  <a:lnTo>
                    <a:pt x="161" y="514"/>
                  </a:lnTo>
                  <a:lnTo>
                    <a:pt x="561" y="113"/>
                  </a:lnTo>
                  <a:lnTo>
                    <a:pt x="962" y="514"/>
                  </a:lnTo>
                  <a:lnTo>
                    <a:pt x="962" y="1282"/>
                  </a:lnTo>
                  <a:lnTo>
                    <a:pt x="1123" y="1282"/>
                  </a:lnTo>
                  <a:lnTo>
                    <a:pt x="1123" y="4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71" name="Rectangle 11">
              <a:extLst>
                <a:ext uri="{FF2B5EF4-FFF2-40B4-BE49-F238E27FC236}">
                  <a16:creationId xmlns:a16="http://schemas.microsoft.com/office/drawing/2014/main" id="{24486283-4230-4169-9BC5-C92C2F0B4B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926" y="1806576"/>
              <a:ext cx="57150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72" name="Freeform 12">
            <a:extLst>
              <a:ext uri="{FF2B5EF4-FFF2-40B4-BE49-F238E27FC236}">
                <a16:creationId xmlns:a16="http://schemas.microsoft.com/office/drawing/2014/main" id="{98BA2FD5-DBE9-4D64-87CE-D8BFCCA62BA2}"/>
              </a:ext>
            </a:extLst>
          </p:cNvPr>
          <p:cNvSpPr>
            <a:spLocks noEditPoints="1"/>
          </p:cNvSpPr>
          <p:nvPr/>
        </p:nvSpPr>
        <p:spPr bwMode="auto">
          <a:xfrm>
            <a:off x="563563" y="2016126"/>
            <a:ext cx="269875" cy="76200"/>
          </a:xfrm>
          <a:custGeom>
            <a:avLst/>
            <a:gdLst>
              <a:gd name="T0" fmla="*/ 0 w 752"/>
              <a:gd name="T1" fmla="*/ 0 h 215"/>
              <a:gd name="T2" fmla="*/ 28 w 752"/>
              <a:gd name="T3" fmla="*/ 87 h 215"/>
              <a:gd name="T4" fmla="*/ 137 w 752"/>
              <a:gd name="T5" fmla="*/ 0 h 215"/>
              <a:gd name="T6" fmla="*/ 165 w 752"/>
              <a:gd name="T7" fmla="*/ 212 h 215"/>
              <a:gd name="T8" fmla="*/ 137 w 752"/>
              <a:gd name="T9" fmla="*/ 112 h 215"/>
              <a:gd name="T10" fmla="*/ 28 w 752"/>
              <a:gd name="T11" fmla="*/ 212 h 215"/>
              <a:gd name="T12" fmla="*/ 199 w 752"/>
              <a:gd name="T13" fmla="*/ 135 h 215"/>
              <a:gd name="T14" fmla="*/ 271 w 752"/>
              <a:gd name="T15" fmla="*/ 55 h 215"/>
              <a:gd name="T16" fmla="*/ 343 w 752"/>
              <a:gd name="T17" fmla="*/ 133 h 215"/>
              <a:gd name="T18" fmla="*/ 308 w 752"/>
              <a:gd name="T19" fmla="*/ 206 h 215"/>
              <a:gd name="T20" fmla="*/ 219 w 752"/>
              <a:gd name="T21" fmla="*/ 194 h 215"/>
              <a:gd name="T22" fmla="*/ 226 w 752"/>
              <a:gd name="T23" fmla="*/ 135 h 215"/>
              <a:gd name="T24" fmla="*/ 271 w 752"/>
              <a:gd name="T25" fmla="*/ 194 h 215"/>
              <a:gd name="T26" fmla="*/ 316 w 752"/>
              <a:gd name="T27" fmla="*/ 134 h 215"/>
              <a:gd name="T28" fmla="*/ 271 w 752"/>
              <a:gd name="T29" fmla="*/ 76 h 215"/>
              <a:gd name="T30" fmla="*/ 226 w 752"/>
              <a:gd name="T31" fmla="*/ 135 h 215"/>
              <a:gd name="T32" fmla="*/ 373 w 752"/>
              <a:gd name="T33" fmla="*/ 58 h 215"/>
              <a:gd name="T34" fmla="*/ 397 w 752"/>
              <a:gd name="T35" fmla="*/ 80 h 215"/>
              <a:gd name="T36" fmla="*/ 443 w 752"/>
              <a:gd name="T37" fmla="*/ 55 h 215"/>
              <a:gd name="T38" fmla="*/ 486 w 752"/>
              <a:gd name="T39" fmla="*/ 82 h 215"/>
              <a:gd name="T40" fmla="*/ 569 w 752"/>
              <a:gd name="T41" fmla="*/ 67 h 215"/>
              <a:gd name="T42" fmla="*/ 582 w 752"/>
              <a:gd name="T43" fmla="*/ 212 h 215"/>
              <a:gd name="T44" fmla="*/ 555 w 752"/>
              <a:gd name="T45" fmla="*/ 115 h 215"/>
              <a:gd name="T46" fmla="*/ 544 w 752"/>
              <a:gd name="T47" fmla="*/ 82 h 215"/>
              <a:gd name="T48" fmla="*/ 501 w 752"/>
              <a:gd name="T49" fmla="*/ 88 h 215"/>
              <a:gd name="T50" fmla="*/ 490 w 752"/>
              <a:gd name="T51" fmla="*/ 212 h 215"/>
              <a:gd name="T52" fmla="*/ 464 w 752"/>
              <a:gd name="T53" fmla="*/ 112 h 215"/>
              <a:gd name="T54" fmla="*/ 437 w 752"/>
              <a:gd name="T55" fmla="*/ 77 h 215"/>
              <a:gd name="T56" fmla="*/ 403 w 752"/>
              <a:gd name="T57" fmla="*/ 100 h 215"/>
              <a:gd name="T58" fmla="*/ 399 w 752"/>
              <a:gd name="T59" fmla="*/ 212 h 215"/>
              <a:gd name="T60" fmla="*/ 724 w 752"/>
              <a:gd name="T61" fmla="*/ 162 h 215"/>
              <a:gd name="T62" fmla="*/ 728 w 752"/>
              <a:gd name="T63" fmla="*/ 202 h 215"/>
              <a:gd name="T64" fmla="*/ 631 w 752"/>
              <a:gd name="T65" fmla="*/ 194 h 215"/>
              <a:gd name="T66" fmla="*/ 631 w 752"/>
              <a:gd name="T67" fmla="*/ 76 h 215"/>
              <a:gd name="T68" fmla="*/ 733 w 752"/>
              <a:gd name="T69" fmla="*/ 76 h 215"/>
              <a:gd name="T70" fmla="*/ 752 w 752"/>
              <a:gd name="T71" fmla="*/ 142 h 215"/>
              <a:gd name="T72" fmla="*/ 652 w 752"/>
              <a:gd name="T73" fmla="*/ 180 h 215"/>
              <a:gd name="T74" fmla="*/ 708 w 752"/>
              <a:gd name="T75" fmla="*/ 186 h 215"/>
              <a:gd name="T76" fmla="*/ 639 w 752"/>
              <a:gd name="T77" fmla="*/ 120 h 215"/>
              <a:gd name="T78" fmla="*/ 715 w 752"/>
              <a:gd name="T79" fmla="*/ 91 h 215"/>
              <a:gd name="T80" fmla="*/ 653 w 752"/>
              <a:gd name="T81" fmla="*/ 88 h 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752" h="215">
                <a:moveTo>
                  <a:pt x="0" y="212"/>
                </a:moveTo>
                <a:lnTo>
                  <a:pt x="0" y="0"/>
                </a:lnTo>
                <a:lnTo>
                  <a:pt x="28" y="0"/>
                </a:lnTo>
                <a:lnTo>
                  <a:pt x="28" y="87"/>
                </a:lnTo>
                <a:lnTo>
                  <a:pt x="137" y="87"/>
                </a:lnTo>
                <a:lnTo>
                  <a:pt x="137" y="0"/>
                </a:lnTo>
                <a:lnTo>
                  <a:pt x="165" y="0"/>
                </a:lnTo>
                <a:lnTo>
                  <a:pt x="165" y="212"/>
                </a:lnTo>
                <a:lnTo>
                  <a:pt x="137" y="212"/>
                </a:lnTo>
                <a:lnTo>
                  <a:pt x="137" y="112"/>
                </a:lnTo>
                <a:lnTo>
                  <a:pt x="28" y="112"/>
                </a:lnTo>
                <a:lnTo>
                  <a:pt x="28" y="212"/>
                </a:lnTo>
                <a:lnTo>
                  <a:pt x="0" y="212"/>
                </a:lnTo>
                <a:close/>
                <a:moveTo>
                  <a:pt x="199" y="135"/>
                </a:moveTo>
                <a:cubicBezTo>
                  <a:pt x="199" y="107"/>
                  <a:pt x="207" y="86"/>
                  <a:pt x="223" y="72"/>
                </a:cubicBezTo>
                <a:cubicBezTo>
                  <a:pt x="236" y="61"/>
                  <a:pt x="252" y="55"/>
                  <a:pt x="271" y="55"/>
                </a:cubicBezTo>
                <a:cubicBezTo>
                  <a:pt x="292" y="55"/>
                  <a:pt x="309" y="62"/>
                  <a:pt x="323" y="76"/>
                </a:cubicBezTo>
                <a:cubicBezTo>
                  <a:pt x="336" y="89"/>
                  <a:pt x="343" y="108"/>
                  <a:pt x="343" y="133"/>
                </a:cubicBezTo>
                <a:cubicBezTo>
                  <a:pt x="343" y="152"/>
                  <a:pt x="340" y="168"/>
                  <a:pt x="334" y="179"/>
                </a:cubicBezTo>
                <a:cubicBezTo>
                  <a:pt x="328" y="190"/>
                  <a:pt x="319" y="199"/>
                  <a:pt x="308" y="206"/>
                </a:cubicBezTo>
                <a:cubicBezTo>
                  <a:pt x="297" y="212"/>
                  <a:pt x="284" y="215"/>
                  <a:pt x="271" y="215"/>
                </a:cubicBezTo>
                <a:cubicBezTo>
                  <a:pt x="249" y="215"/>
                  <a:pt x="232" y="208"/>
                  <a:pt x="219" y="194"/>
                </a:cubicBezTo>
                <a:cubicBezTo>
                  <a:pt x="206" y="181"/>
                  <a:pt x="199" y="161"/>
                  <a:pt x="199" y="135"/>
                </a:cubicBezTo>
                <a:close/>
                <a:moveTo>
                  <a:pt x="226" y="135"/>
                </a:moveTo>
                <a:cubicBezTo>
                  <a:pt x="226" y="155"/>
                  <a:pt x="230" y="169"/>
                  <a:pt x="238" y="179"/>
                </a:cubicBezTo>
                <a:cubicBezTo>
                  <a:pt x="247" y="189"/>
                  <a:pt x="258" y="194"/>
                  <a:pt x="271" y="194"/>
                </a:cubicBezTo>
                <a:cubicBezTo>
                  <a:pt x="284" y="194"/>
                  <a:pt x="295" y="189"/>
                  <a:pt x="303" y="179"/>
                </a:cubicBezTo>
                <a:cubicBezTo>
                  <a:pt x="312" y="169"/>
                  <a:pt x="316" y="154"/>
                  <a:pt x="316" y="134"/>
                </a:cubicBezTo>
                <a:cubicBezTo>
                  <a:pt x="316" y="115"/>
                  <a:pt x="312" y="101"/>
                  <a:pt x="303" y="91"/>
                </a:cubicBezTo>
                <a:cubicBezTo>
                  <a:pt x="295" y="81"/>
                  <a:pt x="284" y="76"/>
                  <a:pt x="271" y="76"/>
                </a:cubicBezTo>
                <a:cubicBezTo>
                  <a:pt x="258" y="76"/>
                  <a:pt x="247" y="81"/>
                  <a:pt x="238" y="91"/>
                </a:cubicBezTo>
                <a:cubicBezTo>
                  <a:pt x="230" y="101"/>
                  <a:pt x="226" y="115"/>
                  <a:pt x="226" y="135"/>
                </a:cubicBezTo>
                <a:close/>
                <a:moveTo>
                  <a:pt x="373" y="212"/>
                </a:moveTo>
                <a:lnTo>
                  <a:pt x="373" y="58"/>
                </a:lnTo>
                <a:lnTo>
                  <a:pt x="397" y="58"/>
                </a:lnTo>
                <a:lnTo>
                  <a:pt x="397" y="80"/>
                </a:lnTo>
                <a:cubicBezTo>
                  <a:pt x="401" y="72"/>
                  <a:pt x="408" y="66"/>
                  <a:pt x="416" y="62"/>
                </a:cubicBezTo>
                <a:cubicBezTo>
                  <a:pt x="424" y="57"/>
                  <a:pt x="433" y="55"/>
                  <a:pt x="443" y="55"/>
                </a:cubicBezTo>
                <a:cubicBezTo>
                  <a:pt x="454" y="55"/>
                  <a:pt x="464" y="57"/>
                  <a:pt x="471" y="62"/>
                </a:cubicBezTo>
                <a:cubicBezTo>
                  <a:pt x="478" y="67"/>
                  <a:pt x="483" y="73"/>
                  <a:pt x="486" y="82"/>
                </a:cubicBezTo>
                <a:cubicBezTo>
                  <a:pt x="499" y="64"/>
                  <a:pt x="514" y="55"/>
                  <a:pt x="534" y="55"/>
                </a:cubicBezTo>
                <a:cubicBezTo>
                  <a:pt x="549" y="55"/>
                  <a:pt x="561" y="59"/>
                  <a:pt x="569" y="67"/>
                </a:cubicBezTo>
                <a:cubicBezTo>
                  <a:pt x="577" y="76"/>
                  <a:pt x="582" y="89"/>
                  <a:pt x="582" y="106"/>
                </a:cubicBezTo>
                <a:lnTo>
                  <a:pt x="582" y="212"/>
                </a:lnTo>
                <a:lnTo>
                  <a:pt x="555" y="212"/>
                </a:lnTo>
                <a:lnTo>
                  <a:pt x="555" y="115"/>
                </a:lnTo>
                <a:cubicBezTo>
                  <a:pt x="555" y="105"/>
                  <a:pt x="555" y="97"/>
                  <a:pt x="553" y="93"/>
                </a:cubicBezTo>
                <a:cubicBezTo>
                  <a:pt x="551" y="88"/>
                  <a:pt x="548" y="84"/>
                  <a:pt x="544" y="82"/>
                </a:cubicBezTo>
                <a:cubicBezTo>
                  <a:pt x="539" y="79"/>
                  <a:pt x="534" y="77"/>
                  <a:pt x="528" y="77"/>
                </a:cubicBezTo>
                <a:cubicBezTo>
                  <a:pt x="517" y="77"/>
                  <a:pt x="508" y="81"/>
                  <a:pt x="501" y="88"/>
                </a:cubicBezTo>
                <a:cubicBezTo>
                  <a:pt x="494" y="95"/>
                  <a:pt x="490" y="107"/>
                  <a:pt x="490" y="123"/>
                </a:cubicBezTo>
                <a:lnTo>
                  <a:pt x="490" y="212"/>
                </a:lnTo>
                <a:lnTo>
                  <a:pt x="464" y="212"/>
                </a:lnTo>
                <a:lnTo>
                  <a:pt x="464" y="112"/>
                </a:lnTo>
                <a:cubicBezTo>
                  <a:pt x="464" y="100"/>
                  <a:pt x="462" y="92"/>
                  <a:pt x="458" y="86"/>
                </a:cubicBezTo>
                <a:cubicBezTo>
                  <a:pt x="454" y="80"/>
                  <a:pt x="447" y="77"/>
                  <a:pt x="437" y="77"/>
                </a:cubicBezTo>
                <a:cubicBezTo>
                  <a:pt x="430" y="77"/>
                  <a:pt x="423" y="79"/>
                  <a:pt x="417" y="83"/>
                </a:cubicBezTo>
                <a:cubicBezTo>
                  <a:pt x="411" y="87"/>
                  <a:pt x="406" y="93"/>
                  <a:pt x="403" y="100"/>
                </a:cubicBezTo>
                <a:cubicBezTo>
                  <a:pt x="401" y="107"/>
                  <a:pt x="399" y="118"/>
                  <a:pt x="399" y="132"/>
                </a:cubicBezTo>
                <a:lnTo>
                  <a:pt x="399" y="212"/>
                </a:lnTo>
                <a:lnTo>
                  <a:pt x="373" y="212"/>
                </a:lnTo>
                <a:close/>
                <a:moveTo>
                  <a:pt x="724" y="162"/>
                </a:moveTo>
                <a:lnTo>
                  <a:pt x="751" y="165"/>
                </a:lnTo>
                <a:cubicBezTo>
                  <a:pt x="747" y="181"/>
                  <a:pt x="739" y="193"/>
                  <a:pt x="728" y="202"/>
                </a:cubicBezTo>
                <a:cubicBezTo>
                  <a:pt x="716" y="211"/>
                  <a:pt x="702" y="215"/>
                  <a:pt x="684" y="215"/>
                </a:cubicBezTo>
                <a:cubicBezTo>
                  <a:pt x="662" y="215"/>
                  <a:pt x="644" y="208"/>
                  <a:pt x="631" y="194"/>
                </a:cubicBezTo>
                <a:cubicBezTo>
                  <a:pt x="618" y="180"/>
                  <a:pt x="611" y="161"/>
                  <a:pt x="611" y="136"/>
                </a:cubicBezTo>
                <a:cubicBezTo>
                  <a:pt x="611" y="110"/>
                  <a:pt x="618" y="90"/>
                  <a:pt x="631" y="76"/>
                </a:cubicBezTo>
                <a:cubicBezTo>
                  <a:pt x="644" y="62"/>
                  <a:pt x="661" y="55"/>
                  <a:pt x="683" y="55"/>
                </a:cubicBezTo>
                <a:cubicBezTo>
                  <a:pt x="703" y="55"/>
                  <a:pt x="720" y="62"/>
                  <a:pt x="733" y="76"/>
                </a:cubicBezTo>
                <a:cubicBezTo>
                  <a:pt x="746" y="90"/>
                  <a:pt x="752" y="109"/>
                  <a:pt x="752" y="135"/>
                </a:cubicBezTo>
                <a:cubicBezTo>
                  <a:pt x="752" y="136"/>
                  <a:pt x="752" y="138"/>
                  <a:pt x="752" y="142"/>
                </a:cubicBezTo>
                <a:lnTo>
                  <a:pt x="638" y="142"/>
                </a:lnTo>
                <a:cubicBezTo>
                  <a:pt x="639" y="158"/>
                  <a:pt x="643" y="171"/>
                  <a:pt x="652" y="180"/>
                </a:cubicBezTo>
                <a:cubicBezTo>
                  <a:pt x="661" y="189"/>
                  <a:pt x="671" y="194"/>
                  <a:pt x="684" y="194"/>
                </a:cubicBezTo>
                <a:cubicBezTo>
                  <a:pt x="694" y="194"/>
                  <a:pt x="702" y="191"/>
                  <a:pt x="708" y="186"/>
                </a:cubicBezTo>
                <a:cubicBezTo>
                  <a:pt x="715" y="181"/>
                  <a:pt x="720" y="173"/>
                  <a:pt x="724" y="162"/>
                </a:cubicBezTo>
                <a:close/>
                <a:moveTo>
                  <a:pt x="639" y="120"/>
                </a:moveTo>
                <a:lnTo>
                  <a:pt x="725" y="120"/>
                </a:lnTo>
                <a:cubicBezTo>
                  <a:pt x="724" y="107"/>
                  <a:pt x="720" y="98"/>
                  <a:pt x="715" y="91"/>
                </a:cubicBezTo>
                <a:cubicBezTo>
                  <a:pt x="707" y="81"/>
                  <a:pt x="696" y="76"/>
                  <a:pt x="683" y="76"/>
                </a:cubicBezTo>
                <a:cubicBezTo>
                  <a:pt x="671" y="76"/>
                  <a:pt x="661" y="80"/>
                  <a:pt x="653" y="88"/>
                </a:cubicBezTo>
                <a:cubicBezTo>
                  <a:pt x="645" y="96"/>
                  <a:pt x="640" y="107"/>
                  <a:pt x="639" y="1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89" name="Group 388">
            <a:extLst>
              <a:ext uri="{FF2B5EF4-FFF2-40B4-BE49-F238E27FC236}">
                <a16:creationId xmlns:a16="http://schemas.microsoft.com/office/drawing/2014/main" id="{3F75293F-7706-4F7B-BA7A-5FD4E71CF26B}"/>
              </a:ext>
            </a:extLst>
          </p:cNvPr>
          <p:cNvGrpSpPr/>
          <p:nvPr/>
        </p:nvGrpSpPr>
        <p:grpSpPr>
          <a:xfrm>
            <a:off x="1200151" y="1489076"/>
            <a:ext cx="520700" cy="461963"/>
            <a:chOff x="1200151" y="1489076"/>
            <a:chExt cx="520700" cy="461963"/>
          </a:xfrm>
          <a:solidFill>
            <a:schemeClr val="accent1"/>
          </a:solidFill>
        </p:grpSpPr>
        <p:sp>
          <p:nvSpPr>
            <p:cNvPr id="173" name="Rectangle 13">
              <a:extLst>
                <a:ext uri="{FF2B5EF4-FFF2-40B4-BE49-F238E27FC236}">
                  <a16:creationId xmlns:a16="http://schemas.microsoft.com/office/drawing/2014/main" id="{DCB912F1-F14C-4949-BF5F-24D4EEE3BC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038" y="1546226"/>
              <a:ext cx="288925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74" name="Rectangle 14">
              <a:extLst>
                <a:ext uri="{FF2B5EF4-FFF2-40B4-BE49-F238E27FC236}">
                  <a16:creationId xmlns:a16="http://schemas.microsoft.com/office/drawing/2014/main" id="{BF02E781-798B-4F40-BB20-C00682C7B6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038" y="1662113"/>
              <a:ext cx="173038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75" name="Freeform 15">
              <a:extLst>
                <a:ext uri="{FF2B5EF4-FFF2-40B4-BE49-F238E27FC236}">
                  <a16:creationId xmlns:a16="http://schemas.microsoft.com/office/drawing/2014/main" id="{0EE71648-21E0-456A-AF22-D222BDFF1D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0151" y="1489076"/>
              <a:ext cx="520700" cy="461963"/>
            </a:xfrm>
            <a:custGeom>
              <a:avLst/>
              <a:gdLst>
                <a:gd name="T0" fmla="*/ 1283 w 1444"/>
                <a:gd name="T1" fmla="*/ 962 h 1283"/>
                <a:gd name="T2" fmla="*/ 1444 w 1444"/>
                <a:gd name="T3" fmla="*/ 802 h 1283"/>
                <a:gd name="T4" fmla="*/ 1444 w 1444"/>
                <a:gd name="T5" fmla="*/ 0 h 1283"/>
                <a:gd name="T6" fmla="*/ 1283 w 1444"/>
                <a:gd name="T7" fmla="*/ 0 h 1283"/>
                <a:gd name="T8" fmla="*/ 1283 w 1444"/>
                <a:gd name="T9" fmla="*/ 802 h 1283"/>
                <a:gd name="T10" fmla="*/ 736 w 1444"/>
                <a:gd name="T11" fmla="*/ 802 h 1283"/>
                <a:gd name="T12" fmla="*/ 482 w 1444"/>
                <a:gd name="T13" fmla="*/ 1056 h 1283"/>
                <a:gd name="T14" fmla="*/ 482 w 1444"/>
                <a:gd name="T15" fmla="*/ 802 h 1283"/>
                <a:gd name="T16" fmla="*/ 161 w 1444"/>
                <a:gd name="T17" fmla="*/ 802 h 1283"/>
                <a:gd name="T18" fmla="*/ 161 w 1444"/>
                <a:gd name="T19" fmla="*/ 0 h 1283"/>
                <a:gd name="T20" fmla="*/ 0 w 1444"/>
                <a:gd name="T21" fmla="*/ 0 h 1283"/>
                <a:gd name="T22" fmla="*/ 0 w 1444"/>
                <a:gd name="T23" fmla="*/ 802 h 1283"/>
                <a:gd name="T24" fmla="*/ 161 w 1444"/>
                <a:gd name="T25" fmla="*/ 962 h 1283"/>
                <a:gd name="T26" fmla="*/ 321 w 1444"/>
                <a:gd name="T27" fmla="*/ 962 h 1283"/>
                <a:gd name="T28" fmla="*/ 321 w 1444"/>
                <a:gd name="T29" fmla="*/ 1283 h 1283"/>
                <a:gd name="T30" fmla="*/ 482 w 1444"/>
                <a:gd name="T31" fmla="*/ 1283 h 1283"/>
                <a:gd name="T32" fmla="*/ 802 w 1444"/>
                <a:gd name="T33" fmla="*/ 962 h 1283"/>
                <a:gd name="T34" fmla="*/ 1283 w 1444"/>
                <a:gd name="T35" fmla="*/ 962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44" h="1283">
                  <a:moveTo>
                    <a:pt x="1283" y="962"/>
                  </a:moveTo>
                  <a:lnTo>
                    <a:pt x="1444" y="802"/>
                  </a:lnTo>
                  <a:lnTo>
                    <a:pt x="1444" y="0"/>
                  </a:lnTo>
                  <a:lnTo>
                    <a:pt x="1283" y="0"/>
                  </a:lnTo>
                  <a:lnTo>
                    <a:pt x="1283" y="802"/>
                  </a:lnTo>
                  <a:lnTo>
                    <a:pt x="736" y="802"/>
                  </a:lnTo>
                  <a:lnTo>
                    <a:pt x="482" y="1056"/>
                  </a:lnTo>
                  <a:lnTo>
                    <a:pt x="482" y="802"/>
                  </a:lnTo>
                  <a:lnTo>
                    <a:pt x="161" y="802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802"/>
                  </a:lnTo>
                  <a:lnTo>
                    <a:pt x="161" y="962"/>
                  </a:lnTo>
                  <a:lnTo>
                    <a:pt x="321" y="962"/>
                  </a:lnTo>
                  <a:lnTo>
                    <a:pt x="321" y="1283"/>
                  </a:lnTo>
                  <a:lnTo>
                    <a:pt x="482" y="1283"/>
                  </a:lnTo>
                  <a:lnTo>
                    <a:pt x="802" y="962"/>
                  </a:lnTo>
                  <a:lnTo>
                    <a:pt x="1283" y="9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76" name="Freeform 16">
            <a:extLst>
              <a:ext uri="{FF2B5EF4-FFF2-40B4-BE49-F238E27FC236}">
                <a16:creationId xmlns:a16="http://schemas.microsoft.com/office/drawing/2014/main" id="{9C6AA72C-0736-4979-95B5-B24ACEDC93C9}"/>
              </a:ext>
            </a:extLst>
          </p:cNvPr>
          <p:cNvSpPr>
            <a:spLocks noEditPoints="1"/>
          </p:cNvSpPr>
          <p:nvPr/>
        </p:nvSpPr>
        <p:spPr bwMode="auto">
          <a:xfrm>
            <a:off x="1285876" y="2014538"/>
            <a:ext cx="349250" cy="185738"/>
          </a:xfrm>
          <a:custGeom>
            <a:avLst/>
            <a:gdLst>
              <a:gd name="T0" fmla="*/ 89 w 969"/>
              <a:gd name="T1" fmla="*/ 194 h 515"/>
              <a:gd name="T2" fmla="*/ 116 w 969"/>
              <a:gd name="T3" fmla="*/ 128 h 515"/>
              <a:gd name="T4" fmla="*/ 17 w 969"/>
              <a:gd name="T5" fmla="*/ 29 h 515"/>
              <a:gd name="T6" fmla="*/ 162 w 969"/>
              <a:gd name="T7" fmla="*/ 64 h 515"/>
              <a:gd name="T8" fmla="*/ 35 w 969"/>
              <a:gd name="T9" fmla="*/ 57 h 515"/>
              <a:gd name="T10" fmla="*/ 168 w 969"/>
              <a:gd name="T11" fmla="*/ 156 h 515"/>
              <a:gd name="T12" fmla="*/ 11 w 969"/>
              <a:gd name="T13" fmla="*/ 186 h 515"/>
              <a:gd name="T14" fmla="*/ 159 w 969"/>
              <a:gd name="T15" fmla="*/ 306 h 515"/>
              <a:gd name="T16" fmla="*/ 191 w 969"/>
              <a:gd name="T17" fmla="*/ 418 h 515"/>
              <a:gd name="T18" fmla="*/ 122 w 969"/>
              <a:gd name="T19" fmla="*/ 511 h 515"/>
              <a:gd name="T20" fmla="*/ 158 w 969"/>
              <a:gd name="T21" fmla="*/ 376 h 515"/>
              <a:gd name="T22" fmla="*/ 69 w 969"/>
              <a:gd name="T23" fmla="*/ 324 h 515"/>
              <a:gd name="T24" fmla="*/ 157 w 969"/>
              <a:gd name="T25" fmla="*/ 480 h 515"/>
              <a:gd name="T26" fmla="*/ 118 w 969"/>
              <a:gd name="T27" fmla="*/ 414 h 515"/>
              <a:gd name="T28" fmla="*/ 288 w 969"/>
              <a:gd name="T29" fmla="*/ 515 h 515"/>
              <a:gd name="T30" fmla="*/ 236 w 969"/>
              <a:gd name="T31" fmla="*/ 358 h 515"/>
              <a:gd name="T32" fmla="*/ 293 w 969"/>
              <a:gd name="T33" fmla="*/ 492 h 515"/>
              <a:gd name="T34" fmla="*/ 360 w 969"/>
              <a:gd name="T35" fmla="*/ 358 h 515"/>
              <a:gd name="T36" fmla="*/ 400 w 969"/>
              <a:gd name="T37" fmla="*/ 300 h 515"/>
              <a:gd name="T38" fmla="*/ 516 w 969"/>
              <a:gd name="T39" fmla="*/ 376 h 515"/>
              <a:gd name="T40" fmla="*/ 425 w 969"/>
              <a:gd name="T41" fmla="*/ 492 h 515"/>
              <a:gd name="T42" fmla="*/ 494 w 969"/>
              <a:gd name="T43" fmla="*/ 479 h 515"/>
              <a:gd name="T44" fmla="*/ 424 w 969"/>
              <a:gd name="T45" fmla="*/ 434 h 515"/>
              <a:gd name="T46" fmla="*/ 591 w 969"/>
              <a:gd name="T47" fmla="*/ 375 h 515"/>
              <a:gd name="T48" fmla="*/ 698 w 969"/>
              <a:gd name="T49" fmla="*/ 432 h 515"/>
              <a:gd name="T50" fmla="*/ 589 w 969"/>
              <a:gd name="T51" fmla="*/ 434 h 515"/>
              <a:gd name="T52" fmla="*/ 659 w 969"/>
              <a:gd name="T53" fmla="*/ 390 h 515"/>
              <a:gd name="T54" fmla="*/ 729 w 969"/>
              <a:gd name="T55" fmla="*/ 300 h 515"/>
              <a:gd name="T56" fmla="*/ 927 w 969"/>
              <a:gd name="T57" fmla="*/ 465 h 515"/>
              <a:gd name="T58" fmla="*/ 807 w 969"/>
              <a:gd name="T59" fmla="*/ 376 h 515"/>
              <a:gd name="T60" fmla="*/ 813 w 969"/>
              <a:gd name="T61" fmla="*/ 441 h 515"/>
              <a:gd name="T62" fmla="*/ 815 w 969"/>
              <a:gd name="T63" fmla="*/ 420 h 515"/>
              <a:gd name="T64" fmla="*/ 815 w 969"/>
              <a:gd name="T65" fmla="*/ 420 h 515"/>
              <a:gd name="T66" fmla="*/ 246 w 969"/>
              <a:gd name="T67" fmla="*/ 65 h 515"/>
              <a:gd name="T68" fmla="*/ 328 w 969"/>
              <a:gd name="T69" fmla="*/ 180 h 515"/>
              <a:gd name="T70" fmla="*/ 229 w 969"/>
              <a:gd name="T71" fmla="*/ 275 h 515"/>
              <a:gd name="T72" fmla="*/ 297 w 969"/>
              <a:gd name="T73" fmla="*/ 183 h 515"/>
              <a:gd name="T74" fmla="*/ 227 w 969"/>
              <a:gd name="T75" fmla="*/ 140 h 515"/>
              <a:gd name="T76" fmla="*/ 379 w 969"/>
              <a:gd name="T77" fmla="*/ 198 h 515"/>
              <a:gd name="T78" fmla="*/ 500 w 969"/>
              <a:gd name="T79" fmla="*/ 139 h 515"/>
              <a:gd name="T80" fmla="*/ 456 w 969"/>
              <a:gd name="T81" fmla="*/ 190 h 515"/>
              <a:gd name="T82" fmla="*/ 431 w 969"/>
              <a:gd name="T83" fmla="*/ 80 h 515"/>
              <a:gd name="T84" fmla="*/ 640 w 969"/>
              <a:gd name="T85" fmla="*/ 206 h 515"/>
              <a:gd name="T86" fmla="*/ 595 w 969"/>
              <a:gd name="T87" fmla="*/ 59 h 515"/>
              <a:gd name="T88" fmla="*/ 564 w 969"/>
              <a:gd name="T89" fmla="*/ 184 h 515"/>
              <a:gd name="T90" fmla="*/ 637 w 969"/>
              <a:gd name="T91" fmla="*/ 124 h 515"/>
              <a:gd name="T92" fmla="*/ 797 w 969"/>
              <a:gd name="T93" fmla="*/ 159 h 515"/>
              <a:gd name="T94" fmla="*/ 689 w 969"/>
              <a:gd name="T95" fmla="*/ 139 h 515"/>
              <a:gd name="T96" fmla="*/ 820 w 969"/>
              <a:gd name="T97" fmla="*/ 107 h 515"/>
              <a:gd name="T98" fmla="*/ 716 w 969"/>
              <a:gd name="T99" fmla="*/ 139 h 515"/>
              <a:gd name="T100" fmla="*/ 844 w 969"/>
              <a:gd name="T101" fmla="*/ 216 h 515"/>
              <a:gd name="T102" fmla="*/ 946 w 969"/>
              <a:gd name="T103" fmla="*/ 66 h 515"/>
              <a:gd name="T104" fmla="*/ 943 w 969"/>
              <a:gd name="T105" fmla="*/ 119 h 515"/>
              <a:gd name="T106" fmla="*/ 871 w 969"/>
              <a:gd name="T107" fmla="*/ 132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969" h="515">
                <a:moveTo>
                  <a:pt x="0" y="148"/>
                </a:moveTo>
                <a:lnTo>
                  <a:pt x="26" y="145"/>
                </a:lnTo>
                <a:cubicBezTo>
                  <a:pt x="27" y="156"/>
                  <a:pt x="30" y="165"/>
                  <a:pt x="35" y="171"/>
                </a:cubicBezTo>
                <a:cubicBezTo>
                  <a:pt x="39" y="178"/>
                  <a:pt x="47" y="184"/>
                  <a:pt x="56" y="188"/>
                </a:cubicBezTo>
                <a:cubicBezTo>
                  <a:pt x="66" y="192"/>
                  <a:pt x="77" y="194"/>
                  <a:pt x="89" y="194"/>
                </a:cubicBezTo>
                <a:cubicBezTo>
                  <a:pt x="99" y="194"/>
                  <a:pt x="109" y="193"/>
                  <a:pt x="117" y="190"/>
                </a:cubicBezTo>
                <a:cubicBezTo>
                  <a:pt x="125" y="186"/>
                  <a:pt x="131" y="182"/>
                  <a:pt x="135" y="176"/>
                </a:cubicBezTo>
                <a:cubicBezTo>
                  <a:pt x="139" y="171"/>
                  <a:pt x="141" y="165"/>
                  <a:pt x="141" y="158"/>
                </a:cubicBezTo>
                <a:cubicBezTo>
                  <a:pt x="141" y="152"/>
                  <a:pt x="139" y="146"/>
                  <a:pt x="135" y="141"/>
                </a:cubicBezTo>
                <a:cubicBezTo>
                  <a:pt x="132" y="136"/>
                  <a:pt x="125" y="132"/>
                  <a:pt x="116" y="128"/>
                </a:cubicBezTo>
                <a:cubicBezTo>
                  <a:pt x="111" y="126"/>
                  <a:pt x="98" y="123"/>
                  <a:pt x="79" y="118"/>
                </a:cubicBezTo>
                <a:cubicBezTo>
                  <a:pt x="59" y="113"/>
                  <a:pt x="46" y="109"/>
                  <a:pt x="38" y="105"/>
                </a:cubicBezTo>
                <a:cubicBezTo>
                  <a:pt x="28" y="100"/>
                  <a:pt x="20" y="93"/>
                  <a:pt x="15" y="85"/>
                </a:cubicBezTo>
                <a:cubicBezTo>
                  <a:pt x="10" y="77"/>
                  <a:pt x="8" y="68"/>
                  <a:pt x="8" y="59"/>
                </a:cubicBezTo>
                <a:cubicBezTo>
                  <a:pt x="8" y="48"/>
                  <a:pt x="11" y="38"/>
                  <a:pt x="17" y="29"/>
                </a:cubicBezTo>
                <a:cubicBezTo>
                  <a:pt x="23" y="19"/>
                  <a:pt x="32" y="12"/>
                  <a:pt x="43" y="8"/>
                </a:cubicBezTo>
                <a:cubicBezTo>
                  <a:pt x="55" y="3"/>
                  <a:pt x="68" y="0"/>
                  <a:pt x="82" y="0"/>
                </a:cubicBezTo>
                <a:cubicBezTo>
                  <a:pt x="98" y="0"/>
                  <a:pt x="112" y="3"/>
                  <a:pt x="124" y="8"/>
                </a:cubicBezTo>
                <a:cubicBezTo>
                  <a:pt x="136" y="13"/>
                  <a:pt x="145" y="20"/>
                  <a:pt x="151" y="30"/>
                </a:cubicBezTo>
                <a:cubicBezTo>
                  <a:pt x="158" y="40"/>
                  <a:pt x="161" y="51"/>
                  <a:pt x="162" y="64"/>
                </a:cubicBezTo>
                <a:lnTo>
                  <a:pt x="135" y="66"/>
                </a:lnTo>
                <a:cubicBezTo>
                  <a:pt x="134" y="52"/>
                  <a:pt x="129" y="42"/>
                  <a:pt x="120" y="35"/>
                </a:cubicBezTo>
                <a:cubicBezTo>
                  <a:pt x="112" y="29"/>
                  <a:pt x="100" y="25"/>
                  <a:pt x="83" y="25"/>
                </a:cubicBezTo>
                <a:cubicBezTo>
                  <a:pt x="66" y="25"/>
                  <a:pt x="54" y="28"/>
                  <a:pt x="46" y="34"/>
                </a:cubicBezTo>
                <a:cubicBezTo>
                  <a:pt x="39" y="41"/>
                  <a:pt x="35" y="48"/>
                  <a:pt x="35" y="57"/>
                </a:cubicBezTo>
                <a:cubicBezTo>
                  <a:pt x="35" y="65"/>
                  <a:pt x="37" y="71"/>
                  <a:pt x="43" y="76"/>
                </a:cubicBezTo>
                <a:cubicBezTo>
                  <a:pt x="48" y="81"/>
                  <a:pt x="62" y="86"/>
                  <a:pt x="85" y="91"/>
                </a:cubicBezTo>
                <a:cubicBezTo>
                  <a:pt x="108" y="96"/>
                  <a:pt x="124" y="100"/>
                  <a:pt x="132" y="104"/>
                </a:cubicBezTo>
                <a:cubicBezTo>
                  <a:pt x="144" y="110"/>
                  <a:pt x="153" y="117"/>
                  <a:pt x="159" y="126"/>
                </a:cubicBezTo>
                <a:cubicBezTo>
                  <a:pt x="165" y="135"/>
                  <a:pt x="168" y="145"/>
                  <a:pt x="168" y="156"/>
                </a:cubicBezTo>
                <a:cubicBezTo>
                  <a:pt x="168" y="167"/>
                  <a:pt x="165" y="178"/>
                  <a:pt x="158" y="188"/>
                </a:cubicBezTo>
                <a:cubicBezTo>
                  <a:pt x="152" y="198"/>
                  <a:pt x="143" y="205"/>
                  <a:pt x="131" y="211"/>
                </a:cubicBezTo>
                <a:cubicBezTo>
                  <a:pt x="119" y="216"/>
                  <a:pt x="105" y="219"/>
                  <a:pt x="90" y="219"/>
                </a:cubicBezTo>
                <a:cubicBezTo>
                  <a:pt x="71" y="219"/>
                  <a:pt x="55" y="216"/>
                  <a:pt x="42" y="211"/>
                </a:cubicBezTo>
                <a:cubicBezTo>
                  <a:pt x="29" y="205"/>
                  <a:pt x="19" y="197"/>
                  <a:pt x="11" y="186"/>
                </a:cubicBezTo>
                <a:cubicBezTo>
                  <a:pt x="4" y="174"/>
                  <a:pt x="0" y="162"/>
                  <a:pt x="0" y="148"/>
                </a:cubicBezTo>
                <a:close/>
                <a:moveTo>
                  <a:pt x="41" y="511"/>
                </a:moveTo>
                <a:lnTo>
                  <a:pt x="41" y="300"/>
                </a:lnTo>
                <a:lnTo>
                  <a:pt x="120" y="300"/>
                </a:lnTo>
                <a:cubicBezTo>
                  <a:pt x="137" y="300"/>
                  <a:pt x="150" y="302"/>
                  <a:pt x="159" y="306"/>
                </a:cubicBezTo>
                <a:cubicBezTo>
                  <a:pt x="169" y="310"/>
                  <a:pt x="177" y="317"/>
                  <a:pt x="182" y="326"/>
                </a:cubicBezTo>
                <a:cubicBezTo>
                  <a:pt x="188" y="335"/>
                  <a:pt x="191" y="344"/>
                  <a:pt x="191" y="354"/>
                </a:cubicBezTo>
                <a:cubicBezTo>
                  <a:pt x="191" y="363"/>
                  <a:pt x="188" y="371"/>
                  <a:pt x="183" y="379"/>
                </a:cubicBezTo>
                <a:cubicBezTo>
                  <a:pt x="178" y="387"/>
                  <a:pt x="171" y="394"/>
                  <a:pt x="161" y="399"/>
                </a:cubicBezTo>
                <a:cubicBezTo>
                  <a:pt x="174" y="402"/>
                  <a:pt x="184" y="409"/>
                  <a:pt x="191" y="418"/>
                </a:cubicBezTo>
                <a:cubicBezTo>
                  <a:pt x="197" y="427"/>
                  <a:pt x="201" y="438"/>
                  <a:pt x="201" y="450"/>
                </a:cubicBezTo>
                <a:cubicBezTo>
                  <a:pt x="201" y="460"/>
                  <a:pt x="199" y="469"/>
                  <a:pt x="195" y="478"/>
                </a:cubicBezTo>
                <a:cubicBezTo>
                  <a:pt x="190" y="486"/>
                  <a:pt x="185" y="493"/>
                  <a:pt x="179" y="497"/>
                </a:cubicBezTo>
                <a:cubicBezTo>
                  <a:pt x="173" y="502"/>
                  <a:pt x="165" y="506"/>
                  <a:pt x="156" y="508"/>
                </a:cubicBezTo>
                <a:cubicBezTo>
                  <a:pt x="147" y="510"/>
                  <a:pt x="135" y="511"/>
                  <a:pt x="122" y="511"/>
                </a:cubicBezTo>
                <a:lnTo>
                  <a:pt x="41" y="511"/>
                </a:lnTo>
                <a:close/>
                <a:moveTo>
                  <a:pt x="69" y="389"/>
                </a:moveTo>
                <a:lnTo>
                  <a:pt x="115" y="389"/>
                </a:lnTo>
                <a:cubicBezTo>
                  <a:pt x="127" y="389"/>
                  <a:pt x="136" y="388"/>
                  <a:pt x="142" y="386"/>
                </a:cubicBezTo>
                <a:cubicBezTo>
                  <a:pt x="149" y="384"/>
                  <a:pt x="154" y="381"/>
                  <a:pt x="158" y="376"/>
                </a:cubicBezTo>
                <a:cubicBezTo>
                  <a:pt x="161" y="371"/>
                  <a:pt x="163" y="365"/>
                  <a:pt x="163" y="357"/>
                </a:cubicBezTo>
                <a:cubicBezTo>
                  <a:pt x="163" y="350"/>
                  <a:pt x="161" y="344"/>
                  <a:pt x="158" y="338"/>
                </a:cubicBezTo>
                <a:cubicBezTo>
                  <a:pt x="155" y="333"/>
                  <a:pt x="150" y="329"/>
                  <a:pt x="144" y="327"/>
                </a:cubicBezTo>
                <a:cubicBezTo>
                  <a:pt x="137" y="325"/>
                  <a:pt x="127" y="324"/>
                  <a:pt x="111" y="324"/>
                </a:cubicBezTo>
                <a:lnTo>
                  <a:pt x="69" y="324"/>
                </a:lnTo>
                <a:lnTo>
                  <a:pt x="69" y="389"/>
                </a:lnTo>
                <a:close/>
                <a:moveTo>
                  <a:pt x="69" y="487"/>
                </a:moveTo>
                <a:lnTo>
                  <a:pt x="122" y="487"/>
                </a:lnTo>
                <a:cubicBezTo>
                  <a:pt x="131" y="487"/>
                  <a:pt x="137" y="486"/>
                  <a:pt x="141" y="486"/>
                </a:cubicBezTo>
                <a:cubicBezTo>
                  <a:pt x="147" y="484"/>
                  <a:pt x="153" y="483"/>
                  <a:pt x="157" y="480"/>
                </a:cubicBezTo>
                <a:cubicBezTo>
                  <a:pt x="161" y="477"/>
                  <a:pt x="165" y="473"/>
                  <a:pt x="168" y="468"/>
                </a:cubicBezTo>
                <a:cubicBezTo>
                  <a:pt x="171" y="463"/>
                  <a:pt x="172" y="457"/>
                  <a:pt x="172" y="450"/>
                </a:cubicBezTo>
                <a:cubicBezTo>
                  <a:pt x="172" y="442"/>
                  <a:pt x="170" y="435"/>
                  <a:pt x="166" y="429"/>
                </a:cubicBezTo>
                <a:cubicBezTo>
                  <a:pt x="162" y="424"/>
                  <a:pt x="156" y="419"/>
                  <a:pt x="149" y="417"/>
                </a:cubicBezTo>
                <a:cubicBezTo>
                  <a:pt x="142" y="415"/>
                  <a:pt x="131" y="414"/>
                  <a:pt x="118" y="414"/>
                </a:cubicBezTo>
                <a:lnTo>
                  <a:pt x="69" y="414"/>
                </a:lnTo>
                <a:lnTo>
                  <a:pt x="69" y="487"/>
                </a:lnTo>
                <a:close/>
                <a:moveTo>
                  <a:pt x="336" y="511"/>
                </a:moveTo>
                <a:lnTo>
                  <a:pt x="336" y="489"/>
                </a:lnTo>
                <a:cubicBezTo>
                  <a:pt x="324" y="506"/>
                  <a:pt x="308" y="515"/>
                  <a:pt x="288" y="515"/>
                </a:cubicBezTo>
                <a:cubicBezTo>
                  <a:pt x="279" y="515"/>
                  <a:pt x="270" y="513"/>
                  <a:pt x="263" y="510"/>
                </a:cubicBezTo>
                <a:cubicBezTo>
                  <a:pt x="255" y="506"/>
                  <a:pt x="249" y="502"/>
                  <a:pt x="245" y="496"/>
                </a:cubicBezTo>
                <a:cubicBezTo>
                  <a:pt x="241" y="491"/>
                  <a:pt x="239" y="485"/>
                  <a:pt x="237" y="477"/>
                </a:cubicBezTo>
                <a:cubicBezTo>
                  <a:pt x="236" y="472"/>
                  <a:pt x="236" y="464"/>
                  <a:pt x="236" y="453"/>
                </a:cubicBezTo>
                <a:lnTo>
                  <a:pt x="236" y="358"/>
                </a:lnTo>
                <a:lnTo>
                  <a:pt x="262" y="358"/>
                </a:lnTo>
                <a:lnTo>
                  <a:pt x="262" y="443"/>
                </a:lnTo>
                <a:cubicBezTo>
                  <a:pt x="262" y="456"/>
                  <a:pt x="262" y="466"/>
                  <a:pt x="263" y="470"/>
                </a:cubicBezTo>
                <a:cubicBezTo>
                  <a:pt x="265" y="477"/>
                  <a:pt x="268" y="482"/>
                  <a:pt x="274" y="486"/>
                </a:cubicBezTo>
                <a:cubicBezTo>
                  <a:pt x="279" y="490"/>
                  <a:pt x="285" y="492"/>
                  <a:pt x="293" y="492"/>
                </a:cubicBezTo>
                <a:cubicBezTo>
                  <a:pt x="301" y="492"/>
                  <a:pt x="308" y="490"/>
                  <a:pt x="315" y="486"/>
                </a:cubicBezTo>
                <a:cubicBezTo>
                  <a:pt x="322" y="482"/>
                  <a:pt x="327" y="477"/>
                  <a:pt x="330" y="470"/>
                </a:cubicBezTo>
                <a:cubicBezTo>
                  <a:pt x="332" y="463"/>
                  <a:pt x="334" y="453"/>
                  <a:pt x="334" y="440"/>
                </a:cubicBezTo>
                <a:lnTo>
                  <a:pt x="334" y="358"/>
                </a:lnTo>
                <a:lnTo>
                  <a:pt x="360" y="358"/>
                </a:lnTo>
                <a:lnTo>
                  <a:pt x="360" y="511"/>
                </a:lnTo>
                <a:lnTo>
                  <a:pt x="336" y="511"/>
                </a:lnTo>
                <a:close/>
                <a:moveTo>
                  <a:pt x="425" y="511"/>
                </a:moveTo>
                <a:lnTo>
                  <a:pt x="400" y="511"/>
                </a:lnTo>
                <a:lnTo>
                  <a:pt x="400" y="300"/>
                </a:lnTo>
                <a:lnTo>
                  <a:pt x="426" y="300"/>
                </a:lnTo>
                <a:lnTo>
                  <a:pt x="426" y="375"/>
                </a:lnTo>
                <a:cubicBezTo>
                  <a:pt x="437" y="362"/>
                  <a:pt x="451" y="355"/>
                  <a:pt x="468" y="355"/>
                </a:cubicBezTo>
                <a:cubicBezTo>
                  <a:pt x="478" y="355"/>
                  <a:pt x="487" y="357"/>
                  <a:pt x="495" y="360"/>
                </a:cubicBezTo>
                <a:cubicBezTo>
                  <a:pt x="504" y="364"/>
                  <a:pt x="511" y="370"/>
                  <a:pt x="516" y="376"/>
                </a:cubicBezTo>
                <a:cubicBezTo>
                  <a:pt x="521" y="383"/>
                  <a:pt x="526" y="392"/>
                  <a:pt x="529" y="401"/>
                </a:cubicBezTo>
                <a:cubicBezTo>
                  <a:pt x="532" y="411"/>
                  <a:pt x="533" y="421"/>
                  <a:pt x="533" y="432"/>
                </a:cubicBezTo>
                <a:cubicBezTo>
                  <a:pt x="533" y="459"/>
                  <a:pt x="527" y="479"/>
                  <a:pt x="514" y="493"/>
                </a:cubicBezTo>
                <a:cubicBezTo>
                  <a:pt x="501" y="508"/>
                  <a:pt x="485" y="515"/>
                  <a:pt x="467" y="515"/>
                </a:cubicBezTo>
                <a:cubicBezTo>
                  <a:pt x="449" y="515"/>
                  <a:pt x="435" y="507"/>
                  <a:pt x="425" y="492"/>
                </a:cubicBezTo>
                <a:lnTo>
                  <a:pt x="425" y="511"/>
                </a:lnTo>
                <a:close/>
                <a:moveTo>
                  <a:pt x="424" y="434"/>
                </a:moveTo>
                <a:cubicBezTo>
                  <a:pt x="424" y="452"/>
                  <a:pt x="427" y="465"/>
                  <a:pt x="432" y="473"/>
                </a:cubicBezTo>
                <a:cubicBezTo>
                  <a:pt x="440" y="487"/>
                  <a:pt x="451" y="493"/>
                  <a:pt x="465" y="493"/>
                </a:cubicBezTo>
                <a:cubicBezTo>
                  <a:pt x="476" y="493"/>
                  <a:pt x="486" y="488"/>
                  <a:pt x="494" y="479"/>
                </a:cubicBezTo>
                <a:cubicBezTo>
                  <a:pt x="503" y="469"/>
                  <a:pt x="507" y="454"/>
                  <a:pt x="507" y="435"/>
                </a:cubicBezTo>
                <a:cubicBezTo>
                  <a:pt x="507" y="415"/>
                  <a:pt x="503" y="400"/>
                  <a:pt x="495" y="390"/>
                </a:cubicBezTo>
                <a:cubicBezTo>
                  <a:pt x="487" y="381"/>
                  <a:pt x="477" y="376"/>
                  <a:pt x="466" y="376"/>
                </a:cubicBezTo>
                <a:cubicBezTo>
                  <a:pt x="455" y="376"/>
                  <a:pt x="445" y="381"/>
                  <a:pt x="437" y="391"/>
                </a:cubicBezTo>
                <a:cubicBezTo>
                  <a:pt x="428" y="401"/>
                  <a:pt x="424" y="415"/>
                  <a:pt x="424" y="434"/>
                </a:cubicBezTo>
                <a:close/>
                <a:moveTo>
                  <a:pt x="589" y="511"/>
                </a:moveTo>
                <a:lnTo>
                  <a:pt x="565" y="511"/>
                </a:lnTo>
                <a:lnTo>
                  <a:pt x="565" y="300"/>
                </a:lnTo>
                <a:lnTo>
                  <a:pt x="591" y="300"/>
                </a:lnTo>
                <a:lnTo>
                  <a:pt x="591" y="375"/>
                </a:lnTo>
                <a:cubicBezTo>
                  <a:pt x="602" y="362"/>
                  <a:pt x="616" y="355"/>
                  <a:pt x="633" y="355"/>
                </a:cubicBezTo>
                <a:cubicBezTo>
                  <a:pt x="642" y="355"/>
                  <a:pt x="651" y="357"/>
                  <a:pt x="660" y="360"/>
                </a:cubicBezTo>
                <a:cubicBezTo>
                  <a:pt x="668" y="364"/>
                  <a:pt x="675" y="370"/>
                  <a:pt x="681" y="376"/>
                </a:cubicBezTo>
                <a:cubicBezTo>
                  <a:pt x="686" y="383"/>
                  <a:pt x="690" y="392"/>
                  <a:pt x="693" y="401"/>
                </a:cubicBezTo>
                <a:cubicBezTo>
                  <a:pt x="696" y="411"/>
                  <a:pt x="698" y="421"/>
                  <a:pt x="698" y="432"/>
                </a:cubicBezTo>
                <a:cubicBezTo>
                  <a:pt x="698" y="459"/>
                  <a:pt x="691" y="479"/>
                  <a:pt x="679" y="493"/>
                </a:cubicBezTo>
                <a:cubicBezTo>
                  <a:pt x="665" y="508"/>
                  <a:pt x="650" y="515"/>
                  <a:pt x="632" y="515"/>
                </a:cubicBezTo>
                <a:cubicBezTo>
                  <a:pt x="614" y="515"/>
                  <a:pt x="599" y="507"/>
                  <a:pt x="589" y="492"/>
                </a:cubicBezTo>
                <a:lnTo>
                  <a:pt x="589" y="511"/>
                </a:lnTo>
                <a:close/>
                <a:moveTo>
                  <a:pt x="589" y="434"/>
                </a:moveTo>
                <a:cubicBezTo>
                  <a:pt x="589" y="452"/>
                  <a:pt x="591" y="465"/>
                  <a:pt x="596" y="473"/>
                </a:cubicBezTo>
                <a:cubicBezTo>
                  <a:pt x="605" y="487"/>
                  <a:pt x="616" y="493"/>
                  <a:pt x="630" y="493"/>
                </a:cubicBezTo>
                <a:cubicBezTo>
                  <a:pt x="641" y="493"/>
                  <a:pt x="651" y="488"/>
                  <a:pt x="659" y="479"/>
                </a:cubicBezTo>
                <a:cubicBezTo>
                  <a:pt x="667" y="469"/>
                  <a:pt x="671" y="454"/>
                  <a:pt x="671" y="435"/>
                </a:cubicBezTo>
                <a:cubicBezTo>
                  <a:pt x="671" y="415"/>
                  <a:pt x="667" y="400"/>
                  <a:pt x="659" y="390"/>
                </a:cubicBezTo>
                <a:cubicBezTo>
                  <a:pt x="652" y="381"/>
                  <a:pt x="642" y="376"/>
                  <a:pt x="631" y="376"/>
                </a:cubicBezTo>
                <a:cubicBezTo>
                  <a:pt x="619" y="376"/>
                  <a:pt x="609" y="381"/>
                  <a:pt x="601" y="391"/>
                </a:cubicBezTo>
                <a:cubicBezTo>
                  <a:pt x="593" y="401"/>
                  <a:pt x="589" y="415"/>
                  <a:pt x="589" y="434"/>
                </a:cubicBezTo>
                <a:close/>
                <a:moveTo>
                  <a:pt x="729" y="511"/>
                </a:moveTo>
                <a:lnTo>
                  <a:pt x="729" y="300"/>
                </a:lnTo>
                <a:lnTo>
                  <a:pt x="755" y="300"/>
                </a:lnTo>
                <a:lnTo>
                  <a:pt x="755" y="511"/>
                </a:lnTo>
                <a:lnTo>
                  <a:pt x="729" y="511"/>
                </a:lnTo>
                <a:close/>
                <a:moveTo>
                  <a:pt x="900" y="462"/>
                </a:moveTo>
                <a:lnTo>
                  <a:pt x="927" y="465"/>
                </a:lnTo>
                <a:cubicBezTo>
                  <a:pt x="923" y="481"/>
                  <a:pt x="915" y="493"/>
                  <a:pt x="904" y="502"/>
                </a:cubicBezTo>
                <a:cubicBezTo>
                  <a:pt x="892" y="510"/>
                  <a:pt x="878" y="515"/>
                  <a:pt x="860" y="515"/>
                </a:cubicBezTo>
                <a:cubicBezTo>
                  <a:pt x="837" y="515"/>
                  <a:pt x="820" y="508"/>
                  <a:pt x="807" y="494"/>
                </a:cubicBezTo>
                <a:cubicBezTo>
                  <a:pt x="793" y="480"/>
                  <a:pt x="787" y="461"/>
                  <a:pt x="787" y="436"/>
                </a:cubicBezTo>
                <a:cubicBezTo>
                  <a:pt x="787" y="410"/>
                  <a:pt x="793" y="390"/>
                  <a:pt x="807" y="376"/>
                </a:cubicBezTo>
                <a:cubicBezTo>
                  <a:pt x="820" y="362"/>
                  <a:pt x="837" y="355"/>
                  <a:pt x="858" y="355"/>
                </a:cubicBezTo>
                <a:cubicBezTo>
                  <a:pt x="879" y="355"/>
                  <a:pt x="895" y="362"/>
                  <a:pt x="908" y="376"/>
                </a:cubicBezTo>
                <a:cubicBezTo>
                  <a:pt x="921" y="390"/>
                  <a:pt x="928" y="409"/>
                  <a:pt x="928" y="434"/>
                </a:cubicBezTo>
                <a:cubicBezTo>
                  <a:pt x="928" y="436"/>
                  <a:pt x="928" y="438"/>
                  <a:pt x="928" y="441"/>
                </a:cubicBezTo>
                <a:lnTo>
                  <a:pt x="813" y="441"/>
                </a:lnTo>
                <a:cubicBezTo>
                  <a:pt x="814" y="458"/>
                  <a:pt x="819" y="471"/>
                  <a:pt x="828" y="480"/>
                </a:cubicBezTo>
                <a:cubicBezTo>
                  <a:pt x="836" y="489"/>
                  <a:pt x="847" y="493"/>
                  <a:pt x="860" y="493"/>
                </a:cubicBezTo>
                <a:cubicBezTo>
                  <a:pt x="869" y="493"/>
                  <a:pt x="877" y="491"/>
                  <a:pt x="884" y="486"/>
                </a:cubicBezTo>
                <a:cubicBezTo>
                  <a:pt x="891" y="481"/>
                  <a:pt x="896" y="473"/>
                  <a:pt x="900" y="462"/>
                </a:cubicBezTo>
                <a:close/>
                <a:moveTo>
                  <a:pt x="815" y="420"/>
                </a:moveTo>
                <a:lnTo>
                  <a:pt x="900" y="420"/>
                </a:lnTo>
                <a:cubicBezTo>
                  <a:pt x="899" y="407"/>
                  <a:pt x="896" y="397"/>
                  <a:pt x="891" y="391"/>
                </a:cubicBezTo>
                <a:cubicBezTo>
                  <a:pt x="882" y="381"/>
                  <a:pt x="872" y="376"/>
                  <a:pt x="858" y="376"/>
                </a:cubicBezTo>
                <a:cubicBezTo>
                  <a:pt x="847" y="376"/>
                  <a:pt x="837" y="380"/>
                  <a:pt x="828" y="388"/>
                </a:cubicBezTo>
                <a:cubicBezTo>
                  <a:pt x="820" y="396"/>
                  <a:pt x="816" y="407"/>
                  <a:pt x="815" y="420"/>
                </a:cubicBezTo>
                <a:close/>
                <a:moveTo>
                  <a:pt x="203" y="275"/>
                </a:moveTo>
                <a:lnTo>
                  <a:pt x="203" y="62"/>
                </a:lnTo>
                <a:lnTo>
                  <a:pt x="227" y="62"/>
                </a:lnTo>
                <a:lnTo>
                  <a:pt x="227" y="82"/>
                </a:lnTo>
                <a:cubicBezTo>
                  <a:pt x="232" y="74"/>
                  <a:pt x="239" y="69"/>
                  <a:pt x="246" y="65"/>
                </a:cubicBezTo>
                <a:cubicBezTo>
                  <a:pt x="253" y="61"/>
                  <a:pt x="261" y="59"/>
                  <a:pt x="271" y="59"/>
                </a:cubicBezTo>
                <a:cubicBezTo>
                  <a:pt x="284" y="59"/>
                  <a:pt x="296" y="62"/>
                  <a:pt x="306" y="69"/>
                </a:cubicBezTo>
                <a:cubicBezTo>
                  <a:pt x="316" y="76"/>
                  <a:pt x="323" y="85"/>
                  <a:pt x="328" y="97"/>
                </a:cubicBezTo>
                <a:cubicBezTo>
                  <a:pt x="334" y="110"/>
                  <a:pt x="336" y="123"/>
                  <a:pt x="336" y="138"/>
                </a:cubicBezTo>
                <a:cubicBezTo>
                  <a:pt x="336" y="153"/>
                  <a:pt x="333" y="167"/>
                  <a:pt x="328" y="180"/>
                </a:cubicBezTo>
                <a:cubicBezTo>
                  <a:pt x="322" y="193"/>
                  <a:pt x="314" y="202"/>
                  <a:pt x="303" y="209"/>
                </a:cubicBezTo>
                <a:cubicBezTo>
                  <a:pt x="292" y="216"/>
                  <a:pt x="281" y="219"/>
                  <a:pt x="269" y="219"/>
                </a:cubicBezTo>
                <a:cubicBezTo>
                  <a:pt x="261" y="219"/>
                  <a:pt x="253" y="217"/>
                  <a:pt x="246" y="213"/>
                </a:cubicBezTo>
                <a:cubicBezTo>
                  <a:pt x="239" y="210"/>
                  <a:pt x="233" y="205"/>
                  <a:pt x="229" y="200"/>
                </a:cubicBezTo>
                <a:lnTo>
                  <a:pt x="229" y="275"/>
                </a:lnTo>
                <a:lnTo>
                  <a:pt x="203" y="275"/>
                </a:lnTo>
                <a:close/>
                <a:moveTo>
                  <a:pt x="227" y="140"/>
                </a:moveTo>
                <a:cubicBezTo>
                  <a:pt x="227" y="159"/>
                  <a:pt x="231" y="174"/>
                  <a:pt x="239" y="183"/>
                </a:cubicBezTo>
                <a:cubicBezTo>
                  <a:pt x="247" y="193"/>
                  <a:pt x="256" y="198"/>
                  <a:pt x="268" y="198"/>
                </a:cubicBezTo>
                <a:cubicBezTo>
                  <a:pt x="279" y="198"/>
                  <a:pt x="289" y="193"/>
                  <a:pt x="297" y="183"/>
                </a:cubicBezTo>
                <a:cubicBezTo>
                  <a:pt x="305" y="173"/>
                  <a:pt x="310" y="158"/>
                  <a:pt x="310" y="138"/>
                </a:cubicBezTo>
                <a:cubicBezTo>
                  <a:pt x="310" y="118"/>
                  <a:pt x="306" y="104"/>
                  <a:pt x="297" y="94"/>
                </a:cubicBezTo>
                <a:cubicBezTo>
                  <a:pt x="289" y="84"/>
                  <a:pt x="280" y="79"/>
                  <a:pt x="269" y="79"/>
                </a:cubicBezTo>
                <a:cubicBezTo>
                  <a:pt x="258" y="79"/>
                  <a:pt x="248" y="84"/>
                  <a:pt x="239" y="95"/>
                </a:cubicBezTo>
                <a:cubicBezTo>
                  <a:pt x="231" y="105"/>
                  <a:pt x="227" y="120"/>
                  <a:pt x="227" y="140"/>
                </a:cubicBezTo>
                <a:close/>
                <a:moveTo>
                  <a:pt x="472" y="166"/>
                </a:moveTo>
                <a:lnTo>
                  <a:pt x="499" y="169"/>
                </a:lnTo>
                <a:cubicBezTo>
                  <a:pt x="495" y="185"/>
                  <a:pt x="487" y="197"/>
                  <a:pt x="476" y="206"/>
                </a:cubicBezTo>
                <a:cubicBezTo>
                  <a:pt x="464" y="215"/>
                  <a:pt x="450" y="219"/>
                  <a:pt x="432" y="219"/>
                </a:cubicBezTo>
                <a:cubicBezTo>
                  <a:pt x="409" y="219"/>
                  <a:pt x="392" y="212"/>
                  <a:pt x="379" y="198"/>
                </a:cubicBezTo>
                <a:cubicBezTo>
                  <a:pt x="366" y="184"/>
                  <a:pt x="359" y="165"/>
                  <a:pt x="359" y="140"/>
                </a:cubicBezTo>
                <a:cubicBezTo>
                  <a:pt x="359" y="114"/>
                  <a:pt x="366" y="94"/>
                  <a:pt x="379" y="80"/>
                </a:cubicBezTo>
                <a:cubicBezTo>
                  <a:pt x="392" y="66"/>
                  <a:pt x="409" y="59"/>
                  <a:pt x="430" y="59"/>
                </a:cubicBezTo>
                <a:cubicBezTo>
                  <a:pt x="451" y="59"/>
                  <a:pt x="468" y="66"/>
                  <a:pt x="481" y="80"/>
                </a:cubicBezTo>
                <a:cubicBezTo>
                  <a:pt x="494" y="94"/>
                  <a:pt x="500" y="113"/>
                  <a:pt x="500" y="139"/>
                </a:cubicBezTo>
                <a:cubicBezTo>
                  <a:pt x="500" y="140"/>
                  <a:pt x="500" y="142"/>
                  <a:pt x="500" y="146"/>
                </a:cubicBezTo>
                <a:lnTo>
                  <a:pt x="386" y="146"/>
                </a:lnTo>
                <a:cubicBezTo>
                  <a:pt x="387" y="162"/>
                  <a:pt x="391" y="175"/>
                  <a:pt x="400" y="184"/>
                </a:cubicBezTo>
                <a:cubicBezTo>
                  <a:pt x="408" y="193"/>
                  <a:pt x="419" y="198"/>
                  <a:pt x="432" y="198"/>
                </a:cubicBezTo>
                <a:cubicBezTo>
                  <a:pt x="441" y="198"/>
                  <a:pt x="450" y="195"/>
                  <a:pt x="456" y="190"/>
                </a:cubicBezTo>
                <a:cubicBezTo>
                  <a:pt x="463" y="185"/>
                  <a:pt x="468" y="177"/>
                  <a:pt x="472" y="166"/>
                </a:cubicBezTo>
                <a:close/>
                <a:moveTo>
                  <a:pt x="387" y="124"/>
                </a:moveTo>
                <a:lnTo>
                  <a:pt x="473" y="124"/>
                </a:lnTo>
                <a:cubicBezTo>
                  <a:pt x="471" y="111"/>
                  <a:pt x="468" y="102"/>
                  <a:pt x="463" y="95"/>
                </a:cubicBezTo>
                <a:cubicBezTo>
                  <a:pt x="455" y="85"/>
                  <a:pt x="444" y="80"/>
                  <a:pt x="431" y="80"/>
                </a:cubicBezTo>
                <a:cubicBezTo>
                  <a:pt x="419" y="80"/>
                  <a:pt x="409" y="84"/>
                  <a:pt x="401" y="92"/>
                </a:cubicBezTo>
                <a:cubicBezTo>
                  <a:pt x="392" y="100"/>
                  <a:pt x="388" y="111"/>
                  <a:pt x="387" y="124"/>
                </a:cubicBezTo>
                <a:close/>
                <a:moveTo>
                  <a:pt x="637" y="166"/>
                </a:moveTo>
                <a:lnTo>
                  <a:pt x="664" y="169"/>
                </a:lnTo>
                <a:cubicBezTo>
                  <a:pt x="660" y="185"/>
                  <a:pt x="652" y="197"/>
                  <a:pt x="640" y="206"/>
                </a:cubicBezTo>
                <a:cubicBezTo>
                  <a:pt x="629" y="215"/>
                  <a:pt x="614" y="219"/>
                  <a:pt x="596" y="219"/>
                </a:cubicBezTo>
                <a:cubicBezTo>
                  <a:pt x="574" y="219"/>
                  <a:pt x="556" y="212"/>
                  <a:pt x="543" y="198"/>
                </a:cubicBezTo>
                <a:cubicBezTo>
                  <a:pt x="530" y="184"/>
                  <a:pt x="523" y="165"/>
                  <a:pt x="523" y="140"/>
                </a:cubicBezTo>
                <a:cubicBezTo>
                  <a:pt x="523" y="114"/>
                  <a:pt x="530" y="94"/>
                  <a:pt x="543" y="80"/>
                </a:cubicBezTo>
                <a:cubicBezTo>
                  <a:pt x="557" y="66"/>
                  <a:pt x="574" y="59"/>
                  <a:pt x="595" y="59"/>
                </a:cubicBezTo>
                <a:cubicBezTo>
                  <a:pt x="615" y="59"/>
                  <a:pt x="632" y="66"/>
                  <a:pt x="645" y="80"/>
                </a:cubicBezTo>
                <a:cubicBezTo>
                  <a:pt x="658" y="94"/>
                  <a:pt x="665" y="113"/>
                  <a:pt x="665" y="139"/>
                </a:cubicBezTo>
                <a:cubicBezTo>
                  <a:pt x="665" y="140"/>
                  <a:pt x="665" y="142"/>
                  <a:pt x="664" y="146"/>
                </a:cubicBezTo>
                <a:lnTo>
                  <a:pt x="550" y="146"/>
                </a:lnTo>
                <a:cubicBezTo>
                  <a:pt x="551" y="162"/>
                  <a:pt x="556" y="175"/>
                  <a:pt x="564" y="184"/>
                </a:cubicBezTo>
                <a:cubicBezTo>
                  <a:pt x="573" y="193"/>
                  <a:pt x="584" y="198"/>
                  <a:pt x="596" y="198"/>
                </a:cubicBezTo>
                <a:cubicBezTo>
                  <a:pt x="606" y="198"/>
                  <a:pt x="614" y="195"/>
                  <a:pt x="621" y="190"/>
                </a:cubicBezTo>
                <a:cubicBezTo>
                  <a:pt x="628" y="185"/>
                  <a:pt x="633" y="177"/>
                  <a:pt x="637" y="166"/>
                </a:cubicBezTo>
                <a:close/>
                <a:moveTo>
                  <a:pt x="552" y="124"/>
                </a:moveTo>
                <a:lnTo>
                  <a:pt x="637" y="124"/>
                </a:lnTo>
                <a:cubicBezTo>
                  <a:pt x="636" y="111"/>
                  <a:pt x="633" y="102"/>
                  <a:pt x="627" y="95"/>
                </a:cubicBezTo>
                <a:cubicBezTo>
                  <a:pt x="619" y="85"/>
                  <a:pt x="608" y="80"/>
                  <a:pt x="595" y="80"/>
                </a:cubicBezTo>
                <a:cubicBezTo>
                  <a:pt x="583" y="80"/>
                  <a:pt x="573" y="84"/>
                  <a:pt x="565" y="92"/>
                </a:cubicBezTo>
                <a:cubicBezTo>
                  <a:pt x="557" y="100"/>
                  <a:pt x="552" y="111"/>
                  <a:pt x="552" y="124"/>
                </a:cubicBezTo>
                <a:close/>
                <a:moveTo>
                  <a:pt x="797" y="159"/>
                </a:moveTo>
                <a:lnTo>
                  <a:pt x="822" y="163"/>
                </a:lnTo>
                <a:cubicBezTo>
                  <a:pt x="819" y="180"/>
                  <a:pt x="812" y="194"/>
                  <a:pt x="801" y="204"/>
                </a:cubicBezTo>
                <a:cubicBezTo>
                  <a:pt x="789" y="214"/>
                  <a:pt x="775" y="219"/>
                  <a:pt x="759" y="219"/>
                </a:cubicBezTo>
                <a:cubicBezTo>
                  <a:pt x="738" y="219"/>
                  <a:pt x="721" y="212"/>
                  <a:pt x="708" y="198"/>
                </a:cubicBezTo>
                <a:cubicBezTo>
                  <a:pt x="695" y="185"/>
                  <a:pt x="689" y="165"/>
                  <a:pt x="689" y="139"/>
                </a:cubicBezTo>
                <a:cubicBezTo>
                  <a:pt x="689" y="123"/>
                  <a:pt x="692" y="108"/>
                  <a:pt x="697" y="96"/>
                </a:cubicBezTo>
                <a:cubicBezTo>
                  <a:pt x="703" y="84"/>
                  <a:pt x="711" y="74"/>
                  <a:pt x="722" y="68"/>
                </a:cubicBezTo>
                <a:cubicBezTo>
                  <a:pt x="733" y="62"/>
                  <a:pt x="746" y="59"/>
                  <a:pt x="759" y="59"/>
                </a:cubicBezTo>
                <a:cubicBezTo>
                  <a:pt x="775" y="59"/>
                  <a:pt x="789" y="63"/>
                  <a:pt x="800" y="71"/>
                </a:cubicBezTo>
                <a:cubicBezTo>
                  <a:pt x="810" y="80"/>
                  <a:pt x="817" y="92"/>
                  <a:pt x="820" y="107"/>
                </a:cubicBezTo>
                <a:lnTo>
                  <a:pt x="795" y="111"/>
                </a:lnTo>
                <a:cubicBezTo>
                  <a:pt x="792" y="101"/>
                  <a:pt x="788" y="93"/>
                  <a:pt x="782" y="88"/>
                </a:cubicBezTo>
                <a:cubicBezTo>
                  <a:pt x="776" y="83"/>
                  <a:pt x="768" y="80"/>
                  <a:pt x="760" y="80"/>
                </a:cubicBezTo>
                <a:cubicBezTo>
                  <a:pt x="747" y="80"/>
                  <a:pt x="736" y="85"/>
                  <a:pt x="728" y="94"/>
                </a:cubicBezTo>
                <a:cubicBezTo>
                  <a:pt x="720" y="104"/>
                  <a:pt x="716" y="118"/>
                  <a:pt x="716" y="139"/>
                </a:cubicBezTo>
                <a:cubicBezTo>
                  <a:pt x="716" y="159"/>
                  <a:pt x="719" y="174"/>
                  <a:pt x="727" y="184"/>
                </a:cubicBezTo>
                <a:cubicBezTo>
                  <a:pt x="735" y="193"/>
                  <a:pt x="746" y="198"/>
                  <a:pt x="758" y="198"/>
                </a:cubicBezTo>
                <a:cubicBezTo>
                  <a:pt x="769" y="198"/>
                  <a:pt x="777" y="194"/>
                  <a:pt x="784" y="188"/>
                </a:cubicBezTo>
                <a:cubicBezTo>
                  <a:pt x="791" y="182"/>
                  <a:pt x="795" y="172"/>
                  <a:pt x="797" y="159"/>
                </a:cubicBezTo>
                <a:close/>
                <a:moveTo>
                  <a:pt x="844" y="216"/>
                </a:moveTo>
                <a:lnTo>
                  <a:pt x="844" y="4"/>
                </a:lnTo>
                <a:lnTo>
                  <a:pt x="871" y="4"/>
                </a:lnTo>
                <a:lnTo>
                  <a:pt x="871" y="80"/>
                </a:lnTo>
                <a:cubicBezTo>
                  <a:pt x="883" y="66"/>
                  <a:pt x="898" y="59"/>
                  <a:pt x="916" y="59"/>
                </a:cubicBezTo>
                <a:cubicBezTo>
                  <a:pt x="928" y="59"/>
                  <a:pt x="937" y="61"/>
                  <a:pt x="946" y="66"/>
                </a:cubicBezTo>
                <a:cubicBezTo>
                  <a:pt x="954" y="70"/>
                  <a:pt x="960" y="76"/>
                  <a:pt x="964" y="84"/>
                </a:cubicBezTo>
                <a:cubicBezTo>
                  <a:pt x="967" y="92"/>
                  <a:pt x="969" y="103"/>
                  <a:pt x="969" y="118"/>
                </a:cubicBezTo>
                <a:lnTo>
                  <a:pt x="969" y="216"/>
                </a:lnTo>
                <a:lnTo>
                  <a:pt x="943" y="216"/>
                </a:lnTo>
                <a:lnTo>
                  <a:pt x="943" y="119"/>
                </a:lnTo>
                <a:cubicBezTo>
                  <a:pt x="943" y="106"/>
                  <a:pt x="940" y="96"/>
                  <a:pt x="935" y="90"/>
                </a:cubicBezTo>
                <a:cubicBezTo>
                  <a:pt x="929" y="84"/>
                  <a:pt x="921" y="81"/>
                  <a:pt x="911" y="81"/>
                </a:cubicBezTo>
                <a:cubicBezTo>
                  <a:pt x="903" y="81"/>
                  <a:pt x="896" y="83"/>
                  <a:pt x="889" y="87"/>
                </a:cubicBezTo>
                <a:cubicBezTo>
                  <a:pt x="883" y="91"/>
                  <a:pt x="878" y="97"/>
                  <a:pt x="875" y="104"/>
                </a:cubicBezTo>
                <a:cubicBezTo>
                  <a:pt x="872" y="110"/>
                  <a:pt x="871" y="120"/>
                  <a:pt x="871" y="132"/>
                </a:cubicBezTo>
                <a:lnTo>
                  <a:pt x="871" y="216"/>
                </a:lnTo>
                <a:lnTo>
                  <a:pt x="844" y="21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7" name="Freeform 17">
            <a:extLst>
              <a:ext uri="{FF2B5EF4-FFF2-40B4-BE49-F238E27FC236}">
                <a16:creationId xmlns:a16="http://schemas.microsoft.com/office/drawing/2014/main" id="{E9FFA0BF-1D32-44A3-ADA3-4ACE14642F21}"/>
              </a:ext>
            </a:extLst>
          </p:cNvPr>
          <p:cNvSpPr>
            <a:spLocks noEditPoints="1"/>
          </p:cNvSpPr>
          <p:nvPr/>
        </p:nvSpPr>
        <p:spPr bwMode="auto">
          <a:xfrm>
            <a:off x="2008188" y="2016126"/>
            <a:ext cx="420688" cy="104775"/>
          </a:xfrm>
          <a:custGeom>
            <a:avLst/>
            <a:gdLst>
              <a:gd name="T0" fmla="*/ 28 w 1167"/>
              <a:gd name="T1" fmla="*/ 0 h 294"/>
              <a:gd name="T2" fmla="*/ 132 w 1167"/>
              <a:gd name="T3" fmla="*/ 227 h 294"/>
              <a:gd name="T4" fmla="*/ 162 w 1167"/>
              <a:gd name="T5" fmla="*/ 0 h 294"/>
              <a:gd name="T6" fmla="*/ 162 w 1167"/>
              <a:gd name="T7" fmla="*/ 32 h 294"/>
              <a:gd name="T8" fmla="*/ 188 w 1167"/>
              <a:gd name="T9" fmla="*/ 63 h 294"/>
              <a:gd name="T10" fmla="*/ 223 w 1167"/>
              <a:gd name="T11" fmla="*/ 241 h 294"/>
              <a:gd name="T12" fmla="*/ 284 w 1167"/>
              <a:gd name="T13" fmla="*/ 271 h 294"/>
              <a:gd name="T14" fmla="*/ 327 w 1167"/>
              <a:gd name="T15" fmla="*/ 206 h 294"/>
              <a:gd name="T16" fmla="*/ 218 w 1167"/>
              <a:gd name="T17" fmla="*/ 144 h 294"/>
              <a:gd name="T18" fmla="*/ 284 w 1167"/>
              <a:gd name="T19" fmla="*/ 59 h 294"/>
              <a:gd name="T20" fmla="*/ 353 w 1167"/>
              <a:gd name="T21" fmla="*/ 63 h 294"/>
              <a:gd name="T22" fmla="*/ 323 w 1167"/>
              <a:gd name="T23" fmla="*/ 285 h 294"/>
              <a:gd name="T24" fmla="*/ 223 w 1167"/>
              <a:gd name="T25" fmla="*/ 241 h 294"/>
              <a:gd name="T26" fmla="*/ 287 w 1167"/>
              <a:gd name="T27" fmla="*/ 204 h 294"/>
              <a:gd name="T28" fmla="*/ 316 w 1167"/>
              <a:gd name="T29" fmla="*/ 98 h 294"/>
              <a:gd name="T30" fmla="*/ 245 w 1167"/>
              <a:gd name="T31" fmla="*/ 142 h 294"/>
              <a:gd name="T32" fmla="*/ 419 w 1167"/>
              <a:gd name="T33" fmla="*/ 0 h 294"/>
              <a:gd name="T34" fmla="*/ 494 w 1167"/>
              <a:gd name="T35" fmla="*/ 66 h 294"/>
              <a:gd name="T36" fmla="*/ 517 w 1167"/>
              <a:gd name="T37" fmla="*/ 227 h 294"/>
              <a:gd name="T38" fmla="*/ 483 w 1167"/>
              <a:gd name="T39" fmla="*/ 93 h 294"/>
              <a:gd name="T40" fmla="*/ 423 w 1167"/>
              <a:gd name="T41" fmla="*/ 107 h 294"/>
              <a:gd name="T42" fmla="*/ 393 w 1167"/>
              <a:gd name="T43" fmla="*/ 227 h 294"/>
              <a:gd name="T44" fmla="*/ 598 w 1167"/>
              <a:gd name="T45" fmla="*/ 230 h 294"/>
              <a:gd name="T46" fmla="*/ 561 w 1167"/>
              <a:gd name="T47" fmla="*/ 179 h 294"/>
              <a:gd name="T48" fmla="*/ 542 w 1167"/>
              <a:gd name="T49" fmla="*/ 63 h 294"/>
              <a:gd name="T50" fmla="*/ 587 w 1167"/>
              <a:gd name="T51" fmla="*/ 5 h 294"/>
              <a:gd name="T52" fmla="*/ 614 w 1167"/>
              <a:gd name="T53" fmla="*/ 84 h 294"/>
              <a:gd name="T54" fmla="*/ 589 w 1167"/>
              <a:gd name="T55" fmla="*/ 196 h 294"/>
              <a:gd name="T56" fmla="*/ 614 w 1167"/>
              <a:gd name="T57" fmla="*/ 202 h 294"/>
              <a:gd name="T58" fmla="*/ 639 w 1167"/>
              <a:gd name="T59" fmla="*/ 0 h 294"/>
              <a:gd name="T60" fmla="*/ 707 w 1167"/>
              <a:gd name="T61" fmla="*/ 59 h 294"/>
              <a:gd name="T62" fmla="*/ 767 w 1167"/>
              <a:gd name="T63" fmla="*/ 109 h 294"/>
              <a:gd name="T64" fmla="*/ 706 w 1167"/>
              <a:gd name="T65" fmla="*/ 231 h 294"/>
              <a:gd name="T66" fmla="*/ 663 w 1167"/>
              <a:gd name="T67" fmla="*/ 144 h 294"/>
              <a:gd name="T68" fmla="*/ 733 w 1167"/>
              <a:gd name="T69" fmla="*/ 192 h 294"/>
              <a:gd name="T70" fmla="*/ 705 w 1167"/>
              <a:gd name="T71" fmla="*/ 82 h 294"/>
              <a:gd name="T72" fmla="*/ 904 w 1167"/>
              <a:gd name="T73" fmla="*/ 227 h 294"/>
              <a:gd name="T74" fmla="*/ 830 w 1167"/>
              <a:gd name="T75" fmla="*/ 225 h 294"/>
              <a:gd name="T76" fmla="*/ 803 w 1167"/>
              <a:gd name="T77" fmla="*/ 165 h 294"/>
              <a:gd name="T78" fmla="*/ 829 w 1167"/>
              <a:gd name="T79" fmla="*/ 154 h 294"/>
              <a:gd name="T80" fmla="*/ 861 w 1167"/>
              <a:gd name="T81" fmla="*/ 207 h 294"/>
              <a:gd name="T82" fmla="*/ 901 w 1167"/>
              <a:gd name="T83" fmla="*/ 151 h 294"/>
              <a:gd name="T84" fmla="*/ 927 w 1167"/>
              <a:gd name="T85" fmla="*/ 227 h 294"/>
              <a:gd name="T86" fmla="*/ 968 w 1167"/>
              <a:gd name="T87" fmla="*/ 0 h 294"/>
              <a:gd name="T88" fmla="*/ 968 w 1167"/>
              <a:gd name="T89" fmla="*/ 227 h 294"/>
              <a:gd name="T90" fmla="*/ 1034 w 1167"/>
              <a:gd name="T91" fmla="*/ 0 h 294"/>
              <a:gd name="T92" fmla="*/ 1102 w 1167"/>
              <a:gd name="T93" fmla="*/ 59 h 294"/>
              <a:gd name="T94" fmla="*/ 1162 w 1167"/>
              <a:gd name="T95" fmla="*/ 109 h 294"/>
              <a:gd name="T96" fmla="*/ 1101 w 1167"/>
              <a:gd name="T97" fmla="*/ 231 h 294"/>
              <a:gd name="T98" fmla="*/ 1058 w 1167"/>
              <a:gd name="T99" fmla="*/ 144 h 294"/>
              <a:gd name="T100" fmla="*/ 1128 w 1167"/>
              <a:gd name="T101" fmla="*/ 192 h 294"/>
              <a:gd name="T102" fmla="*/ 1099 w 1167"/>
              <a:gd name="T103" fmla="*/ 82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167" h="294">
                <a:moveTo>
                  <a:pt x="0" y="227"/>
                </a:moveTo>
                <a:lnTo>
                  <a:pt x="0" y="0"/>
                </a:lnTo>
                <a:lnTo>
                  <a:pt x="28" y="0"/>
                </a:lnTo>
                <a:lnTo>
                  <a:pt x="28" y="201"/>
                </a:lnTo>
                <a:lnTo>
                  <a:pt x="132" y="201"/>
                </a:lnTo>
                <a:lnTo>
                  <a:pt x="132" y="227"/>
                </a:lnTo>
                <a:lnTo>
                  <a:pt x="0" y="227"/>
                </a:lnTo>
                <a:close/>
                <a:moveTo>
                  <a:pt x="162" y="32"/>
                </a:moveTo>
                <a:lnTo>
                  <a:pt x="162" y="0"/>
                </a:lnTo>
                <a:lnTo>
                  <a:pt x="188" y="0"/>
                </a:lnTo>
                <a:lnTo>
                  <a:pt x="188" y="32"/>
                </a:lnTo>
                <a:lnTo>
                  <a:pt x="162" y="32"/>
                </a:lnTo>
                <a:close/>
                <a:moveTo>
                  <a:pt x="162" y="227"/>
                </a:moveTo>
                <a:lnTo>
                  <a:pt x="162" y="63"/>
                </a:lnTo>
                <a:lnTo>
                  <a:pt x="188" y="63"/>
                </a:lnTo>
                <a:lnTo>
                  <a:pt x="188" y="227"/>
                </a:lnTo>
                <a:lnTo>
                  <a:pt x="162" y="227"/>
                </a:lnTo>
                <a:close/>
                <a:moveTo>
                  <a:pt x="223" y="241"/>
                </a:moveTo>
                <a:lnTo>
                  <a:pt x="248" y="245"/>
                </a:lnTo>
                <a:cubicBezTo>
                  <a:pt x="249" y="253"/>
                  <a:pt x="252" y="259"/>
                  <a:pt x="257" y="263"/>
                </a:cubicBezTo>
                <a:cubicBezTo>
                  <a:pt x="264" y="268"/>
                  <a:pt x="272" y="271"/>
                  <a:pt x="284" y="271"/>
                </a:cubicBezTo>
                <a:cubicBezTo>
                  <a:pt x="296" y="271"/>
                  <a:pt x="305" y="268"/>
                  <a:pt x="312" y="263"/>
                </a:cubicBezTo>
                <a:cubicBezTo>
                  <a:pt x="318" y="258"/>
                  <a:pt x="323" y="251"/>
                  <a:pt x="325" y="242"/>
                </a:cubicBezTo>
                <a:cubicBezTo>
                  <a:pt x="326" y="236"/>
                  <a:pt x="327" y="224"/>
                  <a:pt x="327" y="206"/>
                </a:cubicBezTo>
                <a:cubicBezTo>
                  <a:pt x="315" y="220"/>
                  <a:pt x="301" y="227"/>
                  <a:pt x="284" y="227"/>
                </a:cubicBezTo>
                <a:cubicBezTo>
                  <a:pt x="263" y="227"/>
                  <a:pt x="247" y="219"/>
                  <a:pt x="235" y="203"/>
                </a:cubicBezTo>
                <a:cubicBezTo>
                  <a:pt x="224" y="187"/>
                  <a:pt x="218" y="167"/>
                  <a:pt x="218" y="144"/>
                </a:cubicBezTo>
                <a:cubicBezTo>
                  <a:pt x="218" y="129"/>
                  <a:pt x="221" y="114"/>
                  <a:pt x="226" y="101"/>
                </a:cubicBezTo>
                <a:cubicBezTo>
                  <a:pt x="231" y="87"/>
                  <a:pt x="239" y="77"/>
                  <a:pt x="249" y="70"/>
                </a:cubicBezTo>
                <a:cubicBezTo>
                  <a:pt x="259" y="63"/>
                  <a:pt x="271" y="59"/>
                  <a:pt x="284" y="59"/>
                </a:cubicBezTo>
                <a:cubicBezTo>
                  <a:pt x="302" y="59"/>
                  <a:pt x="317" y="67"/>
                  <a:pt x="329" y="83"/>
                </a:cubicBezTo>
                <a:lnTo>
                  <a:pt x="329" y="63"/>
                </a:lnTo>
                <a:lnTo>
                  <a:pt x="353" y="63"/>
                </a:lnTo>
                <a:lnTo>
                  <a:pt x="353" y="205"/>
                </a:lnTo>
                <a:cubicBezTo>
                  <a:pt x="353" y="231"/>
                  <a:pt x="351" y="249"/>
                  <a:pt x="346" y="259"/>
                </a:cubicBezTo>
                <a:cubicBezTo>
                  <a:pt x="341" y="270"/>
                  <a:pt x="333" y="279"/>
                  <a:pt x="323" y="285"/>
                </a:cubicBezTo>
                <a:cubicBezTo>
                  <a:pt x="312" y="291"/>
                  <a:pt x="299" y="294"/>
                  <a:pt x="284" y="294"/>
                </a:cubicBezTo>
                <a:cubicBezTo>
                  <a:pt x="266" y="294"/>
                  <a:pt x="251" y="290"/>
                  <a:pt x="240" y="281"/>
                </a:cubicBezTo>
                <a:cubicBezTo>
                  <a:pt x="228" y="272"/>
                  <a:pt x="223" y="259"/>
                  <a:pt x="223" y="241"/>
                </a:cubicBezTo>
                <a:close/>
                <a:moveTo>
                  <a:pt x="245" y="142"/>
                </a:moveTo>
                <a:cubicBezTo>
                  <a:pt x="245" y="164"/>
                  <a:pt x="249" y="179"/>
                  <a:pt x="256" y="189"/>
                </a:cubicBezTo>
                <a:cubicBezTo>
                  <a:pt x="265" y="199"/>
                  <a:pt x="275" y="204"/>
                  <a:pt x="287" y="204"/>
                </a:cubicBezTo>
                <a:cubicBezTo>
                  <a:pt x="299" y="204"/>
                  <a:pt x="309" y="199"/>
                  <a:pt x="317" y="189"/>
                </a:cubicBezTo>
                <a:cubicBezTo>
                  <a:pt x="325" y="180"/>
                  <a:pt x="329" y="164"/>
                  <a:pt x="329" y="143"/>
                </a:cubicBezTo>
                <a:cubicBezTo>
                  <a:pt x="329" y="123"/>
                  <a:pt x="325" y="108"/>
                  <a:pt x="316" y="98"/>
                </a:cubicBezTo>
                <a:cubicBezTo>
                  <a:pt x="308" y="87"/>
                  <a:pt x="298" y="82"/>
                  <a:pt x="286" y="82"/>
                </a:cubicBezTo>
                <a:cubicBezTo>
                  <a:pt x="275" y="82"/>
                  <a:pt x="265" y="87"/>
                  <a:pt x="257" y="97"/>
                </a:cubicBezTo>
                <a:cubicBezTo>
                  <a:pt x="249" y="107"/>
                  <a:pt x="245" y="122"/>
                  <a:pt x="245" y="142"/>
                </a:cubicBezTo>
                <a:close/>
                <a:moveTo>
                  <a:pt x="393" y="227"/>
                </a:moveTo>
                <a:lnTo>
                  <a:pt x="393" y="0"/>
                </a:lnTo>
                <a:lnTo>
                  <a:pt x="419" y="0"/>
                </a:lnTo>
                <a:lnTo>
                  <a:pt x="419" y="82"/>
                </a:lnTo>
                <a:cubicBezTo>
                  <a:pt x="431" y="67"/>
                  <a:pt x="446" y="59"/>
                  <a:pt x="464" y="59"/>
                </a:cubicBezTo>
                <a:cubicBezTo>
                  <a:pt x="476" y="59"/>
                  <a:pt x="485" y="62"/>
                  <a:pt x="494" y="66"/>
                </a:cubicBezTo>
                <a:cubicBezTo>
                  <a:pt x="502" y="71"/>
                  <a:pt x="508" y="78"/>
                  <a:pt x="512" y="86"/>
                </a:cubicBezTo>
                <a:cubicBezTo>
                  <a:pt x="515" y="95"/>
                  <a:pt x="517" y="107"/>
                  <a:pt x="517" y="123"/>
                </a:cubicBezTo>
                <a:lnTo>
                  <a:pt x="517" y="227"/>
                </a:lnTo>
                <a:lnTo>
                  <a:pt x="491" y="227"/>
                </a:lnTo>
                <a:lnTo>
                  <a:pt x="491" y="123"/>
                </a:lnTo>
                <a:cubicBezTo>
                  <a:pt x="491" y="109"/>
                  <a:pt x="488" y="99"/>
                  <a:pt x="483" y="93"/>
                </a:cubicBezTo>
                <a:cubicBezTo>
                  <a:pt x="477" y="86"/>
                  <a:pt x="469" y="83"/>
                  <a:pt x="459" y="83"/>
                </a:cubicBezTo>
                <a:cubicBezTo>
                  <a:pt x="451" y="83"/>
                  <a:pt x="444" y="85"/>
                  <a:pt x="437" y="90"/>
                </a:cubicBezTo>
                <a:cubicBezTo>
                  <a:pt x="431" y="94"/>
                  <a:pt x="426" y="100"/>
                  <a:pt x="423" y="107"/>
                </a:cubicBezTo>
                <a:cubicBezTo>
                  <a:pt x="420" y="114"/>
                  <a:pt x="419" y="125"/>
                  <a:pt x="419" y="137"/>
                </a:cubicBezTo>
                <a:lnTo>
                  <a:pt x="419" y="227"/>
                </a:lnTo>
                <a:lnTo>
                  <a:pt x="393" y="227"/>
                </a:lnTo>
                <a:close/>
                <a:moveTo>
                  <a:pt x="614" y="202"/>
                </a:moveTo>
                <a:lnTo>
                  <a:pt x="617" y="227"/>
                </a:lnTo>
                <a:cubicBezTo>
                  <a:pt x="610" y="229"/>
                  <a:pt x="603" y="230"/>
                  <a:pt x="598" y="230"/>
                </a:cubicBezTo>
                <a:cubicBezTo>
                  <a:pt x="588" y="230"/>
                  <a:pt x="581" y="228"/>
                  <a:pt x="576" y="225"/>
                </a:cubicBezTo>
                <a:cubicBezTo>
                  <a:pt x="570" y="222"/>
                  <a:pt x="567" y="217"/>
                  <a:pt x="565" y="212"/>
                </a:cubicBezTo>
                <a:cubicBezTo>
                  <a:pt x="563" y="207"/>
                  <a:pt x="561" y="196"/>
                  <a:pt x="561" y="179"/>
                </a:cubicBezTo>
                <a:lnTo>
                  <a:pt x="561" y="84"/>
                </a:lnTo>
                <a:lnTo>
                  <a:pt x="542" y="84"/>
                </a:lnTo>
                <a:lnTo>
                  <a:pt x="542" y="63"/>
                </a:lnTo>
                <a:lnTo>
                  <a:pt x="561" y="63"/>
                </a:lnTo>
                <a:lnTo>
                  <a:pt x="561" y="22"/>
                </a:lnTo>
                <a:lnTo>
                  <a:pt x="587" y="5"/>
                </a:lnTo>
                <a:lnTo>
                  <a:pt x="587" y="63"/>
                </a:lnTo>
                <a:lnTo>
                  <a:pt x="614" y="63"/>
                </a:lnTo>
                <a:lnTo>
                  <a:pt x="614" y="84"/>
                </a:lnTo>
                <a:lnTo>
                  <a:pt x="587" y="84"/>
                </a:lnTo>
                <a:lnTo>
                  <a:pt x="587" y="181"/>
                </a:lnTo>
                <a:cubicBezTo>
                  <a:pt x="587" y="189"/>
                  <a:pt x="588" y="194"/>
                  <a:pt x="589" y="196"/>
                </a:cubicBezTo>
                <a:cubicBezTo>
                  <a:pt x="590" y="198"/>
                  <a:pt x="591" y="200"/>
                  <a:pt x="593" y="202"/>
                </a:cubicBezTo>
                <a:cubicBezTo>
                  <a:pt x="595" y="203"/>
                  <a:pt x="598" y="204"/>
                  <a:pt x="602" y="204"/>
                </a:cubicBezTo>
                <a:cubicBezTo>
                  <a:pt x="605" y="204"/>
                  <a:pt x="609" y="203"/>
                  <a:pt x="614" y="202"/>
                </a:cubicBezTo>
                <a:close/>
                <a:moveTo>
                  <a:pt x="663" y="227"/>
                </a:moveTo>
                <a:lnTo>
                  <a:pt x="639" y="227"/>
                </a:lnTo>
                <a:lnTo>
                  <a:pt x="639" y="0"/>
                </a:lnTo>
                <a:lnTo>
                  <a:pt x="665" y="0"/>
                </a:lnTo>
                <a:lnTo>
                  <a:pt x="665" y="81"/>
                </a:lnTo>
                <a:cubicBezTo>
                  <a:pt x="676" y="66"/>
                  <a:pt x="690" y="59"/>
                  <a:pt x="707" y="59"/>
                </a:cubicBezTo>
                <a:cubicBezTo>
                  <a:pt x="716" y="59"/>
                  <a:pt x="725" y="61"/>
                  <a:pt x="734" y="65"/>
                </a:cubicBezTo>
                <a:cubicBezTo>
                  <a:pt x="742" y="69"/>
                  <a:pt x="749" y="75"/>
                  <a:pt x="755" y="82"/>
                </a:cubicBezTo>
                <a:cubicBezTo>
                  <a:pt x="760" y="90"/>
                  <a:pt x="764" y="99"/>
                  <a:pt x="767" y="109"/>
                </a:cubicBezTo>
                <a:cubicBezTo>
                  <a:pt x="770" y="120"/>
                  <a:pt x="772" y="131"/>
                  <a:pt x="772" y="143"/>
                </a:cubicBezTo>
                <a:cubicBezTo>
                  <a:pt x="772" y="171"/>
                  <a:pt x="766" y="192"/>
                  <a:pt x="753" y="208"/>
                </a:cubicBezTo>
                <a:cubicBezTo>
                  <a:pt x="740" y="223"/>
                  <a:pt x="724" y="231"/>
                  <a:pt x="706" y="231"/>
                </a:cubicBezTo>
                <a:cubicBezTo>
                  <a:pt x="688" y="231"/>
                  <a:pt x="673" y="223"/>
                  <a:pt x="663" y="207"/>
                </a:cubicBezTo>
                <a:lnTo>
                  <a:pt x="663" y="227"/>
                </a:lnTo>
                <a:close/>
                <a:moveTo>
                  <a:pt x="663" y="144"/>
                </a:moveTo>
                <a:cubicBezTo>
                  <a:pt x="663" y="163"/>
                  <a:pt x="665" y="178"/>
                  <a:pt x="670" y="187"/>
                </a:cubicBezTo>
                <a:cubicBezTo>
                  <a:pt x="679" y="201"/>
                  <a:pt x="690" y="208"/>
                  <a:pt x="704" y="208"/>
                </a:cubicBezTo>
                <a:cubicBezTo>
                  <a:pt x="715" y="208"/>
                  <a:pt x="725" y="203"/>
                  <a:pt x="733" y="192"/>
                </a:cubicBezTo>
                <a:cubicBezTo>
                  <a:pt x="741" y="182"/>
                  <a:pt x="745" y="166"/>
                  <a:pt x="745" y="145"/>
                </a:cubicBezTo>
                <a:cubicBezTo>
                  <a:pt x="745" y="123"/>
                  <a:pt x="741" y="108"/>
                  <a:pt x="734" y="97"/>
                </a:cubicBezTo>
                <a:cubicBezTo>
                  <a:pt x="726" y="87"/>
                  <a:pt x="716" y="82"/>
                  <a:pt x="705" y="82"/>
                </a:cubicBezTo>
                <a:cubicBezTo>
                  <a:pt x="693" y="82"/>
                  <a:pt x="684" y="87"/>
                  <a:pt x="675" y="98"/>
                </a:cubicBezTo>
                <a:cubicBezTo>
                  <a:pt x="667" y="108"/>
                  <a:pt x="663" y="124"/>
                  <a:pt x="663" y="144"/>
                </a:cubicBezTo>
                <a:close/>
                <a:moveTo>
                  <a:pt x="904" y="227"/>
                </a:moveTo>
                <a:lnTo>
                  <a:pt x="904" y="203"/>
                </a:lnTo>
                <a:cubicBezTo>
                  <a:pt x="892" y="222"/>
                  <a:pt x="876" y="231"/>
                  <a:pt x="855" y="231"/>
                </a:cubicBezTo>
                <a:cubicBezTo>
                  <a:pt x="846" y="231"/>
                  <a:pt x="838" y="229"/>
                  <a:pt x="830" y="225"/>
                </a:cubicBezTo>
                <a:cubicBezTo>
                  <a:pt x="822" y="222"/>
                  <a:pt x="816" y="217"/>
                  <a:pt x="813" y="211"/>
                </a:cubicBezTo>
                <a:cubicBezTo>
                  <a:pt x="809" y="206"/>
                  <a:pt x="806" y="199"/>
                  <a:pt x="805" y="191"/>
                </a:cubicBezTo>
                <a:cubicBezTo>
                  <a:pt x="804" y="185"/>
                  <a:pt x="803" y="176"/>
                  <a:pt x="803" y="165"/>
                </a:cubicBezTo>
                <a:lnTo>
                  <a:pt x="803" y="63"/>
                </a:lnTo>
                <a:lnTo>
                  <a:pt x="829" y="63"/>
                </a:lnTo>
                <a:lnTo>
                  <a:pt x="829" y="154"/>
                </a:lnTo>
                <a:cubicBezTo>
                  <a:pt x="829" y="168"/>
                  <a:pt x="830" y="178"/>
                  <a:pt x="831" y="183"/>
                </a:cubicBezTo>
                <a:cubicBezTo>
                  <a:pt x="832" y="191"/>
                  <a:pt x="836" y="196"/>
                  <a:pt x="841" y="200"/>
                </a:cubicBezTo>
                <a:cubicBezTo>
                  <a:pt x="846" y="205"/>
                  <a:pt x="853" y="207"/>
                  <a:pt x="861" y="207"/>
                </a:cubicBezTo>
                <a:cubicBezTo>
                  <a:pt x="869" y="207"/>
                  <a:pt x="876" y="205"/>
                  <a:pt x="883" y="200"/>
                </a:cubicBezTo>
                <a:cubicBezTo>
                  <a:pt x="889" y="196"/>
                  <a:pt x="894" y="190"/>
                  <a:pt x="897" y="183"/>
                </a:cubicBezTo>
                <a:cubicBezTo>
                  <a:pt x="900" y="176"/>
                  <a:pt x="901" y="165"/>
                  <a:pt x="901" y="151"/>
                </a:cubicBezTo>
                <a:lnTo>
                  <a:pt x="901" y="63"/>
                </a:lnTo>
                <a:lnTo>
                  <a:pt x="927" y="63"/>
                </a:lnTo>
                <a:lnTo>
                  <a:pt x="927" y="227"/>
                </a:lnTo>
                <a:lnTo>
                  <a:pt x="904" y="227"/>
                </a:lnTo>
                <a:close/>
                <a:moveTo>
                  <a:pt x="968" y="227"/>
                </a:moveTo>
                <a:lnTo>
                  <a:pt x="968" y="0"/>
                </a:lnTo>
                <a:lnTo>
                  <a:pt x="994" y="0"/>
                </a:lnTo>
                <a:lnTo>
                  <a:pt x="994" y="227"/>
                </a:lnTo>
                <a:lnTo>
                  <a:pt x="968" y="227"/>
                </a:lnTo>
                <a:close/>
                <a:moveTo>
                  <a:pt x="1058" y="227"/>
                </a:moveTo>
                <a:lnTo>
                  <a:pt x="1034" y="227"/>
                </a:lnTo>
                <a:lnTo>
                  <a:pt x="1034" y="0"/>
                </a:lnTo>
                <a:lnTo>
                  <a:pt x="1060" y="0"/>
                </a:lnTo>
                <a:lnTo>
                  <a:pt x="1060" y="81"/>
                </a:lnTo>
                <a:cubicBezTo>
                  <a:pt x="1071" y="66"/>
                  <a:pt x="1085" y="59"/>
                  <a:pt x="1102" y="59"/>
                </a:cubicBezTo>
                <a:cubicBezTo>
                  <a:pt x="1111" y="59"/>
                  <a:pt x="1120" y="61"/>
                  <a:pt x="1129" y="65"/>
                </a:cubicBezTo>
                <a:cubicBezTo>
                  <a:pt x="1137" y="69"/>
                  <a:pt x="1144" y="75"/>
                  <a:pt x="1149" y="82"/>
                </a:cubicBezTo>
                <a:cubicBezTo>
                  <a:pt x="1155" y="90"/>
                  <a:pt x="1159" y="99"/>
                  <a:pt x="1162" y="109"/>
                </a:cubicBezTo>
                <a:cubicBezTo>
                  <a:pt x="1165" y="120"/>
                  <a:pt x="1167" y="131"/>
                  <a:pt x="1167" y="143"/>
                </a:cubicBezTo>
                <a:cubicBezTo>
                  <a:pt x="1167" y="171"/>
                  <a:pt x="1160" y="192"/>
                  <a:pt x="1147" y="208"/>
                </a:cubicBezTo>
                <a:cubicBezTo>
                  <a:pt x="1134" y="223"/>
                  <a:pt x="1119" y="231"/>
                  <a:pt x="1101" y="231"/>
                </a:cubicBezTo>
                <a:cubicBezTo>
                  <a:pt x="1082" y="231"/>
                  <a:pt x="1068" y="223"/>
                  <a:pt x="1058" y="207"/>
                </a:cubicBezTo>
                <a:lnTo>
                  <a:pt x="1058" y="227"/>
                </a:lnTo>
                <a:close/>
                <a:moveTo>
                  <a:pt x="1058" y="144"/>
                </a:moveTo>
                <a:cubicBezTo>
                  <a:pt x="1058" y="163"/>
                  <a:pt x="1060" y="178"/>
                  <a:pt x="1065" y="187"/>
                </a:cubicBezTo>
                <a:cubicBezTo>
                  <a:pt x="1073" y="201"/>
                  <a:pt x="1084" y="208"/>
                  <a:pt x="1098" y="208"/>
                </a:cubicBezTo>
                <a:cubicBezTo>
                  <a:pt x="1110" y="208"/>
                  <a:pt x="1120" y="203"/>
                  <a:pt x="1128" y="192"/>
                </a:cubicBezTo>
                <a:cubicBezTo>
                  <a:pt x="1136" y="182"/>
                  <a:pt x="1140" y="166"/>
                  <a:pt x="1140" y="145"/>
                </a:cubicBezTo>
                <a:cubicBezTo>
                  <a:pt x="1140" y="123"/>
                  <a:pt x="1136" y="108"/>
                  <a:pt x="1128" y="97"/>
                </a:cubicBezTo>
                <a:cubicBezTo>
                  <a:pt x="1120" y="87"/>
                  <a:pt x="1111" y="82"/>
                  <a:pt x="1099" y="82"/>
                </a:cubicBezTo>
                <a:cubicBezTo>
                  <a:pt x="1088" y="82"/>
                  <a:pt x="1078" y="87"/>
                  <a:pt x="1070" y="98"/>
                </a:cubicBezTo>
                <a:cubicBezTo>
                  <a:pt x="1062" y="108"/>
                  <a:pt x="1058" y="124"/>
                  <a:pt x="1058" y="14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8" name="Freeform 18">
            <a:extLst>
              <a:ext uri="{FF2B5EF4-FFF2-40B4-BE49-F238E27FC236}">
                <a16:creationId xmlns:a16="http://schemas.microsoft.com/office/drawing/2014/main" id="{952933C0-F128-492E-A84F-E1BA9443CE8D}"/>
              </a:ext>
            </a:extLst>
          </p:cNvPr>
          <p:cNvSpPr>
            <a:spLocks noEditPoints="1"/>
          </p:cNvSpPr>
          <p:nvPr/>
        </p:nvSpPr>
        <p:spPr bwMode="auto">
          <a:xfrm>
            <a:off x="2797176" y="2014538"/>
            <a:ext cx="379413" cy="106363"/>
          </a:xfrm>
          <a:custGeom>
            <a:avLst/>
            <a:gdLst>
              <a:gd name="T0" fmla="*/ 36 w 1053"/>
              <a:gd name="T1" fmla="*/ 184 h 298"/>
              <a:gd name="T2" fmla="*/ 118 w 1053"/>
              <a:gd name="T3" fmla="*/ 203 h 298"/>
              <a:gd name="T4" fmla="*/ 136 w 1053"/>
              <a:gd name="T5" fmla="*/ 151 h 298"/>
              <a:gd name="T6" fmla="*/ 38 w 1053"/>
              <a:gd name="T7" fmla="*/ 113 h 298"/>
              <a:gd name="T8" fmla="*/ 18 w 1053"/>
              <a:gd name="T9" fmla="*/ 31 h 298"/>
              <a:gd name="T10" fmla="*/ 125 w 1053"/>
              <a:gd name="T11" fmla="*/ 8 h 298"/>
              <a:gd name="T12" fmla="*/ 136 w 1053"/>
              <a:gd name="T13" fmla="*/ 70 h 298"/>
              <a:gd name="T14" fmla="*/ 47 w 1053"/>
              <a:gd name="T15" fmla="*/ 37 h 298"/>
              <a:gd name="T16" fmla="*/ 86 w 1053"/>
              <a:gd name="T17" fmla="*/ 97 h 298"/>
              <a:gd name="T18" fmla="*/ 169 w 1053"/>
              <a:gd name="T19" fmla="*/ 167 h 298"/>
              <a:gd name="T20" fmla="*/ 91 w 1053"/>
              <a:gd name="T21" fmla="*/ 235 h 298"/>
              <a:gd name="T22" fmla="*/ 0 w 1053"/>
              <a:gd name="T23" fmla="*/ 158 h 298"/>
              <a:gd name="T24" fmla="*/ 312 w 1053"/>
              <a:gd name="T25" fmla="*/ 221 h 298"/>
              <a:gd name="T26" fmla="*/ 195 w 1053"/>
              <a:gd name="T27" fmla="*/ 150 h 298"/>
              <a:gd name="T28" fmla="*/ 317 w 1053"/>
              <a:gd name="T29" fmla="*/ 86 h 298"/>
              <a:gd name="T30" fmla="*/ 222 w 1053"/>
              <a:gd name="T31" fmla="*/ 156 h 298"/>
              <a:gd name="T32" fmla="*/ 292 w 1053"/>
              <a:gd name="T33" fmla="*/ 204 h 298"/>
              <a:gd name="T34" fmla="*/ 309 w 1053"/>
              <a:gd name="T35" fmla="*/ 133 h 298"/>
              <a:gd name="T36" fmla="*/ 237 w 1053"/>
              <a:gd name="T37" fmla="*/ 99 h 298"/>
              <a:gd name="T38" fmla="*/ 494 w 1053"/>
              <a:gd name="T39" fmla="*/ 175 h 298"/>
              <a:gd name="T40" fmla="*/ 380 w 1053"/>
              <a:gd name="T41" fmla="*/ 213 h 298"/>
              <a:gd name="T42" fmla="*/ 394 w 1053"/>
              <a:gd name="T43" fmla="*/ 73 h 298"/>
              <a:gd name="T44" fmla="*/ 492 w 1053"/>
              <a:gd name="T45" fmla="*/ 115 h 298"/>
              <a:gd name="T46" fmla="*/ 431 w 1053"/>
              <a:gd name="T47" fmla="*/ 86 h 298"/>
              <a:gd name="T48" fmla="*/ 399 w 1053"/>
              <a:gd name="T49" fmla="*/ 197 h 298"/>
              <a:gd name="T50" fmla="*/ 468 w 1053"/>
              <a:gd name="T51" fmla="*/ 171 h 298"/>
              <a:gd name="T52" fmla="*/ 568 w 1053"/>
              <a:gd name="T53" fmla="*/ 235 h 298"/>
              <a:gd name="T54" fmla="*/ 517 w 1053"/>
              <a:gd name="T55" fmla="*/ 195 h 298"/>
              <a:gd name="T56" fmla="*/ 542 w 1053"/>
              <a:gd name="T57" fmla="*/ 67 h 298"/>
              <a:gd name="T58" fmla="*/ 554 w 1053"/>
              <a:gd name="T59" fmla="*/ 204 h 298"/>
              <a:gd name="T60" fmla="*/ 609 w 1053"/>
              <a:gd name="T61" fmla="*/ 187 h 298"/>
              <a:gd name="T62" fmla="*/ 640 w 1053"/>
              <a:gd name="T63" fmla="*/ 67 h 298"/>
              <a:gd name="T64" fmla="*/ 680 w 1053"/>
              <a:gd name="T65" fmla="*/ 231 h 298"/>
              <a:gd name="T66" fmla="*/ 704 w 1053"/>
              <a:gd name="T67" fmla="*/ 92 h 298"/>
              <a:gd name="T68" fmla="*/ 764 w 1053"/>
              <a:gd name="T69" fmla="*/ 72 h 298"/>
              <a:gd name="T70" fmla="*/ 720 w 1053"/>
              <a:gd name="T71" fmla="*/ 98 h 298"/>
              <a:gd name="T72" fmla="*/ 706 w 1053"/>
              <a:gd name="T73" fmla="*/ 231 h 298"/>
              <a:gd name="T74" fmla="*/ 779 w 1053"/>
              <a:gd name="T75" fmla="*/ 4 h 298"/>
              <a:gd name="T76" fmla="*/ 779 w 1053"/>
              <a:gd name="T77" fmla="*/ 36 h 298"/>
              <a:gd name="T78" fmla="*/ 805 w 1053"/>
              <a:gd name="T79" fmla="*/ 67 h 298"/>
              <a:gd name="T80" fmla="*/ 901 w 1053"/>
              <a:gd name="T81" fmla="*/ 206 h 298"/>
              <a:gd name="T82" fmla="*/ 863 w 1053"/>
              <a:gd name="T83" fmla="*/ 229 h 298"/>
              <a:gd name="T84" fmla="*/ 849 w 1053"/>
              <a:gd name="T85" fmla="*/ 88 h 298"/>
              <a:gd name="T86" fmla="*/ 849 w 1053"/>
              <a:gd name="T87" fmla="*/ 67 h 298"/>
              <a:gd name="T88" fmla="*/ 875 w 1053"/>
              <a:gd name="T89" fmla="*/ 67 h 298"/>
              <a:gd name="T90" fmla="*/ 875 w 1053"/>
              <a:gd name="T91" fmla="*/ 88 h 298"/>
              <a:gd name="T92" fmla="*/ 881 w 1053"/>
              <a:gd name="T93" fmla="*/ 206 h 298"/>
              <a:gd name="T94" fmla="*/ 926 w 1053"/>
              <a:gd name="T95" fmla="*/ 295 h 298"/>
              <a:gd name="T96" fmla="*/ 952 w 1053"/>
              <a:gd name="T97" fmla="*/ 268 h 298"/>
              <a:gd name="T98" fmla="*/ 971 w 1053"/>
              <a:gd name="T99" fmla="*/ 232 h 298"/>
              <a:gd name="T100" fmla="*/ 972 w 1053"/>
              <a:gd name="T101" fmla="*/ 162 h 298"/>
              <a:gd name="T102" fmla="*/ 1027 w 1053"/>
              <a:gd name="T103" fmla="*/ 67 h 298"/>
              <a:gd name="T104" fmla="*/ 980 w 1053"/>
              <a:gd name="T105" fmla="*/ 272 h 298"/>
              <a:gd name="T106" fmla="*/ 926 w 1053"/>
              <a:gd name="T107" fmla="*/ 295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53" h="298">
                <a:moveTo>
                  <a:pt x="0" y="158"/>
                </a:moveTo>
                <a:lnTo>
                  <a:pt x="27" y="156"/>
                </a:lnTo>
                <a:cubicBezTo>
                  <a:pt x="28" y="167"/>
                  <a:pt x="31" y="177"/>
                  <a:pt x="36" y="184"/>
                </a:cubicBezTo>
                <a:cubicBezTo>
                  <a:pt x="40" y="191"/>
                  <a:pt x="47" y="197"/>
                  <a:pt x="57" y="202"/>
                </a:cubicBezTo>
                <a:cubicBezTo>
                  <a:pt x="66" y="206"/>
                  <a:pt x="77" y="209"/>
                  <a:pt x="89" y="209"/>
                </a:cubicBezTo>
                <a:cubicBezTo>
                  <a:pt x="100" y="209"/>
                  <a:pt x="109" y="207"/>
                  <a:pt x="118" y="203"/>
                </a:cubicBezTo>
                <a:cubicBezTo>
                  <a:pt x="126" y="200"/>
                  <a:pt x="132" y="195"/>
                  <a:pt x="136" y="189"/>
                </a:cubicBezTo>
                <a:cubicBezTo>
                  <a:pt x="140" y="183"/>
                  <a:pt x="142" y="177"/>
                  <a:pt x="142" y="170"/>
                </a:cubicBezTo>
                <a:cubicBezTo>
                  <a:pt x="142" y="163"/>
                  <a:pt x="140" y="157"/>
                  <a:pt x="136" y="151"/>
                </a:cubicBezTo>
                <a:cubicBezTo>
                  <a:pt x="132" y="146"/>
                  <a:pt x="126" y="141"/>
                  <a:pt x="117" y="138"/>
                </a:cubicBezTo>
                <a:cubicBezTo>
                  <a:pt x="111" y="135"/>
                  <a:pt x="99" y="132"/>
                  <a:pt x="79" y="127"/>
                </a:cubicBezTo>
                <a:cubicBezTo>
                  <a:pt x="60" y="122"/>
                  <a:pt x="46" y="117"/>
                  <a:pt x="38" y="113"/>
                </a:cubicBezTo>
                <a:cubicBezTo>
                  <a:pt x="28" y="107"/>
                  <a:pt x="21" y="100"/>
                  <a:pt x="16" y="91"/>
                </a:cubicBezTo>
                <a:cubicBezTo>
                  <a:pt x="11" y="83"/>
                  <a:pt x="8" y="73"/>
                  <a:pt x="8" y="63"/>
                </a:cubicBezTo>
                <a:cubicBezTo>
                  <a:pt x="8" y="51"/>
                  <a:pt x="12" y="41"/>
                  <a:pt x="18" y="31"/>
                </a:cubicBezTo>
                <a:cubicBezTo>
                  <a:pt x="24" y="21"/>
                  <a:pt x="32" y="13"/>
                  <a:pt x="44" y="8"/>
                </a:cubicBezTo>
                <a:cubicBezTo>
                  <a:pt x="56" y="3"/>
                  <a:pt x="69" y="0"/>
                  <a:pt x="83" y="0"/>
                </a:cubicBezTo>
                <a:cubicBezTo>
                  <a:pt x="99" y="0"/>
                  <a:pt x="113" y="3"/>
                  <a:pt x="125" y="8"/>
                </a:cubicBezTo>
                <a:cubicBezTo>
                  <a:pt x="136" y="14"/>
                  <a:pt x="146" y="22"/>
                  <a:pt x="152" y="32"/>
                </a:cubicBezTo>
                <a:cubicBezTo>
                  <a:pt x="159" y="43"/>
                  <a:pt x="162" y="55"/>
                  <a:pt x="163" y="68"/>
                </a:cubicBezTo>
                <a:lnTo>
                  <a:pt x="136" y="70"/>
                </a:lnTo>
                <a:cubicBezTo>
                  <a:pt x="134" y="56"/>
                  <a:pt x="129" y="45"/>
                  <a:pt x="121" y="38"/>
                </a:cubicBezTo>
                <a:cubicBezTo>
                  <a:pt x="113" y="31"/>
                  <a:pt x="100" y="27"/>
                  <a:pt x="84" y="27"/>
                </a:cubicBezTo>
                <a:cubicBezTo>
                  <a:pt x="67" y="27"/>
                  <a:pt x="55" y="30"/>
                  <a:pt x="47" y="37"/>
                </a:cubicBezTo>
                <a:cubicBezTo>
                  <a:pt x="39" y="44"/>
                  <a:pt x="35" y="52"/>
                  <a:pt x="35" y="61"/>
                </a:cubicBezTo>
                <a:cubicBezTo>
                  <a:pt x="35" y="69"/>
                  <a:pt x="38" y="76"/>
                  <a:pt x="44" y="81"/>
                </a:cubicBezTo>
                <a:cubicBezTo>
                  <a:pt x="49" y="86"/>
                  <a:pt x="63" y="92"/>
                  <a:pt x="86" y="97"/>
                </a:cubicBezTo>
                <a:cubicBezTo>
                  <a:pt x="109" y="103"/>
                  <a:pt x="124" y="108"/>
                  <a:pt x="133" y="112"/>
                </a:cubicBezTo>
                <a:cubicBezTo>
                  <a:pt x="145" y="118"/>
                  <a:pt x="154" y="126"/>
                  <a:pt x="160" y="135"/>
                </a:cubicBezTo>
                <a:cubicBezTo>
                  <a:pt x="166" y="144"/>
                  <a:pt x="169" y="155"/>
                  <a:pt x="169" y="167"/>
                </a:cubicBezTo>
                <a:cubicBezTo>
                  <a:pt x="169" y="179"/>
                  <a:pt x="166" y="191"/>
                  <a:pt x="159" y="201"/>
                </a:cubicBezTo>
                <a:cubicBezTo>
                  <a:pt x="153" y="212"/>
                  <a:pt x="143" y="220"/>
                  <a:pt x="131" y="226"/>
                </a:cubicBezTo>
                <a:cubicBezTo>
                  <a:pt x="119" y="232"/>
                  <a:pt x="106" y="235"/>
                  <a:pt x="91" y="235"/>
                </a:cubicBezTo>
                <a:cubicBezTo>
                  <a:pt x="71" y="235"/>
                  <a:pt x="55" y="232"/>
                  <a:pt x="43" y="226"/>
                </a:cubicBezTo>
                <a:cubicBezTo>
                  <a:pt x="30" y="220"/>
                  <a:pt x="19" y="211"/>
                  <a:pt x="12" y="199"/>
                </a:cubicBezTo>
                <a:cubicBezTo>
                  <a:pt x="5" y="187"/>
                  <a:pt x="1" y="174"/>
                  <a:pt x="0" y="158"/>
                </a:cubicBezTo>
                <a:close/>
                <a:moveTo>
                  <a:pt x="308" y="178"/>
                </a:moveTo>
                <a:lnTo>
                  <a:pt x="335" y="182"/>
                </a:lnTo>
                <a:cubicBezTo>
                  <a:pt x="331" y="199"/>
                  <a:pt x="323" y="212"/>
                  <a:pt x="312" y="221"/>
                </a:cubicBezTo>
                <a:cubicBezTo>
                  <a:pt x="300" y="230"/>
                  <a:pt x="286" y="235"/>
                  <a:pt x="268" y="235"/>
                </a:cubicBezTo>
                <a:cubicBezTo>
                  <a:pt x="246" y="235"/>
                  <a:pt x="228" y="227"/>
                  <a:pt x="215" y="213"/>
                </a:cubicBezTo>
                <a:cubicBezTo>
                  <a:pt x="202" y="198"/>
                  <a:pt x="195" y="177"/>
                  <a:pt x="195" y="150"/>
                </a:cubicBezTo>
                <a:cubicBezTo>
                  <a:pt x="195" y="123"/>
                  <a:pt x="202" y="101"/>
                  <a:pt x="215" y="86"/>
                </a:cubicBezTo>
                <a:cubicBezTo>
                  <a:pt x="228" y="71"/>
                  <a:pt x="245" y="63"/>
                  <a:pt x="267" y="63"/>
                </a:cubicBezTo>
                <a:cubicBezTo>
                  <a:pt x="287" y="63"/>
                  <a:pt x="304" y="71"/>
                  <a:pt x="317" y="86"/>
                </a:cubicBezTo>
                <a:cubicBezTo>
                  <a:pt x="330" y="101"/>
                  <a:pt x="336" y="122"/>
                  <a:pt x="336" y="149"/>
                </a:cubicBezTo>
                <a:cubicBezTo>
                  <a:pt x="336" y="150"/>
                  <a:pt x="336" y="153"/>
                  <a:pt x="336" y="156"/>
                </a:cubicBezTo>
                <a:lnTo>
                  <a:pt x="222" y="156"/>
                </a:lnTo>
                <a:cubicBezTo>
                  <a:pt x="223" y="174"/>
                  <a:pt x="227" y="188"/>
                  <a:pt x="236" y="198"/>
                </a:cubicBezTo>
                <a:cubicBezTo>
                  <a:pt x="245" y="207"/>
                  <a:pt x="255" y="212"/>
                  <a:pt x="268" y="212"/>
                </a:cubicBezTo>
                <a:cubicBezTo>
                  <a:pt x="278" y="212"/>
                  <a:pt x="286" y="209"/>
                  <a:pt x="292" y="204"/>
                </a:cubicBezTo>
                <a:cubicBezTo>
                  <a:pt x="299" y="199"/>
                  <a:pt x="304" y="190"/>
                  <a:pt x="308" y="178"/>
                </a:cubicBezTo>
                <a:close/>
                <a:moveTo>
                  <a:pt x="223" y="133"/>
                </a:moveTo>
                <a:lnTo>
                  <a:pt x="309" y="133"/>
                </a:lnTo>
                <a:cubicBezTo>
                  <a:pt x="308" y="119"/>
                  <a:pt x="304" y="109"/>
                  <a:pt x="299" y="102"/>
                </a:cubicBezTo>
                <a:cubicBezTo>
                  <a:pt x="291" y="91"/>
                  <a:pt x="280" y="86"/>
                  <a:pt x="267" y="86"/>
                </a:cubicBezTo>
                <a:cubicBezTo>
                  <a:pt x="255" y="86"/>
                  <a:pt x="245" y="90"/>
                  <a:pt x="237" y="99"/>
                </a:cubicBezTo>
                <a:cubicBezTo>
                  <a:pt x="229" y="107"/>
                  <a:pt x="224" y="119"/>
                  <a:pt x="223" y="133"/>
                </a:cubicBezTo>
                <a:close/>
                <a:moveTo>
                  <a:pt x="468" y="171"/>
                </a:moveTo>
                <a:lnTo>
                  <a:pt x="494" y="175"/>
                </a:lnTo>
                <a:cubicBezTo>
                  <a:pt x="491" y="194"/>
                  <a:pt x="484" y="208"/>
                  <a:pt x="473" y="219"/>
                </a:cubicBezTo>
                <a:cubicBezTo>
                  <a:pt x="461" y="230"/>
                  <a:pt x="447" y="235"/>
                  <a:pt x="430" y="235"/>
                </a:cubicBezTo>
                <a:cubicBezTo>
                  <a:pt x="409" y="235"/>
                  <a:pt x="392" y="228"/>
                  <a:pt x="380" y="213"/>
                </a:cubicBezTo>
                <a:cubicBezTo>
                  <a:pt x="367" y="198"/>
                  <a:pt x="361" y="177"/>
                  <a:pt x="361" y="150"/>
                </a:cubicBezTo>
                <a:cubicBezTo>
                  <a:pt x="361" y="132"/>
                  <a:pt x="363" y="116"/>
                  <a:pt x="369" y="103"/>
                </a:cubicBezTo>
                <a:cubicBezTo>
                  <a:pt x="374" y="90"/>
                  <a:pt x="383" y="80"/>
                  <a:pt x="394" y="73"/>
                </a:cubicBezTo>
                <a:cubicBezTo>
                  <a:pt x="405" y="66"/>
                  <a:pt x="417" y="63"/>
                  <a:pt x="430" y="63"/>
                </a:cubicBezTo>
                <a:cubicBezTo>
                  <a:pt x="447" y="63"/>
                  <a:pt x="461" y="68"/>
                  <a:pt x="471" y="77"/>
                </a:cubicBezTo>
                <a:cubicBezTo>
                  <a:pt x="482" y="86"/>
                  <a:pt x="489" y="99"/>
                  <a:pt x="492" y="115"/>
                </a:cubicBezTo>
                <a:lnTo>
                  <a:pt x="466" y="119"/>
                </a:lnTo>
                <a:cubicBezTo>
                  <a:pt x="464" y="108"/>
                  <a:pt x="460" y="100"/>
                  <a:pt x="454" y="94"/>
                </a:cubicBezTo>
                <a:cubicBezTo>
                  <a:pt x="447" y="89"/>
                  <a:pt x="440" y="86"/>
                  <a:pt x="431" y="86"/>
                </a:cubicBezTo>
                <a:cubicBezTo>
                  <a:pt x="418" y="86"/>
                  <a:pt x="408" y="91"/>
                  <a:pt x="399" y="101"/>
                </a:cubicBezTo>
                <a:cubicBezTo>
                  <a:pt x="391" y="111"/>
                  <a:pt x="387" y="127"/>
                  <a:pt x="387" y="149"/>
                </a:cubicBezTo>
                <a:cubicBezTo>
                  <a:pt x="387" y="171"/>
                  <a:pt x="391" y="187"/>
                  <a:pt x="399" y="197"/>
                </a:cubicBezTo>
                <a:cubicBezTo>
                  <a:pt x="407" y="207"/>
                  <a:pt x="417" y="212"/>
                  <a:pt x="430" y="212"/>
                </a:cubicBezTo>
                <a:cubicBezTo>
                  <a:pt x="440" y="212"/>
                  <a:pt x="449" y="209"/>
                  <a:pt x="455" y="202"/>
                </a:cubicBezTo>
                <a:cubicBezTo>
                  <a:pt x="462" y="195"/>
                  <a:pt x="467" y="185"/>
                  <a:pt x="468" y="171"/>
                </a:cubicBezTo>
                <a:close/>
                <a:moveTo>
                  <a:pt x="616" y="231"/>
                </a:moveTo>
                <a:lnTo>
                  <a:pt x="616" y="207"/>
                </a:lnTo>
                <a:cubicBezTo>
                  <a:pt x="604" y="226"/>
                  <a:pt x="588" y="235"/>
                  <a:pt x="568" y="235"/>
                </a:cubicBezTo>
                <a:cubicBezTo>
                  <a:pt x="559" y="235"/>
                  <a:pt x="550" y="233"/>
                  <a:pt x="543" y="229"/>
                </a:cubicBezTo>
                <a:cubicBezTo>
                  <a:pt x="535" y="226"/>
                  <a:pt x="529" y="221"/>
                  <a:pt x="525" y="215"/>
                </a:cubicBezTo>
                <a:cubicBezTo>
                  <a:pt x="521" y="210"/>
                  <a:pt x="519" y="203"/>
                  <a:pt x="517" y="195"/>
                </a:cubicBezTo>
                <a:cubicBezTo>
                  <a:pt x="516" y="189"/>
                  <a:pt x="516" y="180"/>
                  <a:pt x="516" y="169"/>
                </a:cubicBezTo>
                <a:lnTo>
                  <a:pt x="516" y="67"/>
                </a:lnTo>
                <a:lnTo>
                  <a:pt x="542" y="67"/>
                </a:lnTo>
                <a:lnTo>
                  <a:pt x="542" y="158"/>
                </a:lnTo>
                <a:cubicBezTo>
                  <a:pt x="542" y="172"/>
                  <a:pt x="542" y="182"/>
                  <a:pt x="543" y="187"/>
                </a:cubicBezTo>
                <a:cubicBezTo>
                  <a:pt x="545" y="195"/>
                  <a:pt x="548" y="200"/>
                  <a:pt x="554" y="204"/>
                </a:cubicBezTo>
                <a:cubicBezTo>
                  <a:pt x="559" y="209"/>
                  <a:pt x="565" y="211"/>
                  <a:pt x="573" y="211"/>
                </a:cubicBezTo>
                <a:cubicBezTo>
                  <a:pt x="581" y="211"/>
                  <a:pt x="588" y="209"/>
                  <a:pt x="595" y="204"/>
                </a:cubicBezTo>
                <a:cubicBezTo>
                  <a:pt x="602" y="200"/>
                  <a:pt x="607" y="194"/>
                  <a:pt x="609" y="187"/>
                </a:cubicBezTo>
                <a:cubicBezTo>
                  <a:pt x="612" y="180"/>
                  <a:pt x="614" y="169"/>
                  <a:pt x="614" y="155"/>
                </a:cubicBezTo>
                <a:lnTo>
                  <a:pt x="614" y="67"/>
                </a:lnTo>
                <a:lnTo>
                  <a:pt x="640" y="67"/>
                </a:lnTo>
                <a:lnTo>
                  <a:pt x="640" y="231"/>
                </a:lnTo>
                <a:lnTo>
                  <a:pt x="616" y="231"/>
                </a:lnTo>
                <a:close/>
                <a:moveTo>
                  <a:pt x="680" y="231"/>
                </a:moveTo>
                <a:lnTo>
                  <a:pt x="680" y="67"/>
                </a:lnTo>
                <a:lnTo>
                  <a:pt x="704" y="67"/>
                </a:lnTo>
                <a:lnTo>
                  <a:pt x="704" y="92"/>
                </a:lnTo>
                <a:cubicBezTo>
                  <a:pt x="710" y="80"/>
                  <a:pt x="715" y="72"/>
                  <a:pt x="720" y="69"/>
                </a:cubicBezTo>
                <a:cubicBezTo>
                  <a:pt x="725" y="65"/>
                  <a:pt x="731" y="63"/>
                  <a:pt x="737" y="63"/>
                </a:cubicBezTo>
                <a:cubicBezTo>
                  <a:pt x="746" y="63"/>
                  <a:pt x="755" y="66"/>
                  <a:pt x="764" y="72"/>
                </a:cubicBezTo>
                <a:lnTo>
                  <a:pt x="754" y="98"/>
                </a:lnTo>
                <a:cubicBezTo>
                  <a:pt x="748" y="94"/>
                  <a:pt x="742" y="92"/>
                  <a:pt x="736" y="92"/>
                </a:cubicBezTo>
                <a:cubicBezTo>
                  <a:pt x="730" y="92"/>
                  <a:pt x="725" y="94"/>
                  <a:pt x="720" y="98"/>
                </a:cubicBezTo>
                <a:cubicBezTo>
                  <a:pt x="716" y="101"/>
                  <a:pt x="713" y="106"/>
                  <a:pt x="711" y="113"/>
                </a:cubicBezTo>
                <a:cubicBezTo>
                  <a:pt x="708" y="123"/>
                  <a:pt x="706" y="134"/>
                  <a:pt x="706" y="145"/>
                </a:cubicBezTo>
                <a:lnTo>
                  <a:pt x="706" y="231"/>
                </a:lnTo>
                <a:lnTo>
                  <a:pt x="680" y="231"/>
                </a:lnTo>
                <a:close/>
                <a:moveTo>
                  <a:pt x="779" y="36"/>
                </a:moveTo>
                <a:lnTo>
                  <a:pt x="779" y="4"/>
                </a:lnTo>
                <a:lnTo>
                  <a:pt x="805" y="4"/>
                </a:lnTo>
                <a:lnTo>
                  <a:pt x="805" y="36"/>
                </a:lnTo>
                <a:lnTo>
                  <a:pt x="779" y="36"/>
                </a:lnTo>
                <a:close/>
                <a:moveTo>
                  <a:pt x="779" y="231"/>
                </a:moveTo>
                <a:lnTo>
                  <a:pt x="779" y="67"/>
                </a:lnTo>
                <a:lnTo>
                  <a:pt x="805" y="67"/>
                </a:lnTo>
                <a:lnTo>
                  <a:pt x="805" y="231"/>
                </a:lnTo>
                <a:lnTo>
                  <a:pt x="779" y="231"/>
                </a:lnTo>
                <a:close/>
                <a:moveTo>
                  <a:pt x="901" y="206"/>
                </a:moveTo>
                <a:lnTo>
                  <a:pt x="905" y="231"/>
                </a:lnTo>
                <a:cubicBezTo>
                  <a:pt x="898" y="233"/>
                  <a:pt x="891" y="234"/>
                  <a:pt x="885" y="234"/>
                </a:cubicBezTo>
                <a:cubicBezTo>
                  <a:pt x="876" y="234"/>
                  <a:pt x="869" y="232"/>
                  <a:pt x="863" y="229"/>
                </a:cubicBezTo>
                <a:cubicBezTo>
                  <a:pt x="858" y="226"/>
                  <a:pt x="855" y="221"/>
                  <a:pt x="852" y="216"/>
                </a:cubicBezTo>
                <a:cubicBezTo>
                  <a:pt x="850" y="211"/>
                  <a:pt x="849" y="200"/>
                  <a:pt x="849" y="183"/>
                </a:cubicBezTo>
                <a:lnTo>
                  <a:pt x="849" y="88"/>
                </a:lnTo>
                <a:lnTo>
                  <a:pt x="830" y="88"/>
                </a:lnTo>
                <a:lnTo>
                  <a:pt x="830" y="67"/>
                </a:lnTo>
                <a:lnTo>
                  <a:pt x="849" y="67"/>
                </a:lnTo>
                <a:lnTo>
                  <a:pt x="849" y="26"/>
                </a:lnTo>
                <a:lnTo>
                  <a:pt x="875" y="9"/>
                </a:lnTo>
                <a:lnTo>
                  <a:pt x="875" y="67"/>
                </a:lnTo>
                <a:lnTo>
                  <a:pt x="901" y="67"/>
                </a:lnTo>
                <a:lnTo>
                  <a:pt x="901" y="88"/>
                </a:lnTo>
                <a:lnTo>
                  <a:pt x="875" y="88"/>
                </a:lnTo>
                <a:lnTo>
                  <a:pt x="875" y="185"/>
                </a:lnTo>
                <a:cubicBezTo>
                  <a:pt x="875" y="193"/>
                  <a:pt x="876" y="198"/>
                  <a:pt x="877" y="200"/>
                </a:cubicBezTo>
                <a:cubicBezTo>
                  <a:pt x="878" y="202"/>
                  <a:pt x="879" y="204"/>
                  <a:pt x="881" y="206"/>
                </a:cubicBezTo>
                <a:cubicBezTo>
                  <a:pt x="883" y="207"/>
                  <a:pt x="886" y="208"/>
                  <a:pt x="890" y="208"/>
                </a:cubicBezTo>
                <a:cubicBezTo>
                  <a:pt x="893" y="208"/>
                  <a:pt x="897" y="207"/>
                  <a:pt x="901" y="206"/>
                </a:cubicBezTo>
                <a:close/>
                <a:moveTo>
                  <a:pt x="926" y="295"/>
                </a:moveTo>
                <a:lnTo>
                  <a:pt x="923" y="269"/>
                </a:lnTo>
                <a:cubicBezTo>
                  <a:pt x="929" y="271"/>
                  <a:pt x="934" y="271"/>
                  <a:pt x="938" y="271"/>
                </a:cubicBezTo>
                <a:cubicBezTo>
                  <a:pt x="944" y="271"/>
                  <a:pt x="948" y="270"/>
                  <a:pt x="952" y="268"/>
                </a:cubicBezTo>
                <a:cubicBezTo>
                  <a:pt x="955" y="266"/>
                  <a:pt x="958" y="263"/>
                  <a:pt x="960" y="260"/>
                </a:cubicBezTo>
                <a:cubicBezTo>
                  <a:pt x="962" y="257"/>
                  <a:pt x="965" y="250"/>
                  <a:pt x="968" y="239"/>
                </a:cubicBezTo>
                <a:cubicBezTo>
                  <a:pt x="969" y="237"/>
                  <a:pt x="969" y="235"/>
                  <a:pt x="971" y="232"/>
                </a:cubicBezTo>
                <a:lnTo>
                  <a:pt x="912" y="67"/>
                </a:lnTo>
                <a:lnTo>
                  <a:pt x="940" y="67"/>
                </a:lnTo>
                <a:lnTo>
                  <a:pt x="972" y="162"/>
                </a:lnTo>
                <a:cubicBezTo>
                  <a:pt x="976" y="174"/>
                  <a:pt x="980" y="186"/>
                  <a:pt x="983" y="200"/>
                </a:cubicBezTo>
                <a:cubicBezTo>
                  <a:pt x="986" y="187"/>
                  <a:pt x="990" y="175"/>
                  <a:pt x="994" y="163"/>
                </a:cubicBezTo>
                <a:lnTo>
                  <a:pt x="1027" y="67"/>
                </a:lnTo>
                <a:lnTo>
                  <a:pt x="1053" y="67"/>
                </a:lnTo>
                <a:lnTo>
                  <a:pt x="995" y="234"/>
                </a:lnTo>
                <a:cubicBezTo>
                  <a:pt x="988" y="252"/>
                  <a:pt x="984" y="265"/>
                  <a:pt x="980" y="272"/>
                </a:cubicBezTo>
                <a:cubicBezTo>
                  <a:pt x="975" y="281"/>
                  <a:pt x="970" y="287"/>
                  <a:pt x="964" y="292"/>
                </a:cubicBezTo>
                <a:cubicBezTo>
                  <a:pt x="958" y="296"/>
                  <a:pt x="951" y="298"/>
                  <a:pt x="943" y="298"/>
                </a:cubicBezTo>
                <a:cubicBezTo>
                  <a:pt x="938" y="298"/>
                  <a:pt x="932" y="297"/>
                  <a:pt x="926" y="29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1" name="Freeform 21">
            <a:extLst>
              <a:ext uri="{FF2B5EF4-FFF2-40B4-BE49-F238E27FC236}">
                <a16:creationId xmlns:a16="http://schemas.microsoft.com/office/drawing/2014/main" id="{38A5ED1B-4C17-49C3-AF84-EAB02C84DC4D}"/>
              </a:ext>
            </a:extLst>
          </p:cNvPr>
          <p:cNvSpPr>
            <a:spLocks noEditPoints="1"/>
          </p:cNvSpPr>
          <p:nvPr/>
        </p:nvSpPr>
        <p:spPr bwMode="auto">
          <a:xfrm>
            <a:off x="5164138" y="2014538"/>
            <a:ext cx="233363" cy="84138"/>
          </a:xfrm>
          <a:custGeom>
            <a:avLst/>
            <a:gdLst>
              <a:gd name="T0" fmla="*/ 107 w 648"/>
              <a:gd name="T1" fmla="*/ 116 h 235"/>
              <a:gd name="T2" fmla="*/ 196 w 648"/>
              <a:gd name="T3" fmla="*/ 200 h 235"/>
              <a:gd name="T4" fmla="*/ 109 w 648"/>
              <a:gd name="T5" fmla="*/ 235 h 235"/>
              <a:gd name="T6" fmla="*/ 13 w 648"/>
              <a:gd name="T7" fmla="*/ 179 h 235"/>
              <a:gd name="T8" fmla="*/ 13 w 648"/>
              <a:gd name="T9" fmla="*/ 57 h 235"/>
              <a:gd name="T10" fmla="*/ 106 w 648"/>
              <a:gd name="T11" fmla="*/ 0 h 235"/>
              <a:gd name="T12" fmla="*/ 177 w 648"/>
              <a:gd name="T13" fmla="*/ 30 h 235"/>
              <a:gd name="T14" fmla="*/ 168 w 648"/>
              <a:gd name="T15" fmla="*/ 75 h 235"/>
              <a:gd name="T16" fmla="*/ 136 w 648"/>
              <a:gd name="T17" fmla="*/ 32 h 235"/>
              <a:gd name="T18" fmla="*/ 73 w 648"/>
              <a:gd name="T19" fmla="*/ 32 h 235"/>
              <a:gd name="T20" fmla="*/ 38 w 648"/>
              <a:gd name="T21" fmla="*/ 71 h 235"/>
              <a:gd name="T22" fmla="*/ 39 w 648"/>
              <a:gd name="T23" fmla="*/ 168 h 235"/>
              <a:gd name="T24" fmla="*/ 107 w 648"/>
              <a:gd name="T25" fmla="*/ 209 h 235"/>
              <a:gd name="T26" fmla="*/ 169 w 648"/>
              <a:gd name="T27" fmla="*/ 185 h 235"/>
              <a:gd name="T28" fmla="*/ 107 w 648"/>
              <a:gd name="T29" fmla="*/ 142 h 235"/>
              <a:gd name="T30" fmla="*/ 366 w 648"/>
              <a:gd name="T31" fmla="*/ 182 h 235"/>
              <a:gd name="T32" fmla="*/ 299 w 648"/>
              <a:gd name="T33" fmla="*/ 235 h 235"/>
              <a:gd name="T34" fmla="*/ 226 w 648"/>
              <a:gd name="T35" fmla="*/ 150 h 235"/>
              <a:gd name="T36" fmla="*/ 297 w 648"/>
              <a:gd name="T37" fmla="*/ 63 h 235"/>
              <a:gd name="T38" fmla="*/ 367 w 648"/>
              <a:gd name="T39" fmla="*/ 149 h 235"/>
              <a:gd name="T40" fmla="*/ 252 w 648"/>
              <a:gd name="T41" fmla="*/ 156 h 235"/>
              <a:gd name="T42" fmla="*/ 299 w 648"/>
              <a:gd name="T43" fmla="*/ 212 h 235"/>
              <a:gd name="T44" fmla="*/ 339 w 648"/>
              <a:gd name="T45" fmla="*/ 178 h 235"/>
              <a:gd name="T46" fmla="*/ 339 w 648"/>
              <a:gd name="T47" fmla="*/ 133 h 235"/>
              <a:gd name="T48" fmla="*/ 297 w 648"/>
              <a:gd name="T49" fmla="*/ 86 h 235"/>
              <a:gd name="T50" fmla="*/ 254 w 648"/>
              <a:gd name="T51" fmla="*/ 133 h 235"/>
              <a:gd name="T52" fmla="*/ 473 w 648"/>
              <a:gd name="T53" fmla="*/ 229 h 235"/>
              <a:gd name="T54" fmla="*/ 405 w 648"/>
              <a:gd name="T55" fmla="*/ 222 h 235"/>
              <a:gd name="T56" fmla="*/ 397 w 648"/>
              <a:gd name="T57" fmla="*/ 166 h 235"/>
              <a:gd name="T58" fmla="*/ 429 w 648"/>
              <a:gd name="T59" fmla="*/ 141 h 235"/>
              <a:gd name="T60" fmla="*/ 498 w 648"/>
              <a:gd name="T61" fmla="*/ 127 h 235"/>
              <a:gd name="T62" fmla="*/ 491 w 648"/>
              <a:gd name="T63" fmla="*/ 96 h 235"/>
              <a:gd name="T64" fmla="*/ 434 w 648"/>
              <a:gd name="T65" fmla="*/ 93 h 235"/>
              <a:gd name="T66" fmla="*/ 396 w 648"/>
              <a:gd name="T67" fmla="*/ 114 h 235"/>
              <a:gd name="T68" fmla="*/ 430 w 648"/>
              <a:gd name="T69" fmla="*/ 69 h 235"/>
              <a:gd name="T70" fmla="*/ 497 w 648"/>
              <a:gd name="T71" fmla="*/ 68 h 235"/>
              <a:gd name="T72" fmla="*/ 524 w 648"/>
              <a:gd name="T73" fmla="*/ 100 h 235"/>
              <a:gd name="T74" fmla="*/ 525 w 648"/>
              <a:gd name="T75" fmla="*/ 162 h 235"/>
              <a:gd name="T76" fmla="*/ 533 w 648"/>
              <a:gd name="T77" fmla="*/ 231 h 235"/>
              <a:gd name="T78" fmla="*/ 501 w 648"/>
              <a:gd name="T79" fmla="*/ 211 h 235"/>
              <a:gd name="T80" fmla="*/ 456 w 648"/>
              <a:gd name="T81" fmla="*/ 159 h 235"/>
              <a:gd name="T82" fmla="*/ 423 w 648"/>
              <a:gd name="T83" fmla="*/ 174 h 235"/>
              <a:gd name="T84" fmla="*/ 427 w 648"/>
              <a:gd name="T85" fmla="*/ 206 h 235"/>
              <a:gd name="T86" fmla="*/ 477 w 648"/>
              <a:gd name="T87" fmla="*/ 206 h 235"/>
              <a:gd name="T88" fmla="*/ 498 w 648"/>
              <a:gd name="T89" fmla="*/ 159 h 235"/>
              <a:gd name="T90" fmla="*/ 565 w 648"/>
              <a:gd name="T91" fmla="*/ 231 h 235"/>
              <a:gd name="T92" fmla="*/ 588 w 648"/>
              <a:gd name="T93" fmla="*/ 67 h 235"/>
              <a:gd name="T94" fmla="*/ 605 w 648"/>
              <a:gd name="T95" fmla="*/ 69 h 235"/>
              <a:gd name="T96" fmla="*/ 648 w 648"/>
              <a:gd name="T97" fmla="*/ 72 h 235"/>
              <a:gd name="T98" fmla="*/ 620 w 648"/>
              <a:gd name="T99" fmla="*/ 92 h 235"/>
              <a:gd name="T100" fmla="*/ 595 w 648"/>
              <a:gd name="T101" fmla="*/ 113 h 235"/>
              <a:gd name="T102" fmla="*/ 591 w 648"/>
              <a:gd name="T103" fmla="*/ 231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48" h="235">
                <a:moveTo>
                  <a:pt x="107" y="142"/>
                </a:moveTo>
                <a:lnTo>
                  <a:pt x="107" y="116"/>
                </a:lnTo>
                <a:lnTo>
                  <a:pt x="196" y="116"/>
                </a:lnTo>
                <a:lnTo>
                  <a:pt x="196" y="200"/>
                </a:lnTo>
                <a:cubicBezTo>
                  <a:pt x="183" y="212"/>
                  <a:pt x="168" y="220"/>
                  <a:pt x="154" y="226"/>
                </a:cubicBezTo>
                <a:cubicBezTo>
                  <a:pt x="139" y="232"/>
                  <a:pt x="124" y="235"/>
                  <a:pt x="109" y="235"/>
                </a:cubicBezTo>
                <a:cubicBezTo>
                  <a:pt x="88" y="235"/>
                  <a:pt x="69" y="230"/>
                  <a:pt x="52" y="221"/>
                </a:cubicBezTo>
                <a:cubicBezTo>
                  <a:pt x="35" y="211"/>
                  <a:pt x="22" y="197"/>
                  <a:pt x="13" y="179"/>
                </a:cubicBezTo>
                <a:cubicBezTo>
                  <a:pt x="5" y="161"/>
                  <a:pt x="0" y="141"/>
                  <a:pt x="0" y="119"/>
                </a:cubicBezTo>
                <a:cubicBezTo>
                  <a:pt x="0" y="97"/>
                  <a:pt x="5" y="76"/>
                  <a:pt x="13" y="57"/>
                </a:cubicBezTo>
                <a:cubicBezTo>
                  <a:pt x="22" y="38"/>
                  <a:pt x="34" y="24"/>
                  <a:pt x="51" y="14"/>
                </a:cubicBezTo>
                <a:cubicBezTo>
                  <a:pt x="67" y="5"/>
                  <a:pt x="85" y="0"/>
                  <a:pt x="106" y="0"/>
                </a:cubicBezTo>
                <a:cubicBezTo>
                  <a:pt x="122" y="0"/>
                  <a:pt x="136" y="3"/>
                  <a:pt x="148" y="8"/>
                </a:cubicBezTo>
                <a:cubicBezTo>
                  <a:pt x="160" y="14"/>
                  <a:pt x="170" y="21"/>
                  <a:pt x="177" y="30"/>
                </a:cubicBezTo>
                <a:cubicBezTo>
                  <a:pt x="184" y="40"/>
                  <a:pt x="189" y="52"/>
                  <a:pt x="193" y="68"/>
                </a:cubicBezTo>
                <a:lnTo>
                  <a:pt x="168" y="75"/>
                </a:lnTo>
                <a:cubicBezTo>
                  <a:pt x="165" y="64"/>
                  <a:pt x="161" y="55"/>
                  <a:pt x="156" y="48"/>
                </a:cubicBezTo>
                <a:cubicBezTo>
                  <a:pt x="151" y="41"/>
                  <a:pt x="145" y="36"/>
                  <a:pt x="136" y="32"/>
                </a:cubicBezTo>
                <a:cubicBezTo>
                  <a:pt x="127" y="28"/>
                  <a:pt x="117" y="26"/>
                  <a:pt x="107" y="26"/>
                </a:cubicBezTo>
                <a:cubicBezTo>
                  <a:pt x="94" y="26"/>
                  <a:pt x="83" y="28"/>
                  <a:pt x="73" y="32"/>
                </a:cubicBezTo>
                <a:cubicBezTo>
                  <a:pt x="64" y="36"/>
                  <a:pt x="57" y="42"/>
                  <a:pt x="51" y="49"/>
                </a:cubicBezTo>
                <a:cubicBezTo>
                  <a:pt x="45" y="56"/>
                  <a:pt x="41" y="63"/>
                  <a:pt x="38" y="71"/>
                </a:cubicBezTo>
                <a:cubicBezTo>
                  <a:pt x="32" y="85"/>
                  <a:pt x="29" y="101"/>
                  <a:pt x="29" y="117"/>
                </a:cubicBezTo>
                <a:cubicBezTo>
                  <a:pt x="29" y="137"/>
                  <a:pt x="33" y="154"/>
                  <a:pt x="39" y="168"/>
                </a:cubicBezTo>
                <a:cubicBezTo>
                  <a:pt x="46" y="182"/>
                  <a:pt x="55" y="192"/>
                  <a:pt x="68" y="199"/>
                </a:cubicBezTo>
                <a:cubicBezTo>
                  <a:pt x="80" y="205"/>
                  <a:pt x="93" y="209"/>
                  <a:pt x="107" y="209"/>
                </a:cubicBezTo>
                <a:cubicBezTo>
                  <a:pt x="119" y="209"/>
                  <a:pt x="131" y="206"/>
                  <a:pt x="143" y="201"/>
                </a:cubicBezTo>
                <a:cubicBezTo>
                  <a:pt x="154" y="196"/>
                  <a:pt x="163" y="191"/>
                  <a:pt x="169" y="185"/>
                </a:cubicBezTo>
                <a:lnTo>
                  <a:pt x="169" y="142"/>
                </a:lnTo>
                <a:lnTo>
                  <a:pt x="107" y="142"/>
                </a:lnTo>
                <a:close/>
                <a:moveTo>
                  <a:pt x="339" y="178"/>
                </a:moveTo>
                <a:lnTo>
                  <a:pt x="366" y="182"/>
                </a:lnTo>
                <a:cubicBezTo>
                  <a:pt x="362" y="199"/>
                  <a:pt x="354" y="212"/>
                  <a:pt x="343" y="221"/>
                </a:cubicBezTo>
                <a:cubicBezTo>
                  <a:pt x="331" y="230"/>
                  <a:pt x="317" y="235"/>
                  <a:pt x="299" y="235"/>
                </a:cubicBezTo>
                <a:cubicBezTo>
                  <a:pt x="276" y="235"/>
                  <a:pt x="259" y="227"/>
                  <a:pt x="245" y="213"/>
                </a:cubicBezTo>
                <a:cubicBezTo>
                  <a:pt x="232" y="198"/>
                  <a:pt x="226" y="177"/>
                  <a:pt x="226" y="150"/>
                </a:cubicBezTo>
                <a:cubicBezTo>
                  <a:pt x="226" y="123"/>
                  <a:pt x="232" y="101"/>
                  <a:pt x="246" y="86"/>
                </a:cubicBezTo>
                <a:cubicBezTo>
                  <a:pt x="259" y="71"/>
                  <a:pt x="276" y="63"/>
                  <a:pt x="297" y="63"/>
                </a:cubicBezTo>
                <a:cubicBezTo>
                  <a:pt x="318" y="63"/>
                  <a:pt x="334" y="71"/>
                  <a:pt x="347" y="86"/>
                </a:cubicBezTo>
                <a:cubicBezTo>
                  <a:pt x="360" y="101"/>
                  <a:pt x="367" y="122"/>
                  <a:pt x="367" y="149"/>
                </a:cubicBezTo>
                <a:cubicBezTo>
                  <a:pt x="367" y="150"/>
                  <a:pt x="367" y="153"/>
                  <a:pt x="367" y="156"/>
                </a:cubicBezTo>
                <a:lnTo>
                  <a:pt x="252" y="156"/>
                </a:lnTo>
                <a:cubicBezTo>
                  <a:pt x="253" y="174"/>
                  <a:pt x="258" y="188"/>
                  <a:pt x="267" y="198"/>
                </a:cubicBezTo>
                <a:cubicBezTo>
                  <a:pt x="275" y="207"/>
                  <a:pt x="286" y="212"/>
                  <a:pt x="299" y="212"/>
                </a:cubicBezTo>
                <a:cubicBezTo>
                  <a:pt x="308" y="212"/>
                  <a:pt x="316" y="209"/>
                  <a:pt x="323" y="204"/>
                </a:cubicBezTo>
                <a:cubicBezTo>
                  <a:pt x="330" y="199"/>
                  <a:pt x="335" y="190"/>
                  <a:pt x="339" y="178"/>
                </a:cubicBezTo>
                <a:close/>
                <a:moveTo>
                  <a:pt x="254" y="133"/>
                </a:moveTo>
                <a:lnTo>
                  <a:pt x="339" y="133"/>
                </a:lnTo>
                <a:cubicBezTo>
                  <a:pt x="338" y="119"/>
                  <a:pt x="335" y="109"/>
                  <a:pt x="330" y="102"/>
                </a:cubicBezTo>
                <a:cubicBezTo>
                  <a:pt x="321" y="91"/>
                  <a:pt x="311" y="86"/>
                  <a:pt x="297" y="86"/>
                </a:cubicBezTo>
                <a:cubicBezTo>
                  <a:pt x="286" y="86"/>
                  <a:pt x="276" y="90"/>
                  <a:pt x="267" y="99"/>
                </a:cubicBezTo>
                <a:cubicBezTo>
                  <a:pt x="259" y="107"/>
                  <a:pt x="255" y="119"/>
                  <a:pt x="254" y="133"/>
                </a:cubicBezTo>
                <a:close/>
                <a:moveTo>
                  <a:pt x="501" y="211"/>
                </a:moveTo>
                <a:cubicBezTo>
                  <a:pt x="491" y="220"/>
                  <a:pt x="482" y="226"/>
                  <a:pt x="473" y="229"/>
                </a:cubicBezTo>
                <a:cubicBezTo>
                  <a:pt x="464" y="233"/>
                  <a:pt x="454" y="235"/>
                  <a:pt x="444" y="235"/>
                </a:cubicBezTo>
                <a:cubicBezTo>
                  <a:pt x="427" y="235"/>
                  <a:pt x="414" y="231"/>
                  <a:pt x="405" y="222"/>
                </a:cubicBezTo>
                <a:cubicBezTo>
                  <a:pt x="396" y="213"/>
                  <a:pt x="392" y="202"/>
                  <a:pt x="392" y="188"/>
                </a:cubicBezTo>
                <a:cubicBezTo>
                  <a:pt x="392" y="180"/>
                  <a:pt x="393" y="173"/>
                  <a:pt x="397" y="166"/>
                </a:cubicBezTo>
                <a:cubicBezTo>
                  <a:pt x="400" y="159"/>
                  <a:pt x="405" y="154"/>
                  <a:pt x="410" y="150"/>
                </a:cubicBezTo>
                <a:cubicBezTo>
                  <a:pt x="416" y="146"/>
                  <a:pt x="422" y="143"/>
                  <a:pt x="429" y="141"/>
                </a:cubicBezTo>
                <a:cubicBezTo>
                  <a:pt x="434" y="139"/>
                  <a:pt x="442" y="138"/>
                  <a:pt x="452" y="137"/>
                </a:cubicBezTo>
                <a:cubicBezTo>
                  <a:pt x="473" y="134"/>
                  <a:pt x="489" y="131"/>
                  <a:pt x="498" y="127"/>
                </a:cubicBezTo>
                <a:cubicBezTo>
                  <a:pt x="499" y="123"/>
                  <a:pt x="499" y="121"/>
                  <a:pt x="499" y="120"/>
                </a:cubicBezTo>
                <a:cubicBezTo>
                  <a:pt x="499" y="108"/>
                  <a:pt x="496" y="100"/>
                  <a:pt x="491" y="96"/>
                </a:cubicBezTo>
                <a:cubicBezTo>
                  <a:pt x="485" y="89"/>
                  <a:pt x="475" y="86"/>
                  <a:pt x="462" y="86"/>
                </a:cubicBezTo>
                <a:cubicBezTo>
                  <a:pt x="449" y="86"/>
                  <a:pt x="440" y="89"/>
                  <a:pt x="434" y="93"/>
                </a:cubicBezTo>
                <a:cubicBezTo>
                  <a:pt x="429" y="98"/>
                  <a:pt x="424" y="106"/>
                  <a:pt x="421" y="118"/>
                </a:cubicBezTo>
                <a:lnTo>
                  <a:pt x="396" y="114"/>
                </a:lnTo>
                <a:cubicBezTo>
                  <a:pt x="398" y="102"/>
                  <a:pt x="402" y="93"/>
                  <a:pt x="407" y="86"/>
                </a:cubicBezTo>
                <a:cubicBezTo>
                  <a:pt x="413" y="78"/>
                  <a:pt x="420" y="73"/>
                  <a:pt x="430" y="69"/>
                </a:cubicBezTo>
                <a:cubicBezTo>
                  <a:pt x="440" y="65"/>
                  <a:pt x="452" y="63"/>
                  <a:pt x="465" y="63"/>
                </a:cubicBezTo>
                <a:cubicBezTo>
                  <a:pt x="478" y="63"/>
                  <a:pt x="489" y="65"/>
                  <a:pt x="497" y="68"/>
                </a:cubicBezTo>
                <a:cubicBezTo>
                  <a:pt x="506" y="71"/>
                  <a:pt x="512" y="76"/>
                  <a:pt x="516" y="81"/>
                </a:cubicBezTo>
                <a:cubicBezTo>
                  <a:pt x="519" y="86"/>
                  <a:pt x="522" y="92"/>
                  <a:pt x="524" y="100"/>
                </a:cubicBezTo>
                <a:cubicBezTo>
                  <a:pt x="524" y="104"/>
                  <a:pt x="525" y="113"/>
                  <a:pt x="525" y="125"/>
                </a:cubicBezTo>
                <a:lnTo>
                  <a:pt x="525" y="162"/>
                </a:lnTo>
                <a:cubicBezTo>
                  <a:pt x="525" y="188"/>
                  <a:pt x="525" y="205"/>
                  <a:pt x="527" y="212"/>
                </a:cubicBezTo>
                <a:cubicBezTo>
                  <a:pt x="528" y="218"/>
                  <a:pt x="530" y="225"/>
                  <a:pt x="533" y="231"/>
                </a:cubicBezTo>
                <a:lnTo>
                  <a:pt x="506" y="231"/>
                </a:lnTo>
                <a:cubicBezTo>
                  <a:pt x="503" y="226"/>
                  <a:pt x="501" y="219"/>
                  <a:pt x="501" y="211"/>
                </a:cubicBezTo>
                <a:close/>
                <a:moveTo>
                  <a:pt x="499" y="149"/>
                </a:moveTo>
                <a:cubicBezTo>
                  <a:pt x="489" y="153"/>
                  <a:pt x="475" y="156"/>
                  <a:pt x="456" y="159"/>
                </a:cubicBezTo>
                <a:cubicBezTo>
                  <a:pt x="445" y="161"/>
                  <a:pt x="438" y="163"/>
                  <a:pt x="433" y="165"/>
                </a:cubicBezTo>
                <a:cubicBezTo>
                  <a:pt x="429" y="167"/>
                  <a:pt x="425" y="170"/>
                  <a:pt x="423" y="174"/>
                </a:cubicBezTo>
                <a:cubicBezTo>
                  <a:pt x="421" y="178"/>
                  <a:pt x="419" y="182"/>
                  <a:pt x="419" y="187"/>
                </a:cubicBezTo>
                <a:cubicBezTo>
                  <a:pt x="419" y="194"/>
                  <a:pt x="422" y="201"/>
                  <a:pt x="427" y="206"/>
                </a:cubicBezTo>
                <a:cubicBezTo>
                  <a:pt x="432" y="211"/>
                  <a:pt x="440" y="213"/>
                  <a:pt x="450" y="213"/>
                </a:cubicBezTo>
                <a:cubicBezTo>
                  <a:pt x="460" y="213"/>
                  <a:pt x="469" y="211"/>
                  <a:pt x="477" y="206"/>
                </a:cubicBezTo>
                <a:cubicBezTo>
                  <a:pt x="485" y="201"/>
                  <a:pt x="491" y="195"/>
                  <a:pt x="494" y="187"/>
                </a:cubicBezTo>
                <a:cubicBezTo>
                  <a:pt x="497" y="181"/>
                  <a:pt x="498" y="171"/>
                  <a:pt x="498" y="159"/>
                </a:cubicBezTo>
                <a:lnTo>
                  <a:pt x="499" y="149"/>
                </a:lnTo>
                <a:close/>
                <a:moveTo>
                  <a:pt x="565" y="231"/>
                </a:moveTo>
                <a:lnTo>
                  <a:pt x="565" y="67"/>
                </a:lnTo>
                <a:lnTo>
                  <a:pt x="588" y="67"/>
                </a:lnTo>
                <a:lnTo>
                  <a:pt x="588" y="92"/>
                </a:lnTo>
                <a:cubicBezTo>
                  <a:pt x="594" y="80"/>
                  <a:pt x="599" y="72"/>
                  <a:pt x="605" y="69"/>
                </a:cubicBezTo>
                <a:cubicBezTo>
                  <a:pt x="610" y="65"/>
                  <a:pt x="615" y="63"/>
                  <a:pt x="621" y="63"/>
                </a:cubicBezTo>
                <a:cubicBezTo>
                  <a:pt x="630" y="63"/>
                  <a:pt x="639" y="66"/>
                  <a:pt x="648" y="72"/>
                </a:cubicBezTo>
                <a:lnTo>
                  <a:pt x="639" y="98"/>
                </a:lnTo>
                <a:cubicBezTo>
                  <a:pt x="632" y="94"/>
                  <a:pt x="626" y="92"/>
                  <a:pt x="620" y="92"/>
                </a:cubicBezTo>
                <a:cubicBezTo>
                  <a:pt x="614" y="92"/>
                  <a:pt x="609" y="94"/>
                  <a:pt x="605" y="98"/>
                </a:cubicBezTo>
                <a:cubicBezTo>
                  <a:pt x="600" y="101"/>
                  <a:pt x="597" y="106"/>
                  <a:pt x="595" y="113"/>
                </a:cubicBezTo>
                <a:cubicBezTo>
                  <a:pt x="592" y="123"/>
                  <a:pt x="591" y="134"/>
                  <a:pt x="591" y="145"/>
                </a:cubicBezTo>
                <a:lnTo>
                  <a:pt x="591" y="231"/>
                </a:lnTo>
                <a:lnTo>
                  <a:pt x="565" y="2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2" name="Freeform 22">
            <a:extLst>
              <a:ext uri="{FF2B5EF4-FFF2-40B4-BE49-F238E27FC236}">
                <a16:creationId xmlns:a16="http://schemas.microsoft.com/office/drawing/2014/main" id="{ADAD05ED-1F7F-4AF2-B236-FFF85639BC17}"/>
              </a:ext>
            </a:extLst>
          </p:cNvPr>
          <p:cNvSpPr>
            <a:spLocks noEditPoints="1"/>
          </p:cNvSpPr>
          <p:nvPr/>
        </p:nvSpPr>
        <p:spPr bwMode="auto">
          <a:xfrm>
            <a:off x="5910263" y="2014538"/>
            <a:ext cx="254000" cy="84138"/>
          </a:xfrm>
          <a:custGeom>
            <a:avLst/>
            <a:gdLst>
              <a:gd name="T0" fmla="*/ 186 w 707"/>
              <a:gd name="T1" fmla="*/ 159 h 235"/>
              <a:gd name="T2" fmla="*/ 99 w 707"/>
              <a:gd name="T3" fmla="*/ 235 h 235"/>
              <a:gd name="T4" fmla="*/ 11 w 707"/>
              <a:gd name="T5" fmla="*/ 177 h 235"/>
              <a:gd name="T6" fmla="*/ 12 w 707"/>
              <a:gd name="T7" fmla="*/ 54 h 235"/>
              <a:gd name="T8" fmla="*/ 99 w 707"/>
              <a:gd name="T9" fmla="*/ 0 h 235"/>
              <a:gd name="T10" fmla="*/ 183 w 707"/>
              <a:gd name="T11" fmla="*/ 66 h 235"/>
              <a:gd name="T12" fmla="*/ 134 w 707"/>
              <a:gd name="T13" fmla="*/ 37 h 235"/>
              <a:gd name="T14" fmla="*/ 58 w 707"/>
              <a:gd name="T15" fmla="*/ 39 h 235"/>
              <a:gd name="T16" fmla="*/ 29 w 707"/>
              <a:gd name="T17" fmla="*/ 116 h 235"/>
              <a:gd name="T18" fmla="*/ 61 w 707"/>
              <a:gd name="T19" fmla="*/ 199 h 235"/>
              <a:gd name="T20" fmla="*/ 136 w 707"/>
              <a:gd name="T21" fmla="*/ 195 h 235"/>
              <a:gd name="T22" fmla="*/ 218 w 707"/>
              <a:gd name="T23" fmla="*/ 231 h 235"/>
              <a:gd name="T24" fmla="*/ 244 w 707"/>
              <a:gd name="T25" fmla="*/ 4 h 235"/>
              <a:gd name="T26" fmla="*/ 290 w 707"/>
              <a:gd name="T27" fmla="*/ 63 h 235"/>
              <a:gd name="T28" fmla="*/ 337 w 707"/>
              <a:gd name="T29" fmla="*/ 90 h 235"/>
              <a:gd name="T30" fmla="*/ 342 w 707"/>
              <a:gd name="T31" fmla="*/ 231 h 235"/>
              <a:gd name="T32" fmla="*/ 316 w 707"/>
              <a:gd name="T33" fmla="*/ 127 h 235"/>
              <a:gd name="T34" fmla="*/ 284 w 707"/>
              <a:gd name="T35" fmla="*/ 87 h 235"/>
              <a:gd name="T36" fmla="*/ 248 w 707"/>
              <a:gd name="T37" fmla="*/ 111 h 235"/>
              <a:gd name="T38" fmla="*/ 244 w 707"/>
              <a:gd name="T39" fmla="*/ 231 h 235"/>
              <a:gd name="T40" fmla="*/ 483 w 707"/>
              <a:gd name="T41" fmla="*/ 211 h 235"/>
              <a:gd name="T42" fmla="*/ 426 w 707"/>
              <a:gd name="T43" fmla="*/ 235 h 235"/>
              <a:gd name="T44" fmla="*/ 374 w 707"/>
              <a:gd name="T45" fmla="*/ 188 h 235"/>
              <a:gd name="T46" fmla="*/ 392 w 707"/>
              <a:gd name="T47" fmla="*/ 150 h 235"/>
              <a:gd name="T48" fmla="*/ 434 w 707"/>
              <a:gd name="T49" fmla="*/ 137 h 235"/>
              <a:gd name="T50" fmla="*/ 481 w 707"/>
              <a:gd name="T51" fmla="*/ 120 h 235"/>
              <a:gd name="T52" fmla="*/ 444 w 707"/>
              <a:gd name="T53" fmla="*/ 86 h 235"/>
              <a:gd name="T54" fmla="*/ 403 w 707"/>
              <a:gd name="T55" fmla="*/ 118 h 235"/>
              <a:gd name="T56" fmla="*/ 389 w 707"/>
              <a:gd name="T57" fmla="*/ 86 h 235"/>
              <a:gd name="T58" fmla="*/ 447 w 707"/>
              <a:gd name="T59" fmla="*/ 63 h 235"/>
              <a:gd name="T60" fmla="*/ 498 w 707"/>
              <a:gd name="T61" fmla="*/ 81 h 235"/>
              <a:gd name="T62" fmla="*/ 507 w 707"/>
              <a:gd name="T63" fmla="*/ 125 h 235"/>
              <a:gd name="T64" fmla="*/ 509 w 707"/>
              <a:gd name="T65" fmla="*/ 212 h 235"/>
              <a:gd name="T66" fmla="*/ 488 w 707"/>
              <a:gd name="T67" fmla="*/ 231 h 235"/>
              <a:gd name="T68" fmla="*/ 481 w 707"/>
              <a:gd name="T69" fmla="*/ 149 h 235"/>
              <a:gd name="T70" fmla="*/ 415 w 707"/>
              <a:gd name="T71" fmla="*/ 165 h 235"/>
              <a:gd name="T72" fmla="*/ 401 w 707"/>
              <a:gd name="T73" fmla="*/ 187 h 235"/>
              <a:gd name="T74" fmla="*/ 432 w 707"/>
              <a:gd name="T75" fmla="*/ 213 h 235"/>
              <a:gd name="T76" fmla="*/ 476 w 707"/>
              <a:gd name="T77" fmla="*/ 187 h 235"/>
              <a:gd name="T78" fmla="*/ 481 w 707"/>
              <a:gd name="T79" fmla="*/ 149 h 235"/>
              <a:gd name="T80" fmla="*/ 547 w 707"/>
              <a:gd name="T81" fmla="*/ 67 h 235"/>
              <a:gd name="T82" fmla="*/ 570 w 707"/>
              <a:gd name="T83" fmla="*/ 92 h 235"/>
              <a:gd name="T84" fmla="*/ 603 w 707"/>
              <a:gd name="T85" fmla="*/ 63 h 235"/>
              <a:gd name="T86" fmla="*/ 621 w 707"/>
              <a:gd name="T87" fmla="*/ 98 h 235"/>
              <a:gd name="T88" fmla="*/ 587 w 707"/>
              <a:gd name="T89" fmla="*/ 98 h 235"/>
              <a:gd name="T90" fmla="*/ 573 w 707"/>
              <a:gd name="T91" fmla="*/ 145 h 235"/>
              <a:gd name="T92" fmla="*/ 547 w 707"/>
              <a:gd name="T93" fmla="*/ 231 h 235"/>
              <a:gd name="T94" fmla="*/ 707 w 707"/>
              <a:gd name="T95" fmla="*/ 231 h 235"/>
              <a:gd name="T96" fmla="*/ 665 w 707"/>
              <a:gd name="T97" fmla="*/ 229 h 235"/>
              <a:gd name="T98" fmla="*/ 651 w 707"/>
              <a:gd name="T99" fmla="*/ 183 h 235"/>
              <a:gd name="T100" fmla="*/ 632 w 707"/>
              <a:gd name="T101" fmla="*/ 88 h 235"/>
              <a:gd name="T102" fmla="*/ 651 w 707"/>
              <a:gd name="T103" fmla="*/ 67 h 235"/>
              <a:gd name="T104" fmla="*/ 677 w 707"/>
              <a:gd name="T105" fmla="*/ 9 h 235"/>
              <a:gd name="T106" fmla="*/ 703 w 707"/>
              <a:gd name="T107" fmla="*/ 67 h 235"/>
              <a:gd name="T108" fmla="*/ 677 w 707"/>
              <a:gd name="T109" fmla="*/ 88 h 235"/>
              <a:gd name="T110" fmla="*/ 679 w 707"/>
              <a:gd name="T111" fmla="*/ 200 h 235"/>
              <a:gd name="T112" fmla="*/ 692 w 707"/>
              <a:gd name="T113" fmla="*/ 208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07" h="235">
                <a:moveTo>
                  <a:pt x="158" y="152"/>
                </a:moveTo>
                <a:lnTo>
                  <a:pt x="186" y="159"/>
                </a:lnTo>
                <a:cubicBezTo>
                  <a:pt x="181" y="184"/>
                  <a:pt x="170" y="203"/>
                  <a:pt x="155" y="216"/>
                </a:cubicBezTo>
                <a:cubicBezTo>
                  <a:pt x="140" y="229"/>
                  <a:pt x="121" y="235"/>
                  <a:pt x="99" y="235"/>
                </a:cubicBezTo>
                <a:cubicBezTo>
                  <a:pt x="76" y="235"/>
                  <a:pt x="58" y="230"/>
                  <a:pt x="43" y="220"/>
                </a:cubicBezTo>
                <a:cubicBezTo>
                  <a:pt x="29" y="210"/>
                  <a:pt x="18" y="196"/>
                  <a:pt x="11" y="177"/>
                </a:cubicBezTo>
                <a:cubicBezTo>
                  <a:pt x="3" y="158"/>
                  <a:pt x="0" y="138"/>
                  <a:pt x="0" y="116"/>
                </a:cubicBezTo>
                <a:cubicBezTo>
                  <a:pt x="0" y="92"/>
                  <a:pt x="4" y="72"/>
                  <a:pt x="12" y="54"/>
                </a:cubicBezTo>
                <a:cubicBezTo>
                  <a:pt x="21" y="37"/>
                  <a:pt x="33" y="23"/>
                  <a:pt x="48" y="14"/>
                </a:cubicBezTo>
                <a:cubicBezTo>
                  <a:pt x="64" y="5"/>
                  <a:pt x="81" y="0"/>
                  <a:pt x="99" y="0"/>
                </a:cubicBezTo>
                <a:cubicBezTo>
                  <a:pt x="121" y="0"/>
                  <a:pt x="138" y="6"/>
                  <a:pt x="153" y="18"/>
                </a:cubicBezTo>
                <a:cubicBezTo>
                  <a:pt x="167" y="29"/>
                  <a:pt x="177" y="45"/>
                  <a:pt x="183" y="66"/>
                </a:cubicBezTo>
                <a:lnTo>
                  <a:pt x="155" y="73"/>
                </a:lnTo>
                <a:cubicBezTo>
                  <a:pt x="151" y="57"/>
                  <a:pt x="143" y="45"/>
                  <a:pt x="134" y="37"/>
                </a:cubicBezTo>
                <a:cubicBezTo>
                  <a:pt x="125" y="30"/>
                  <a:pt x="113" y="26"/>
                  <a:pt x="99" y="26"/>
                </a:cubicBezTo>
                <a:cubicBezTo>
                  <a:pt x="83" y="26"/>
                  <a:pt x="69" y="30"/>
                  <a:pt x="58" y="39"/>
                </a:cubicBezTo>
                <a:cubicBezTo>
                  <a:pt x="47" y="47"/>
                  <a:pt x="40" y="58"/>
                  <a:pt x="35" y="72"/>
                </a:cubicBezTo>
                <a:cubicBezTo>
                  <a:pt x="31" y="86"/>
                  <a:pt x="29" y="101"/>
                  <a:pt x="29" y="116"/>
                </a:cubicBezTo>
                <a:cubicBezTo>
                  <a:pt x="29" y="135"/>
                  <a:pt x="31" y="152"/>
                  <a:pt x="36" y="166"/>
                </a:cubicBezTo>
                <a:cubicBezTo>
                  <a:pt x="42" y="181"/>
                  <a:pt x="50" y="192"/>
                  <a:pt x="61" y="199"/>
                </a:cubicBezTo>
                <a:cubicBezTo>
                  <a:pt x="72" y="206"/>
                  <a:pt x="84" y="210"/>
                  <a:pt x="97" y="210"/>
                </a:cubicBezTo>
                <a:cubicBezTo>
                  <a:pt x="112" y="210"/>
                  <a:pt x="126" y="205"/>
                  <a:pt x="136" y="195"/>
                </a:cubicBezTo>
                <a:cubicBezTo>
                  <a:pt x="147" y="185"/>
                  <a:pt x="155" y="171"/>
                  <a:pt x="158" y="152"/>
                </a:cubicBezTo>
                <a:close/>
                <a:moveTo>
                  <a:pt x="218" y="231"/>
                </a:moveTo>
                <a:lnTo>
                  <a:pt x="218" y="4"/>
                </a:lnTo>
                <a:lnTo>
                  <a:pt x="244" y="4"/>
                </a:lnTo>
                <a:lnTo>
                  <a:pt x="244" y="86"/>
                </a:lnTo>
                <a:cubicBezTo>
                  <a:pt x="256" y="71"/>
                  <a:pt x="271" y="63"/>
                  <a:pt x="290" y="63"/>
                </a:cubicBezTo>
                <a:cubicBezTo>
                  <a:pt x="301" y="63"/>
                  <a:pt x="311" y="66"/>
                  <a:pt x="319" y="70"/>
                </a:cubicBezTo>
                <a:cubicBezTo>
                  <a:pt x="327" y="75"/>
                  <a:pt x="333" y="82"/>
                  <a:pt x="337" y="90"/>
                </a:cubicBezTo>
                <a:cubicBezTo>
                  <a:pt x="341" y="99"/>
                  <a:pt x="342" y="111"/>
                  <a:pt x="342" y="127"/>
                </a:cubicBezTo>
                <a:lnTo>
                  <a:pt x="342" y="231"/>
                </a:lnTo>
                <a:lnTo>
                  <a:pt x="316" y="231"/>
                </a:lnTo>
                <a:lnTo>
                  <a:pt x="316" y="127"/>
                </a:lnTo>
                <a:cubicBezTo>
                  <a:pt x="316" y="113"/>
                  <a:pt x="314" y="103"/>
                  <a:pt x="308" y="97"/>
                </a:cubicBezTo>
                <a:cubicBezTo>
                  <a:pt x="302" y="90"/>
                  <a:pt x="295" y="87"/>
                  <a:pt x="284" y="87"/>
                </a:cubicBezTo>
                <a:cubicBezTo>
                  <a:pt x="277" y="87"/>
                  <a:pt x="269" y="89"/>
                  <a:pt x="263" y="94"/>
                </a:cubicBezTo>
                <a:cubicBezTo>
                  <a:pt x="256" y="98"/>
                  <a:pt x="251" y="104"/>
                  <a:pt x="248" y="111"/>
                </a:cubicBezTo>
                <a:cubicBezTo>
                  <a:pt x="245" y="118"/>
                  <a:pt x="244" y="129"/>
                  <a:pt x="244" y="141"/>
                </a:cubicBezTo>
                <a:lnTo>
                  <a:pt x="244" y="231"/>
                </a:lnTo>
                <a:lnTo>
                  <a:pt x="218" y="231"/>
                </a:lnTo>
                <a:close/>
                <a:moveTo>
                  <a:pt x="483" y="211"/>
                </a:moveTo>
                <a:cubicBezTo>
                  <a:pt x="473" y="220"/>
                  <a:pt x="464" y="226"/>
                  <a:pt x="455" y="229"/>
                </a:cubicBezTo>
                <a:cubicBezTo>
                  <a:pt x="446" y="233"/>
                  <a:pt x="436" y="235"/>
                  <a:pt x="426" y="235"/>
                </a:cubicBezTo>
                <a:cubicBezTo>
                  <a:pt x="409" y="235"/>
                  <a:pt x="396" y="231"/>
                  <a:pt x="387" y="222"/>
                </a:cubicBezTo>
                <a:cubicBezTo>
                  <a:pt x="378" y="213"/>
                  <a:pt x="374" y="202"/>
                  <a:pt x="374" y="188"/>
                </a:cubicBezTo>
                <a:cubicBezTo>
                  <a:pt x="374" y="180"/>
                  <a:pt x="375" y="173"/>
                  <a:pt x="379" y="166"/>
                </a:cubicBezTo>
                <a:cubicBezTo>
                  <a:pt x="382" y="159"/>
                  <a:pt x="387" y="154"/>
                  <a:pt x="392" y="150"/>
                </a:cubicBezTo>
                <a:cubicBezTo>
                  <a:pt x="398" y="146"/>
                  <a:pt x="404" y="143"/>
                  <a:pt x="411" y="141"/>
                </a:cubicBezTo>
                <a:cubicBezTo>
                  <a:pt x="416" y="139"/>
                  <a:pt x="424" y="138"/>
                  <a:pt x="434" y="137"/>
                </a:cubicBezTo>
                <a:cubicBezTo>
                  <a:pt x="455" y="134"/>
                  <a:pt x="471" y="131"/>
                  <a:pt x="480" y="127"/>
                </a:cubicBezTo>
                <a:cubicBezTo>
                  <a:pt x="481" y="123"/>
                  <a:pt x="481" y="121"/>
                  <a:pt x="481" y="120"/>
                </a:cubicBezTo>
                <a:cubicBezTo>
                  <a:pt x="481" y="108"/>
                  <a:pt x="478" y="100"/>
                  <a:pt x="473" y="96"/>
                </a:cubicBezTo>
                <a:cubicBezTo>
                  <a:pt x="467" y="89"/>
                  <a:pt x="457" y="86"/>
                  <a:pt x="444" y="86"/>
                </a:cubicBezTo>
                <a:cubicBezTo>
                  <a:pt x="431" y="86"/>
                  <a:pt x="422" y="89"/>
                  <a:pt x="416" y="93"/>
                </a:cubicBezTo>
                <a:cubicBezTo>
                  <a:pt x="411" y="98"/>
                  <a:pt x="406" y="106"/>
                  <a:pt x="403" y="118"/>
                </a:cubicBezTo>
                <a:lnTo>
                  <a:pt x="378" y="114"/>
                </a:lnTo>
                <a:cubicBezTo>
                  <a:pt x="380" y="102"/>
                  <a:pt x="384" y="93"/>
                  <a:pt x="389" y="86"/>
                </a:cubicBezTo>
                <a:cubicBezTo>
                  <a:pt x="395" y="78"/>
                  <a:pt x="402" y="73"/>
                  <a:pt x="412" y="69"/>
                </a:cubicBezTo>
                <a:cubicBezTo>
                  <a:pt x="422" y="65"/>
                  <a:pt x="434" y="63"/>
                  <a:pt x="447" y="63"/>
                </a:cubicBezTo>
                <a:cubicBezTo>
                  <a:pt x="461" y="63"/>
                  <a:pt x="471" y="65"/>
                  <a:pt x="479" y="68"/>
                </a:cubicBezTo>
                <a:cubicBezTo>
                  <a:pt x="488" y="71"/>
                  <a:pt x="494" y="76"/>
                  <a:pt x="498" y="81"/>
                </a:cubicBezTo>
                <a:cubicBezTo>
                  <a:pt x="501" y="86"/>
                  <a:pt x="504" y="92"/>
                  <a:pt x="506" y="100"/>
                </a:cubicBezTo>
                <a:cubicBezTo>
                  <a:pt x="507" y="104"/>
                  <a:pt x="507" y="113"/>
                  <a:pt x="507" y="125"/>
                </a:cubicBezTo>
                <a:lnTo>
                  <a:pt x="507" y="162"/>
                </a:lnTo>
                <a:cubicBezTo>
                  <a:pt x="507" y="188"/>
                  <a:pt x="507" y="205"/>
                  <a:pt x="509" y="212"/>
                </a:cubicBezTo>
                <a:cubicBezTo>
                  <a:pt x="510" y="218"/>
                  <a:pt x="512" y="225"/>
                  <a:pt x="515" y="231"/>
                </a:cubicBezTo>
                <a:lnTo>
                  <a:pt x="488" y="231"/>
                </a:lnTo>
                <a:cubicBezTo>
                  <a:pt x="485" y="226"/>
                  <a:pt x="483" y="219"/>
                  <a:pt x="483" y="211"/>
                </a:cubicBezTo>
                <a:close/>
                <a:moveTo>
                  <a:pt x="481" y="149"/>
                </a:moveTo>
                <a:cubicBezTo>
                  <a:pt x="471" y="153"/>
                  <a:pt x="457" y="156"/>
                  <a:pt x="438" y="159"/>
                </a:cubicBezTo>
                <a:cubicBezTo>
                  <a:pt x="427" y="161"/>
                  <a:pt x="420" y="163"/>
                  <a:pt x="415" y="165"/>
                </a:cubicBezTo>
                <a:cubicBezTo>
                  <a:pt x="411" y="167"/>
                  <a:pt x="407" y="170"/>
                  <a:pt x="405" y="174"/>
                </a:cubicBezTo>
                <a:cubicBezTo>
                  <a:pt x="403" y="178"/>
                  <a:pt x="401" y="182"/>
                  <a:pt x="401" y="187"/>
                </a:cubicBezTo>
                <a:cubicBezTo>
                  <a:pt x="401" y="194"/>
                  <a:pt x="404" y="201"/>
                  <a:pt x="409" y="206"/>
                </a:cubicBezTo>
                <a:cubicBezTo>
                  <a:pt x="414" y="211"/>
                  <a:pt x="422" y="213"/>
                  <a:pt x="432" y="213"/>
                </a:cubicBezTo>
                <a:cubicBezTo>
                  <a:pt x="442" y="213"/>
                  <a:pt x="451" y="211"/>
                  <a:pt x="459" y="206"/>
                </a:cubicBezTo>
                <a:cubicBezTo>
                  <a:pt x="467" y="201"/>
                  <a:pt x="473" y="195"/>
                  <a:pt x="476" y="187"/>
                </a:cubicBezTo>
                <a:cubicBezTo>
                  <a:pt x="479" y="181"/>
                  <a:pt x="480" y="171"/>
                  <a:pt x="480" y="159"/>
                </a:cubicBezTo>
                <a:lnTo>
                  <a:pt x="481" y="149"/>
                </a:lnTo>
                <a:close/>
                <a:moveTo>
                  <a:pt x="547" y="231"/>
                </a:moveTo>
                <a:lnTo>
                  <a:pt x="547" y="67"/>
                </a:lnTo>
                <a:lnTo>
                  <a:pt x="570" y="67"/>
                </a:lnTo>
                <a:lnTo>
                  <a:pt x="570" y="92"/>
                </a:lnTo>
                <a:cubicBezTo>
                  <a:pt x="576" y="80"/>
                  <a:pt x="581" y="72"/>
                  <a:pt x="587" y="69"/>
                </a:cubicBezTo>
                <a:cubicBezTo>
                  <a:pt x="592" y="65"/>
                  <a:pt x="597" y="63"/>
                  <a:pt x="603" y="63"/>
                </a:cubicBezTo>
                <a:cubicBezTo>
                  <a:pt x="612" y="63"/>
                  <a:pt x="621" y="66"/>
                  <a:pt x="630" y="72"/>
                </a:cubicBezTo>
                <a:lnTo>
                  <a:pt x="621" y="98"/>
                </a:lnTo>
                <a:cubicBezTo>
                  <a:pt x="614" y="94"/>
                  <a:pt x="608" y="92"/>
                  <a:pt x="602" y="92"/>
                </a:cubicBezTo>
                <a:cubicBezTo>
                  <a:pt x="596" y="92"/>
                  <a:pt x="591" y="94"/>
                  <a:pt x="587" y="98"/>
                </a:cubicBezTo>
                <a:cubicBezTo>
                  <a:pt x="582" y="101"/>
                  <a:pt x="579" y="106"/>
                  <a:pt x="577" y="113"/>
                </a:cubicBezTo>
                <a:cubicBezTo>
                  <a:pt x="574" y="123"/>
                  <a:pt x="573" y="134"/>
                  <a:pt x="573" y="145"/>
                </a:cubicBezTo>
                <a:lnTo>
                  <a:pt x="573" y="231"/>
                </a:lnTo>
                <a:lnTo>
                  <a:pt x="547" y="231"/>
                </a:lnTo>
                <a:close/>
                <a:moveTo>
                  <a:pt x="703" y="206"/>
                </a:moveTo>
                <a:lnTo>
                  <a:pt x="707" y="231"/>
                </a:lnTo>
                <a:cubicBezTo>
                  <a:pt x="700" y="233"/>
                  <a:pt x="693" y="234"/>
                  <a:pt x="687" y="234"/>
                </a:cubicBezTo>
                <a:cubicBezTo>
                  <a:pt x="678" y="234"/>
                  <a:pt x="671" y="232"/>
                  <a:pt x="665" y="229"/>
                </a:cubicBezTo>
                <a:cubicBezTo>
                  <a:pt x="660" y="226"/>
                  <a:pt x="657" y="221"/>
                  <a:pt x="654" y="216"/>
                </a:cubicBezTo>
                <a:cubicBezTo>
                  <a:pt x="652" y="211"/>
                  <a:pt x="651" y="200"/>
                  <a:pt x="651" y="183"/>
                </a:cubicBezTo>
                <a:lnTo>
                  <a:pt x="651" y="88"/>
                </a:lnTo>
                <a:lnTo>
                  <a:pt x="632" y="88"/>
                </a:lnTo>
                <a:lnTo>
                  <a:pt x="632" y="67"/>
                </a:lnTo>
                <a:lnTo>
                  <a:pt x="651" y="67"/>
                </a:lnTo>
                <a:lnTo>
                  <a:pt x="651" y="26"/>
                </a:lnTo>
                <a:lnTo>
                  <a:pt x="677" y="9"/>
                </a:lnTo>
                <a:lnTo>
                  <a:pt x="677" y="67"/>
                </a:lnTo>
                <a:lnTo>
                  <a:pt x="703" y="67"/>
                </a:lnTo>
                <a:lnTo>
                  <a:pt x="703" y="88"/>
                </a:lnTo>
                <a:lnTo>
                  <a:pt x="677" y="88"/>
                </a:lnTo>
                <a:lnTo>
                  <a:pt x="677" y="185"/>
                </a:lnTo>
                <a:cubicBezTo>
                  <a:pt x="677" y="193"/>
                  <a:pt x="678" y="198"/>
                  <a:pt x="679" y="200"/>
                </a:cubicBezTo>
                <a:cubicBezTo>
                  <a:pt x="680" y="202"/>
                  <a:pt x="681" y="204"/>
                  <a:pt x="683" y="206"/>
                </a:cubicBezTo>
                <a:cubicBezTo>
                  <a:pt x="685" y="207"/>
                  <a:pt x="688" y="208"/>
                  <a:pt x="692" y="208"/>
                </a:cubicBezTo>
                <a:cubicBezTo>
                  <a:pt x="695" y="208"/>
                  <a:pt x="699" y="207"/>
                  <a:pt x="703" y="20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3" name="Freeform 23">
            <a:extLst>
              <a:ext uri="{FF2B5EF4-FFF2-40B4-BE49-F238E27FC236}">
                <a16:creationId xmlns:a16="http://schemas.microsoft.com/office/drawing/2014/main" id="{CAB666A2-B5D9-4736-B8B8-A978278F1007}"/>
              </a:ext>
            </a:extLst>
          </p:cNvPr>
          <p:cNvSpPr>
            <a:spLocks noEditPoints="1"/>
          </p:cNvSpPr>
          <p:nvPr/>
        </p:nvSpPr>
        <p:spPr bwMode="auto">
          <a:xfrm>
            <a:off x="6569076" y="2016126"/>
            <a:ext cx="457200" cy="82550"/>
          </a:xfrm>
          <a:custGeom>
            <a:avLst/>
            <a:gdLst>
              <a:gd name="T0" fmla="*/ 73 w 1268"/>
              <a:gd name="T1" fmla="*/ 0 h 231"/>
              <a:gd name="T2" fmla="*/ 166 w 1268"/>
              <a:gd name="T3" fmla="*/ 58 h 231"/>
              <a:gd name="T4" fmla="*/ 155 w 1268"/>
              <a:gd name="T5" fmla="*/ 192 h 231"/>
              <a:gd name="T6" fmla="*/ 76 w 1268"/>
              <a:gd name="T7" fmla="*/ 227 h 231"/>
              <a:gd name="T8" fmla="*/ 73 w 1268"/>
              <a:gd name="T9" fmla="*/ 201 h 231"/>
              <a:gd name="T10" fmla="*/ 140 w 1268"/>
              <a:gd name="T11" fmla="*/ 156 h 231"/>
              <a:gd name="T12" fmla="*/ 108 w 1268"/>
              <a:gd name="T13" fmla="*/ 31 h 231"/>
              <a:gd name="T14" fmla="*/ 28 w 1268"/>
              <a:gd name="T15" fmla="*/ 201 h 231"/>
              <a:gd name="T16" fmla="*/ 272 w 1268"/>
              <a:gd name="T17" fmla="*/ 59 h 231"/>
              <a:gd name="T18" fmla="*/ 335 w 1268"/>
              <a:gd name="T19" fmla="*/ 193 h 231"/>
              <a:gd name="T20" fmla="*/ 220 w 1268"/>
              <a:gd name="T21" fmla="*/ 209 h 231"/>
              <a:gd name="T22" fmla="*/ 240 w 1268"/>
              <a:gd name="T23" fmla="*/ 192 h 231"/>
              <a:gd name="T24" fmla="*/ 317 w 1268"/>
              <a:gd name="T25" fmla="*/ 144 h 231"/>
              <a:gd name="T26" fmla="*/ 240 w 1268"/>
              <a:gd name="T27" fmla="*/ 98 h 231"/>
              <a:gd name="T28" fmla="*/ 353 w 1268"/>
              <a:gd name="T29" fmla="*/ 63 h 231"/>
              <a:gd name="T30" fmla="*/ 413 w 1268"/>
              <a:gd name="T31" fmla="*/ 193 h 231"/>
              <a:gd name="T32" fmla="*/ 472 w 1268"/>
              <a:gd name="T33" fmla="*/ 63 h 231"/>
              <a:gd name="T34" fmla="*/ 512 w 1268"/>
              <a:gd name="T35" fmla="*/ 158 h 231"/>
              <a:gd name="T36" fmla="*/ 515 w 1268"/>
              <a:gd name="T37" fmla="*/ 227 h 231"/>
              <a:gd name="T38" fmla="*/ 458 w 1268"/>
              <a:gd name="T39" fmla="*/ 101 h 231"/>
              <a:gd name="T40" fmla="*/ 585 w 1268"/>
              <a:gd name="T41" fmla="*/ 227 h 231"/>
              <a:gd name="T42" fmla="*/ 609 w 1268"/>
              <a:gd name="T43" fmla="*/ 86 h 231"/>
              <a:gd name="T44" fmla="*/ 700 w 1268"/>
              <a:gd name="T45" fmla="*/ 79 h 231"/>
              <a:gd name="T46" fmla="*/ 710 w 1268"/>
              <a:gd name="T47" fmla="*/ 227 h 231"/>
              <a:gd name="T48" fmla="*/ 681 w 1268"/>
              <a:gd name="T49" fmla="*/ 102 h 231"/>
              <a:gd name="T50" fmla="*/ 623 w 1268"/>
              <a:gd name="T51" fmla="*/ 95 h 231"/>
              <a:gd name="T52" fmla="*/ 585 w 1268"/>
              <a:gd name="T53" fmla="*/ 227 h 231"/>
              <a:gd name="T54" fmla="*/ 775 w 1268"/>
              <a:gd name="T55" fmla="*/ 0 h 231"/>
              <a:gd name="T56" fmla="*/ 806 w 1268"/>
              <a:gd name="T57" fmla="*/ 145 h 231"/>
              <a:gd name="T58" fmla="*/ 929 w 1268"/>
              <a:gd name="T59" fmla="*/ 81 h 231"/>
              <a:gd name="T60" fmla="*/ 915 w 1268"/>
              <a:gd name="T61" fmla="*/ 221 h 231"/>
              <a:gd name="T62" fmla="*/ 806 w 1268"/>
              <a:gd name="T63" fmla="*/ 145 h 231"/>
              <a:gd name="T64" fmla="*/ 878 w 1268"/>
              <a:gd name="T65" fmla="*/ 208 h 231"/>
              <a:gd name="T66" fmla="*/ 910 w 1268"/>
              <a:gd name="T67" fmla="*/ 98 h 231"/>
              <a:gd name="T68" fmla="*/ 832 w 1268"/>
              <a:gd name="T69" fmla="*/ 145 h 231"/>
              <a:gd name="T70" fmla="*/ 1024 w 1268"/>
              <a:gd name="T71" fmla="*/ 231 h 231"/>
              <a:gd name="T72" fmla="*/ 976 w 1268"/>
              <a:gd name="T73" fmla="*/ 162 h 231"/>
              <a:gd name="T74" fmla="*/ 1032 w 1268"/>
              <a:gd name="T75" fmla="*/ 133 h 231"/>
              <a:gd name="T76" fmla="*/ 1071 w 1268"/>
              <a:gd name="T77" fmla="*/ 92 h 231"/>
              <a:gd name="T78" fmla="*/ 1001 w 1268"/>
              <a:gd name="T79" fmla="*/ 114 h 231"/>
              <a:gd name="T80" fmla="*/ 1010 w 1268"/>
              <a:gd name="T81" fmla="*/ 65 h 231"/>
              <a:gd name="T82" fmla="*/ 1095 w 1268"/>
              <a:gd name="T83" fmla="*/ 77 h 231"/>
              <a:gd name="T84" fmla="*/ 1104 w 1268"/>
              <a:gd name="T85" fmla="*/ 158 h 231"/>
              <a:gd name="T86" fmla="*/ 1085 w 1268"/>
              <a:gd name="T87" fmla="*/ 227 h 231"/>
              <a:gd name="T88" fmla="*/ 1036 w 1268"/>
              <a:gd name="T89" fmla="*/ 155 h 231"/>
              <a:gd name="T90" fmla="*/ 999 w 1268"/>
              <a:gd name="T91" fmla="*/ 183 h 231"/>
              <a:gd name="T92" fmla="*/ 1057 w 1268"/>
              <a:gd name="T93" fmla="*/ 202 h 231"/>
              <a:gd name="T94" fmla="*/ 1078 w 1268"/>
              <a:gd name="T95" fmla="*/ 145 h 231"/>
              <a:gd name="T96" fmla="*/ 1201 w 1268"/>
              <a:gd name="T97" fmla="*/ 231 h 231"/>
              <a:gd name="T98" fmla="*/ 1135 w 1268"/>
              <a:gd name="T99" fmla="*/ 145 h 231"/>
              <a:gd name="T100" fmla="*/ 1200 w 1268"/>
              <a:gd name="T101" fmla="*/ 59 h 231"/>
              <a:gd name="T102" fmla="*/ 1242 w 1268"/>
              <a:gd name="T103" fmla="*/ 0 h 231"/>
              <a:gd name="T104" fmla="*/ 1244 w 1268"/>
              <a:gd name="T105" fmla="*/ 227 h 231"/>
              <a:gd name="T106" fmla="*/ 1203 w 1268"/>
              <a:gd name="T107" fmla="*/ 208 h 231"/>
              <a:gd name="T108" fmla="*/ 1232 w 1268"/>
              <a:gd name="T109" fmla="*/ 98 h 231"/>
              <a:gd name="T110" fmla="*/ 1161 w 1268"/>
              <a:gd name="T111" fmla="*/ 145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268" h="231">
                <a:moveTo>
                  <a:pt x="0" y="227"/>
                </a:moveTo>
                <a:lnTo>
                  <a:pt x="0" y="0"/>
                </a:lnTo>
                <a:lnTo>
                  <a:pt x="73" y="0"/>
                </a:lnTo>
                <a:cubicBezTo>
                  <a:pt x="89" y="0"/>
                  <a:pt x="102" y="1"/>
                  <a:pt x="110" y="3"/>
                </a:cubicBezTo>
                <a:cubicBezTo>
                  <a:pt x="123" y="6"/>
                  <a:pt x="133" y="12"/>
                  <a:pt x="141" y="20"/>
                </a:cubicBezTo>
                <a:cubicBezTo>
                  <a:pt x="153" y="30"/>
                  <a:pt x="161" y="43"/>
                  <a:pt x="166" y="58"/>
                </a:cubicBezTo>
                <a:cubicBezTo>
                  <a:pt x="172" y="74"/>
                  <a:pt x="175" y="92"/>
                  <a:pt x="175" y="113"/>
                </a:cubicBezTo>
                <a:cubicBezTo>
                  <a:pt x="175" y="130"/>
                  <a:pt x="173" y="145"/>
                  <a:pt x="169" y="158"/>
                </a:cubicBezTo>
                <a:cubicBezTo>
                  <a:pt x="165" y="172"/>
                  <a:pt x="161" y="183"/>
                  <a:pt x="155" y="192"/>
                </a:cubicBezTo>
                <a:cubicBezTo>
                  <a:pt x="149" y="200"/>
                  <a:pt x="142" y="207"/>
                  <a:pt x="135" y="212"/>
                </a:cubicBezTo>
                <a:cubicBezTo>
                  <a:pt x="128" y="217"/>
                  <a:pt x="120" y="221"/>
                  <a:pt x="110" y="224"/>
                </a:cubicBezTo>
                <a:cubicBezTo>
                  <a:pt x="100" y="226"/>
                  <a:pt x="89" y="227"/>
                  <a:pt x="76" y="227"/>
                </a:cubicBezTo>
                <a:lnTo>
                  <a:pt x="0" y="227"/>
                </a:lnTo>
                <a:close/>
                <a:moveTo>
                  <a:pt x="28" y="201"/>
                </a:moveTo>
                <a:lnTo>
                  <a:pt x="73" y="201"/>
                </a:lnTo>
                <a:cubicBezTo>
                  <a:pt x="87" y="201"/>
                  <a:pt x="98" y="199"/>
                  <a:pt x="106" y="197"/>
                </a:cubicBezTo>
                <a:cubicBezTo>
                  <a:pt x="114" y="194"/>
                  <a:pt x="120" y="190"/>
                  <a:pt x="125" y="185"/>
                </a:cubicBezTo>
                <a:cubicBezTo>
                  <a:pt x="131" y="178"/>
                  <a:pt x="137" y="168"/>
                  <a:pt x="140" y="156"/>
                </a:cubicBezTo>
                <a:cubicBezTo>
                  <a:pt x="144" y="144"/>
                  <a:pt x="146" y="129"/>
                  <a:pt x="146" y="112"/>
                </a:cubicBezTo>
                <a:cubicBezTo>
                  <a:pt x="146" y="88"/>
                  <a:pt x="142" y="70"/>
                  <a:pt x="135" y="57"/>
                </a:cubicBezTo>
                <a:cubicBezTo>
                  <a:pt x="128" y="44"/>
                  <a:pt x="119" y="36"/>
                  <a:pt x="108" y="31"/>
                </a:cubicBezTo>
                <a:cubicBezTo>
                  <a:pt x="101" y="28"/>
                  <a:pt x="89" y="27"/>
                  <a:pt x="72" y="27"/>
                </a:cubicBezTo>
                <a:lnTo>
                  <a:pt x="28" y="27"/>
                </a:lnTo>
                <a:lnTo>
                  <a:pt x="28" y="201"/>
                </a:lnTo>
                <a:close/>
                <a:moveTo>
                  <a:pt x="200" y="145"/>
                </a:moveTo>
                <a:cubicBezTo>
                  <a:pt x="200" y="115"/>
                  <a:pt x="208" y="92"/>
                  <a:pt x="224" y="77"/>
                </a:cubicBezTo>
                <a:cubicBezTo>
                  <a:pt x="237" y="65"/>
                  <a:pt x="253" y="59"/>
                  <a:pt x="272" y="59"/>
                </a:cubicBezTo>
                <a:cubicBezTo>
                  <a:pt x="293" y="59"/>
                  <a:pt x="311" y="67"/>
                  <a:pt x="324" y="81"/>
                </a:cubicBezTo>
                <a:cubicBezTo>
                  <a:pt x="337" y="96"/>
                  <a:pt x="344" y="117"/>
                  <a:pt x="344" y="143"/>
                </a:cubicBezTo>
                <a:cubicBezTo>
                  <a:pt x="344" y="164"/>
                  <a:pt x="341" y="180"/>
                  <a:pt x="335" y="193"/>
                </a:cubicBezTo>
                <a:cubicBezTo>
                  <a:pt x="329" y="205"/>
                  <a:pt x="321" y="214"/>
                  <a:pt x="309" y="221"/>
                </a:cubicBezTo>
                <a:cubicBezTo>
                  <a:pt x="298" y="228"/>
                  <a:pt x="286" y="231"/>
                  <a:pt x="272" y="231"/>
                </a:cubicBezTo>
                <a:cubicBezTo>
                  <a:pt x="251" y="231"/>
                  <a:pt x="233" y="224"/>
                  <a:pt x="220" y="209"/>
                </a:cubicBezTo>
                <a:cubicBezTo>
                  <a:pt x="207" y="194"/>
                  <a:pt x="200" y="173"/>
                  <a:pt x="200" y="145"/>
                </a:cubicBezTo>
                <a:close/>
                <a:moveTo>
                  <a:pt x="227" y="145"/>
                </a:moveTo>
                <a:cubicBezTo>
                  <a:pt x="227" y="166"/>
                  <a:pt x="231" y="182"/>
                  <a:pt x="240" y="192"/>
                </a:cubicBezTo>
                <a:cubicBezTo>
                  <a:pt x="248" y="203"/>
                  <a:pt x="259" y="208"/>
                  <a:pt x="272" y="208"/>
                </a:cubicBezTo>
                <a:cubicBezTo>
                  <a:pt x="285" y="208"/>
                  <a:pt x="296" y="203"/>
                  <a:pt x="305" y="192"/>
                </a:cubicBezTo>
                <a:cubicBezTo>
                  <a:pt x="313" y="182"/>
                  <a:pt x="317" y="166"/>
                  <a:pt x="317" y="144"/>
                </a:cubicBezTo>
                <a:cubicBezTo>
                  <a:pt x="317" y="124"/>
                  <a:pt x="313" y="108"/>
                  <a:pt x="304" y="98"/>
                </a:cubicBezTo>
                <a:cubicBezTo>
                  <a:pt x="296" y="88"/>
                  <a:pt x="285" y="82"/>
                  <a:pt x="272" y="82"/>
                </a:cubicBezTo>
                <a:cubicBezTo>
                  <a:pt x="259" y="82"/>
                  <a:pt x="248" y="88"/>
                  <a:pt x="240" y="98"/>
                </a:cubicBezTo>
                <a:cubicBezTo>
                  <a:pt x="231" y="108"/>
                  <a:pt x="227" y="124"/>
                  <a:pt x="227" y="145"/>
                </a:cubicBezTo>
                <a:close/>
                <a:moveTo>
                  <a:pt x="399" y="227"/>
                </a:moveTo>
                <a:lnTo>
                  <a:pt x="353" y="63"/>
                </a:lnTo>
                <a:lnTo>
                  <a:pt x="380" y="63"/>
                </a:lnTo>
                <a:lnTo>
                  <a:pt x="405" y="158"/>
                </a:lnTo>
                <a:lnTo>
                  <a:pt x="413" y="193"/>
                </a:lnTo>
                <a:cubicBezTo>
                  <a:pt x="414" y="191"/>
                  <a:pt x="416" y="180"/>
                  <a:pt x="421" y="159"/>
                </a:cubicBezTo>
                <a:lnTo>
                  <a:pt x="445" y="63"/>
                </a:lnTo>
                <a:lnTo>
                  <a:pt x="472" y="63"/>
                </a:lnTo>
                <a:lnTo>
                  <a:pt x="495" y="158"/>
                </a:lnTo>
                <a:lnTo>
                  <a:pt x="503" y="190"/>
                </a:lnTo>
                <a:lnTo>
                  <a:pt x="512" y="158"/>
                </a:lnTo>
                <a:lnTo>
                  <a:pt x="538" y="63"/>
                </a:lnTo>
                <a:lnTo>
                  <a:pt x="563" y="63"/>
                </a:lnTo>
                <a:lnTo>
                  <a:pt x="515" y="227"/>
                </a:lnTo>
                <a:lnTo>
                  <a:pt x="488" y="227"/>
                </a:lnTo>
                <a:lnTo>
                  <a:pt x="464" y="129"/>
                </a:lnTo>
                <a:lnTo>
                  <a:pt x="458" y="101"/>
                </a:lnTo>
                <a:lnTo>
                  <a:pt x="427" y="227"/>
                </a:lnTo>
                <a:lnTo>
                  <a:pt x="399" y="227"/>
                </a:lnTo>
                <a:close/>
                <a:moveTo>
                  <a:pt x="585" y="227"/>
                </a:moveTo>
                <a:lnTo>
                  <a:pt x="585" y="63"/>
                </a:lnTo>
                <a:lnTo>
                  <a:pt x="609" y="63"/>
                </a:lnTo>
                <a:lnTo>
                  <a:pt x="609" y="86"/>
                </a:lnTo>
                <a:cubicBezTo>
                  <a:pt x="620" y="68"/>
                  <a:pt x="636" y="59"/>
                  <a:pt x="657" y="59"/>
                </a:cubicBezTo>
                <a:cubicBezTo>
                  <a:pt x="667" y="59"/>
                  <a:pt x="675" y="61"/>
                  <a:pt x="683" y="64"/>
                </a:cubicBezTo>
                <a:cubicBezTo>
                  <a:pt x="691" y="68"/>
                  <a:pt x="696" y="73"/>
                  <a:pt x="700" y="79"/>
                </a:cubicBezTo>
                <a:cubicBezTo>
                  <a:pt x="704" y="84"/>
                  <a:pt x="707" y="91"/>
                  <a:pt x="708" y="99"/>
                </a:cubicBezTo>
                <a:cubicBezTo>
                  <a:pt x="709" y="104"/>
                  <a:pt x="710" y="113"/>
                  <a:pt x="710" y="126"/>
                </a:cubicBezTo>
                <a:lnTo>
                  <a:pt x="710" y="227"/>
                </a:lnTo>
                <a:lnTo>
                  <a:pt x="684" y="227"/>
                </a:lnTo>
                <a:lnTo>
                  <a:pt x="684" y="127"/>
                </a:lnTo>
                <a:cubicBezTo>
                  <a:pt x="684" y="116"/>
                  <a:pt x="683" y="107"/>
                  <a:pt x="681" y="102"/>
                </a:cubicBezTo>
                <a:cubicBezTo>
                  <a:pt x="679" y="96"/>
                  <a:pt x="675" y="92"/>
                  <a:pt x="670" y="88"/>
                </a:cubicBezTo>
                <a:cubicBezTo>
                  <a:pt x="665" y="85"/>
                  <a:pt x="659" y="83"/>
                  <a:pt x="652" y="83"/>
                </a:cubicBezTo>
                <a:cubicBezTo>
                  <a:pt x="641" y="83"/>
                  <a:pt x="631" y="87"/>
                  <a:pt x="623" y="95"/>
                </a:cubicBezTo>
                <a:cubicBezTo>
                  <a:pt x="615" y="102"/>
                  <a:pt x="611" y="116"/>
                  <a:pt x="611" y="138"/>
                </a:cubicBezTo>
                <a:lnTo>
                  <a:pt x="611" y="227"/>
                </a:lnTo>
                <a:lnTo>
                  <a:pt x="585" y="227"/>
                </a:lnTo>
                <a:close/>
                <a:moveTo>
                  <a:pt x="749" y="227"/>
                </a:moveTo>
                <a:lnTo>
                  <a:pt x="749" y="0"/>
                </a:lnTo>
                <a:lnTo>
                  <a:pt x="775" y="0"/>
                </a:lnTo>
                <a:lnTo>
                  <a:pt x="775" y="227"/>
                </a:lnTo>
                <a:lnTo>
                  <a:pt x="749" y="227"/>
                </a:lnTo>
                <a:close/>
                <a:moveTo>
                  <a:pt x="806" y="145"/>
                </a:moveTo>
                <a:cubicBezTo>
                  <a:pt x="806" y="115"/>
                  <a:pt x="814" y="92"/>
                  <a:pt x="829" y="77"/>
                </a:cubicBezTo>
                <a:cubicBezTo>
                  <a:pt x="843" y="65"/>
                  <a:pt x="859" y="59"/>
                  <a:pt x="878" y="59"/>
                </a:cubicBezTo>
                <a:cubicBezTo>
                  <a:pt x="899" y="59"/>
                  <a:pt x="916" y="67"/>
                  <a:pt x="929" y="81"/>
                </a:cubicBezTo>
                <a:cubicBezTo>
                  <a:pt x="943" y="96"/>
                  <a:pt x="949" y="117"/>
                  <a:pt x="949" y="143"/>
                </a:cubicBezTo>
                <a:cubicBezTo>
                  <a:pt x="949" y="164"/>
                  <a:pt x="946" y="180"/>
                  <a:pt x="941" y="193"/>
                </a:cubicBezTo>
                <a:cubicBezTo>
                  <a:pt x="935" y="205"/>
                  <a:pt x="926" y="214"/>
                  <a:pt x="915" y="221"/>
                </a:cubicBezTo>
                <a:cubicBezTo>
                  <a:pt x="903" y="228"/>
                  <a:pt x="891" y="231"/>
                  <a:pt x="878" y="231"/>
                </a:cubicBezTo>
                <a:cubicBezTo>
                  <a:pt x="856" y="231"/>
                  <a:pt x="839" y="224"/>
                  <a:pt x="826" y="209"/>
                </a:cubicBezTo>
                <a:cubicBezTo>
                  <a:pt x="812" y="194"/>
                  <a:pt x="806" y="173"/>
                  <a:pt x="806" y="145"/>
                </a:cubicBezTo>
                <a:close/>
                <a:moveTo>
                  <a:pt x="832" y="145"/>
                </a:moveTo>
                <a:cubicBezTo>
                  <a:pt x="832" y="166"/>
                  <a:pt x="837" y="182"/>
                  <a:pt x="845" y="192"/>
                </a:cubicBezTo>
                <a:cubicBezTo>
                  <a:pt x="854" y="203"/>
                  <a:pt x="865" y="208"/>
                  <a:pt x="878" y="208"/>
                </a:cubicBezTo>
                <a:cubicBezTo>
                  <a:pt x="891" y="208"/>
                  <a:pt x="901" y="203"/>
                  <a:pt x="910" y="192"/>
                </a:cubicBezTo>
                <a:cubicBezTo>
                  <a:pt x="919" y="182"/>
                  <a:pt x="923" y="166"/>
                  <a:pt x="923" y="144"/>
                </a:cubicBezTo>
                <a:cubicBezTo>
                  <a:pt x="923" y="124"/>
                  <a:pt x="918" y="108"/>
                  <a:pt x="910" y="98"/>
                </a:cubicBezTo>
                <a:cubicBezTo>
                  <a:pt x="901" y="88"/>
                  <a:pt x="890" y="82"/>
                  <a:pt x="878" y="82"/>
                </a:cubicBezTo>
                <a:cubicBezTo>
                  <a:pt x="865" y="82"/>
                  <a:pt x="854" y="88"/>
                  <a:pt x="845" y="98"/>
                </a:cubicBezTo>
                <a:cubicBezTo>
                  <a:pt x="837" y="108"/>
                  <a:pt x="832" y="124"/>
                  <a:pt x="832" y="145"/>
                </a:cubicBezTo>
                <a:close/>
                <a:moveTo>
                  <a:pt x="1080" y="207"/>
                </a:moveTo>
                <a:cubicBezTo>
                  <a:pt x="1071" y="216"/>
                  <a:pt x="1061" y="222"/>
                  <a:pt x="1052" y="225"/>
                </a:cubicBezTo>
                <a:cubicBezTo>
                  <a:pt x="1043" y="229"/>
                  <a:pt x="1034" y="231"/>
                  <a:pt x="1024" y="231"/>
                </a:cubicBezTo>
                <a:cubicBezTo>
                  <a:pt x="1007" y="231"/>
                  <a:pt x="994" y="227"/>
                  <a:pt x="985" y="218"/>
                </a:cubicBezTo>
                <a:cubicBezTo>
                  <a:pt x="976" y="209"/>
                  <a:pt x="971" y="198"/>
                  <a:pt x="971" y="184"/>
                </a:cubicBezTo>
                <a:cubicBezTo>
                  <a:pt x="971" y="176"/>
                  <a:pt x="973" y="169"/>
                  <a:pt x="976" y="162"/>
                </a:cubicBezTo>
                <a:cubicBezTo>
                  <a:pt x="980" y="155"/>
                  <a:pt x="984" y="150"/>
                  <a:pt x="990" y="146"/>
                </a:cubicBezTo>
                <a:cubicBezTo>
                  <a:pt x="995" y="142"/>
                  <a:pt x="1001" y="139"/>
                  <a:pt x="1008" y="137"/>
                </a:cubicBezTo>
                <a:cubicBezTo>
                  <a:pt x="1014" y="135"/>
                  <a:pt x="1021" y="134"/>
                  <a:pt x="1032" y="133"/>
                </a:cubicBezTo>
                <a:cubicBezTo>
                  <a:pt x="1053" y="130"/>
                  <a:pt x="1068" y="127"/>
                  <a:pt x="1078" y="123"/>
                </a:cubicBezTo>
                <a:cubicBezTo>
                  <a:pt x="1078" y="119"/>
                  <a:pt x="1078" y="117"/>
                  <a:pt x="1078" y="116"/>
                </a:cubicBezTo>
                <a:cubicBezTo>
                  <a:pt x="1078" y="104"/>
                  <a:pt x="1076" y="96"/>
                  <a:pt x="1071" y="92"/>
                </a:cubicBezTo>
                <a:cubicBezTo>
                  <a:pt x="1064" y="85"/>
                  <a:pt x="1054" y="82"/>
                  <a:pt x="1041" y="82"/>
                </a:cubicBezTo>
                <a:cubicBezTo>
                  <a:pt x="1029" y="82"/>
                  <a:pt x="1020" y="85"/>
                  <a:pt x="1014" y="89"/>
                </a:cubicBezTo>
                <a:cubicBezTo>
                  <a:pt x="1008" y="94"/>
                  <a:pt x="1004" y="102"/>
                  <a:pt x="1001" y="114"/>
                </a:cubicBezTo>
                <a:lnTo>
                  <a:pt x="976" y="110"/>
                </a:lnTo>
                <a:cubicBezTo>
                  <a:pt x="978" y="98"/>
                  <a:pt x="982" y="89"/>
                  <a:pt x="987" y="82"/>
                </a:cubicBezTo>
                <a:cubicBezTo>
                  <a:pt x="992" y="74"/>
                  <a:pt x="1000" y="69"/>
                  <a:pt x="1010" y="65"/>
                </a:cubicBezTo>
                <a:cubicBezTo>
                  <a:pt x="1020" y="61"/>
                  <a:pt x="1032" y="59"/>
                  <a:pt x="1045" y="59"/>
                </a:cubicBezTo>
                <a:cubicBezTo>
                  <a:pt x="1058" y="59"/>
                  <a:pt x="1069" y="61"/>
                  <a:pt x="1077" y="64"/>
                </a:cubicBezTo>
                <a:cubicBezTo>
                  <a:pt x="1085" y="67"/>
                  <a:pt x="1091" y="72"/>
                  <a:pt x="1095" y="77"/>
                </a:cubicBezTo>
                <a:cubicBezTo>
                  <a:pt x="1099" y="82"/>
                  <a:pt x="1102" y="88"/>
                  <a:pt x="1103" y="96"/>
                </a:cubicBezTo>
                <a:cubicBezTo>
                  <a:pt x="1104" y="100"/>
                  <a:pt x="1104" y="109"/>
                  <a:pt x="1104" y="121"/>
                </a:cubicBezTo>
                <a:lnTo>
                  <a:pt x="1104" y="158"/>
                </a:lnTo>
                <a:cubicBezTo>
                  <a:pt x="1104" y="184"/>
                  <a:pt x="1105" y="201"/>
                  <a:pt x="1106" y="208"/>
                </a:cubicBezTo>
                <a:cubicBezTo>
                  <a:pt x="1107" y="214"/>
                  <a:pt x="1109" y="221"/>
                  <a:pt x="1112" y="227"/>
                </a:cubicBezTo>
                <a:lnTo>
                  <a:pt x="1085" y="227"/>
                </a:lnTo>
                <a:cubicBezTo>
                  <a:pt x="1083" y="222"/>
                  <a:pt x="1081" y="215"/>
                  <a:pt x="1080" y="207"/>
                </a:cubicBezTo>
                <a:close/>
                <a:moveTo>
                  <a:pt x="1078" y="145"/>
                </a:moveTo>
                <a:cubicBezTo>
                  <a:pt x="1069" y="149"/>
                  <a:pt x="1055" y="152"/>
                  <a:pt x="1036" y="155"/>
                </a:cubicBezTo>
                <a:cubicBezTo>
                  <a:pt x="1025" y="157"/>
                  <a:pt x="1017" y="159"/>
                  <a:pt x="1013" y="161"/>
                </a:cubicBezTo>
                <a:cubicBezTo>
                  <a:pt x="1008" y="163"/>
                  <a:pt x="1005" y="166"/>
                  <a:pt x="1003" y="170"/>
                </a:cubicBezTo>
                <a:cubicBezTo>
                  <a:pt x="1000" y="174"/>
                  <a:pt x="999" y="178"/>
                  <a:pt x="999" y="183"/>
                </a:cubicBezTo>
                <a:cubicBezTo>
                  <a:pt x="999" y="190"/>
                  <a:pt x="1002" y="197"/>
                  <a:pt x="1007" y="202"/>
                </a:cubicBezTo>
                <a:cubicBezTo>
                  <a:pt x="1012" y="207"/>
                  <a:pt x="1020" y="209"/>
                  <a:pt x="1030" y="209"/>
                </a:cubicBezTo>
                <a:cubicBezTo>
                  <a:pt x="1040" y="209"/>
                  <a:pt x="1049" y="207"/>
                  <a:pt x="1057" y="202"/>
                </a:cubicBezTo>
                <a:cubicBezTo>
                  <a:pt x="1064" y="197"/>
                  <a:pt x="1070" y="191"/>
                  <a:pt x="1074" y="183"/>
                </a:cubicBezTo>
                <a:cubicBezTo>
                  <a:pt x="1077" y="177"/>
                  <a:pt x="1078" y="167"/>
                  <a:pt x="1078" y="155"/>
                </a:cubicBezTo>
                <a:lnTo>
                  <a:pt x="1078" y="145"/>
                </a:lnTo>
                <a:close/>
                <a:moveTo>
                  <a:pt x="1244" y="227"/>
                </a:moveTo>
                <a:lnTo>
                  <a:pt x="1244" y="207"/>
                </a:lnTo>
                <a:cubicBezTo>
                  <a:pt x="1234" y="223"/>
                  <a:pt x="1220" y="231"/>
                  <a:pt x="1201" y="231"/>
                </a:cubicBezTo>
                <a:cubicBezTo>
                  <a:pt x="1188" y="231"/>
                  <a:pt x="1177" y="227"/>
                  <a:pt x="1167" y="220"/>
                </a:cubicBezTo>
                <a:cubicBezTo>
                  <a:pt x="1157" y="213"/>
                  <a:pt x="1149" y="203"/>
                  <a:pt x="1143" y="190"/>
                </a:cubicBezTo>
                <a:cubicBezTo>
                  <a:pt x="1138" y="177"/>
                  <a:pt x="1135" y="162"/>
                  <a:pt x="1135" y="145"/>
                </a:cubicBezTo>
                <a:cubicBezTo>
                  <a:pt x="1135" y="129"/>
                  <a:pt x="1137" y="114"/>
                  <a:pt x="1142" y="101"/>
                </a:cubicBezTo>
                <a:cubicBezTo>
                  <a:pt x="1147" y="87"/>
                  <a:pt x="1155" y="77"/>
                  <a:pt x="1165" y="70"/>
                </a:cubicBezTo>
                <a:cubicBezTo>
                  <a:pt x="1175" y="63"/>
                  <a:pt x="1187" y="59"/>
                  <a:pt x="1200" y="59"/>
                </a:cubicBezTo>
                <a:cubicBezTo>
                  <a:pt x="1209" y="59"/>
                  <a:pt x="1217" y="61"/>
                  <a:pt x="1224" y="65"/>
                </a:cubicBezTo>
                <a:cubicBezTo>
                  <a:pt x="1231" y="70"/>
                  <a:pt x="1237" y="75"/>
                  <a:pt x="1242" y="82"/>
                </a:cubicBezTo>
                <a:lnTo>
                  <a:pt x="1242" y="0"/>
                </a:lnTo>
                <a:lnTo>
                  <a:pt x="1268" y="0"/>
                </a:lnTo>
                <a:lnTo>
                  <a:pt x="1268" y="227"/>
                </a:lnTo>
                <a:lnTo>
                  <a:pt x="1244" y="227"/>
                </a:lnTo>
                <a:close/>
                <a:moveTo>
                  <a:pt x="1161" y="145"/>
                </a:moveTo>
                <a:cubicBezTo>
                  <a:pt x="1161" y="166"/>
                  <a:pt x="1165" y="182"/>
                  <a:pt x="1174" y="192"/>
                </a:cubicBezTo>
                <a:cubicBezTo>
                  <a:pt x="1182" y="203"/>
                  <a:pt x="1192" y="208"/>
                  <a:pt x="1203" y="208"/>
                </a:cubicBezTo>
                <a:cubicBezTo>
                  <a:pt x="1215" y="208"/>
                  <a:pt x="1224" y="203"/>
                  <a:pt x="1232" y="193"/>
                </a:cubicBezTo>
                <a:cubicBezTo>
                  <a:pt x="1240" y="183"/>
                  <a:pt x="1244" y="168"/>
                  <a:pt x="1244" y="148"/>
                </a:cubicBezTo>
                <a:cubicBezTo>
                  <a:pt x="1244" y="125"/>
                  <a:pt x="1240" y="109"/>
                  <a:pt x="1232" y="98"/>
                </a:cubicBezTo>
                <a:cubicBezTo>
                  <a:pt x="1224" y="88"/>
                  <a:pt x="1214" y="82"/>
                  <a:pt x="1202" y="82"/>
                </a:cubicBezTo>
                <a:cubicBezTo>
                  <a:pt x="1190" y="82"/>
                  <a:pt x="1181" y="87"/>
                  <a:pt x="1173" y="97"/>
                </a:cubicBezTo>
                <a:cubicBezTo>
                  <a:pt x="1165" y="108"/>
                  <a:pt x="1161" y="123"/>
                  <a:pt x="1161" y="1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4" name="Freeform 24">
            <a:extLst>
              <a:ext uri="{FF2B5EF4-FFF2-40B4-BE49-F238E27FC236}">
                <a16:creationId xmlns:a16="http://schemas.microsoft.com/office/drawing/2014/main" id="{EE8CD203-5DF1-4187-9EC0-3B11BEF2396D}"/>
              </a:ext>
            </a:extLst>
          </p:cNvPr>
          <p:cNvSpPr>
            <a:spLocks noEditPoints="1"/>
          </p:cNvSpPr>
          <p:nvPr/>
        </p:nvSpPr>
        <p:spPr bwMode="auto">
          <a:xfrm>
            <a:off x="7300913" y="2016126"/>
            <a:ext cx="523875" cy="196850"/>
          </a:xfrm>
          <a:custGeom>
            <a:avLst/>
            <a:gdLst>
              <a:gd name="T0" fmla="*/ 138 w 1455"/>
              <a:gd name="T1" fmla="*/ 94 h 548"/>
              <a:gd name="T2" fmla="*/ 138 w 1455"/>
              <a:gd name="T3" fmla="*/ 120 h 548"/>
              <a:gd name="T4" fmla="*/ 379 w 1455"/>
              <a:gd name="T5" fmla="*/ 318 h 548"/>
              <a:gd name="T6" fmla="*/ 544 w 1455"/>
              <a:gd name="T7" fmla="*/ 318 h 548"/>
              <a:gd name="T8" fmla="*/ 493 w 1455"/>
              <a:gd name="T9" fmla="*/ 545 h 548"/>
              <a:gd name="T10" fmla="*/ 728 w 1455"/>
              <a:gd name="T11" fmla="*/ 492 h 548"/>
              <a:gd name="T12" fmla="*/ 615 w 1455"/>
              <a:gd name="T13" fmla="*/ 464 h 548"/>
              <a:gd name="T14" fmla="*/ 756 w 1455"/>
              <a:gd name="T15" fmla="*/ 470 h 548"/>
              <a:gd name="T16" fmla="*/ 728 w 1455"/>
              <a:gd name="T17" fmla="*/ 492 h 548"/>
              <a:gd name="T18" fmla="*/ 656 w 1455"/>
              <a:gd name="T19" fmla="*/ 412 h 548"/>
              <a:gd name="T20" fmla="*/ 811 w 1455"/>
              <a:gd name="T21" fmla="*/ 404 h 548"/>
              <a:gd name="T22" fmla="*/ 912 w 1455"/>
              <a:gd name="T23" fmla="*/ 444 h 548"/>
              <a:gd name="T24" fmla="*/ 872 w 1455"/>
              <a:gd name="T25" fmla="*/ 406 h 548"/>
              <a:gd name="T26" fmla="*/ 788 w 1455"/>
              <a:gd name="T27" fmla="*/ 545 h 548"/>
              <a:gd name="T28" fmla="*/ 961 w 1455"/>
              <a:gd name="T29" fmla="*/ 529 h 548"/>
              <a:gd name="T30" fmla="*/ 978 w 1455"/>
              <a:gd name="T31" fmla="*/ 471 h 548"/>
              <a:gd name="T32" fmla="*/ 1046 w 1455"/>
              <a:gd name="T33" fmla="*/ 500 h 548"/>
              <a:gd name="T34" fmla="*/ 1053 w 1455"/>
              <a:gd name="T35" fmla="*/ 545 h 548"/>
              <a:gd name="T36" fmla="*/ 200 w 1455"/>
              <a:gd name="T37" fmla="*/ 184 h 548"/>
              <a:gd name="T38" fmla="*/ 307 w 1455"/>
              <a:gd name="T39" fmla="*/ 123 h 548"/>
              <a:gd name="T40" fmla="*/ 230 w 1455"/>
              <a:gd name="T41" fmla="*/ 114 h 548"/>
              <a:gd name="T42" fmla="*/ 306 w 1455"/>
              <a:gd name="T43" fmla="*/ 64 h 548"/>
              <a:gd name="T44" fmla="*/ 335 w 1455"/>
              <a:gd name="T45" fmla="*/ 208 h 548"/>
              <a:gd name="T46" fmla="*/ 265 w 1455"/>
              <a:gd name="T47" fmla="*/ 155 h 548"/>
              <a:gd name="T48" fmla="*/ 259 w 1455"/>
              <a:gd name="T49" fmla="*/ 209 h 548"/>
              <a:gd name="T50" fmla="*/ 374 w 1455"/>
              <a:gd name="T51" fmla="*/ 227 h 548"/>
              <a:gd name="T52" fmla="*/ 444 w 1455"/>
              <a:gd name="T53" fmla="*/ 59 h 548"/>
              <a:gd name="T54" fmla="*/ 582 w 1455"/>
              <a:gd name="T55" fmla="*/ 114 h 548"/>
              <a:gd name="T56" fmla="*/ 544 w 1455"/>
              <a:gd name="T57" fmla="*/ 88 h 548"/>
              <a:gd name="T58" fmla="*/ 465 w 1455"/>
              <a:gd name="T59" fmla="*/ 227 h 548"/>
              <a:gd name="T60" fmla="*/ 404 w 1455"/>
              <a:gd name="T61" fmla="*/ 108 h 548"/>
              <a:gd name="T62" fmla="*/ 620 w 1455"/>
              <a:gd name="T63" fmla="*/ 227 h 548"/>
              <a:gd name="T64" fmla="*/ 715 w 1455"/>
              <a:gd name="T65" fmla="*/ 65 h 548"/>
              <a:gd name="T66" fmla="*/ 687 w 1455"/>
              <a:gd name="T67" fmla="*/ 231 h 548"/>
              <a:gd name="T68" fmla="*/ 684 w 1455"/>
              <a:gd name="T69" fmla="*/ 208 h 548"/>
              <a:gd name="T70" fmla="*/ 656 w 1455"/>
              <a:gd name="T71" fmla="*/ 98 h 548"/>
              <a:gd name="T72" fmla="*/ 811 w 1455"/>
              <a:gd name="T73" fmla="*/ 225 h 548"/>
              <a:gd name="T74" fmla="*/ 810 w 1455"/>
              <a:gd name="T75" fmla="*/ 63 h 548"/>
              <a:gd name="T76" fmla="*/ 864 w 1455"/>
              <a:gd name="T77" fmla="*/ 200 h 548"/>
              <a:gd name="T78" fmla="*/ 908 w 1455"/>
              <a:gd name="T79" fmla="*/ 227 h 548"/>
              <a:gd name="T80" fmla="*/ 972 w 1455"/>
              <a:gd name="T81" fmla="*/ 88 h 548"/>
              <a:gd name="T82" fmla="*/ 1004 w 1455"/>
              <a:gd name="T83" fmla="*/ 88 h 548"/>
              <a:gd name="T84" fmla="*/ 949 w 1455"/>
              <a:gd name="T85" fmla="*/ 227 h 548"/>
              <a:gd name="T86" fmla="*/ 1127 w 1455"/>
              <a:gd name="T87" fmla="*/ 263 h 548"/>
              <a:gd name="T88" fmla="*/ 1033 w 1455"/>
              <a:gd name="T89" fmla="*/ 144 h 548"/>
              <a:gd name="T90" fmla="*/ 1144 w 1455"/>
              <a:gd name="T91" fmla="*/ 63 h 548"/>
              <a:gd name="T92" fmla="*/ 1099 w 1455"/>
              <a:gd name="T93" fmla="*/ 294 h 548"/>
              <a:gd name="T94" fmla="*/ 1102 w 1455"/>
              <a:gd name="T95" fmla="*/ 204 h 548"/>
              <a:gd name="T96" fmla="*/ 1072 w 1455"/>
              <a:gd name="T97" fmla="*/ 97 h 548"/>
              <a:gd name="T98" fmla="*/ 1272 w 1455"/>
              <a:gd name="T99" fmla="*/ 231 h 548"/>
              <a:gd name="T100" fmla="*/ 1321 w 1455"/>
              <a:gd name="T101" fmla="*/ 82 h 548"/>
              <a:gd name="T102" fmla="*/ 1272 w 1455"/>
              <a:gd name="T103" fmla="*/ 208 h 548"/>
              <a:gd name="T104" fmla="*/ 1303 w 1455"/>
              <a:gd name="T105" fmla="*/ 98 h 548"/>
              <a:gd name="T106" fmla="*/ 1372 w 1455"/>
              <a:gd name="T107" fmla="*/ 63 h 548"/>
              <a:gd name="T108" fmla="*/ 1455 w 1455"/>
              <a:gd name="T109" fmla="*/ 68 h 548"/>
              <a:gd name="T110" fmla="*/ 1398 w 1455"/>
              <a:gd name="T111" fmla="*/ 141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55" h="548">
                <a:moveTo>
                  <a:pt x="0" y="227"/>
                </a:moveTo>
                <a:lnTo>
                  <a:pt x="0" y="0"/>
                </a:lnTo>
                <a:lnTo>
                  <a:pt x="28" y="0"/>
                </a:lnTo>
                <a:lnTo>
                  <a:pt x="28" y="94"/>
                </a:lnTo>
                <a:lnTo>
                  <a:pt x="138" y="94"/>
                </a:lnTo>
                <a:lnTo>
                  <a:pt x="138" y="0"/>
                </a:lnTo>
                <a:lnTo>
                  <a:pt x="166" y="0"/>
                </a:lnTo>
                <a:lnTo>
                  <a:pt x="166" y="227"/>
                </a:lnTo>
                <a:lnTo>
                  <a:pt x="138" y="227"/>
                </a:lnTo>
                <a:lnTo>
                  <a:pt x="138" y="120"/>
                </a:lnTo>
                <a:lnTo>
                  <a:pt x="28" y="120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379" y="545"/>
                </a:moveTo>
                <a:lnTo>
                  <a:pt x="379" y="318"/>
                </a:lnTo>
                <a:lnTo>
                  <a:pt x="421" y="318"/>
                </a:lnTo>
                <a:lnTo>
                  <a:pt x="472" y="479"/>
                </a:lnTo>
                <a:cubicBezTo>
                  <a:pt x="476" y="493"/>
                  <a:pt x="480" y="505"/>
                  <a:pt x="482" y="512"/>
                </a:cubicBezTo>
                <a:cubicBezTo>
                  <a:pt x="484" y="504"/>
                  <a:pt x="488" y="492"/>
                  <a:pt x="493" y="476"/>
                </a:cubicBezTo>
                <a:lnTo>
                  <a:pt x="544" y="318"/>
                </a:lnTo>
                <a:lnTo>
                  <a:pt x="582" y="318"/>
                </a:lnTo>
                <a:lnTo>
                  <a:pt x="582" y="545"/>
                </a:lnTo>
                <a:lnTo>
                  <a:pt x="555" y="545"/>
                </a:lnTo>
                <a:lnTo>
                  <a:pt x="555" y="355"/>
                </a:lnTo>
                <a:lnTo>
                  <a:pt x="493" y="545"/>
                </a:lnTo>
                <a:lnTo>
                  <a:pt x="468" y="545"/>
                </a:lnTo>
                <a:lnTo>
                  <a:pt x="406" y="351"/>
                </a:lnTo>
                <a:lnTo>
                  <a:pt x="406" y="545"/>
                </a:lnTo>
                <a:lnTo>
                  <a:pt x="379" y="545"/>
                </a:lnTo>
                <a:close/>
                <a:moveTo>
                  <a:pt x="728" y="492"/>
                </a:moveTo>
                <a:lnTo>
                  <a:pt x="755" y="495"/>
                </a:lnTo>
                <a:cubicBezTo>
                  <a:pt x="751" y="512"/>
                  <a:pt x="743" y="525"/>
                  <a:pt x="731" y="534"/>
                </a:cubicBezTo>
                <a:cubicBezTo>
                  <a:pt x="720" y="544"/>
                  <a:pt x="705" y="548"/>
                  <a:pt x="688" y="548"/>
                </a:cubicBezTo>
                <a:cubicBezTo>
                  <a:pt x="665" y="548"/>
                  <a:pt x="647" y="541"/>
                  <a:pt x="634" y="526"/>
                </a:cubicBezTo>
                <a:cubicBezTo>
                  <a:pt x="621" y="511"/>
                  <a:pt x="615" y="491"/>
                  <a:pt x="615" y="464"/>
                </a:cubicBezTo>
                <a:cubicBezTo>
                  <a:pt x="615" y="436"/>
                  <a:pt x="621" y="415"/>
                  <a:pt x="635" y="400"/>
                </a:cubicBezTo>
                <a:cubicBezTo>
                  <a:pt x="648" y="384"/>
                  <a:pt x="665" y="377"/>
                  <a:pt x="686" y="377"/>
                </a:cubicBezTo>
                <a:cubicBezTo>
                  <a:pt x="707" y="377"/>
                  <a:pt x="723" y="384"/>
                  <a:pt x="736" y="399"/>
                </a:cubicBezTo>
                <a:cubicBezTo>
                  <a:pt x="749" y="414"/>
                  <a:pt x="756" y="435"/>
                  <a:pt x="756" y="462"/>
                </a:cubicBezTo>
                <a:cubicBezTo>
                  <a:pt x="756" y="464"/>
                  <a:pt x="756" y="466"/>
                  <a:pt x="756" y="470"/>
                </a:cubicBezTo>
                <a:lnTo>
                  <a:pt x="641" y="470"/>
                </a:lnTo>
                <a:cubicBezTo>
                  <a:pt x="642" y="488"/>
                  <a:pt x="647" y="502"/>
                  <a:pt x="656" y="511"/>
                </a:cubicBezTo>
                <a:cubicBezTo>
                  <a:pt x="664" y="521"/>
                  <a:pt x="675" y="526"/>
                  <a:pt x="688" y="526"/>
                </a:cubicBezTo>
                <a:cubicBezTo>
                  <a:pt x="697" y="526"/>
                  <a:pt x="705" y="523"/>
                  <a:pt x="712" y="517"/>
                </a:cubicBezTo>
                <a:cubicBezTo>
                  <a:pt x="719" y="512"/>
                  <a:pt x="724" y="503"/>
                  <a:pt x="728" y="492"/>
                </a:cubicBezTo>
                <a:close/>
                <a:moveTo>
                  <a:pt x="643" y="447"/>
                </a:moveTo>
                <a:lnTo>
                  <a:pt x="728" y="447"/>
                </a:lnTo>
                <a:cubicBezTo>
                  <a:pt x="727" y="433"/>
                  <a:pt x="724" y="423"/>
                  <a:pt x="718" y="416"/>
                </a:cubicBezTo>
                <a:cubicBezTo>
                  <a:pt x="710" y="405"/>
                  <a:pt x="699" y="399"/>
                  <a:pt x="686" y="399"/>
                </a:cubicBezTo>
                <a:cubicBezTo>
                  <a:pt x="674" y="399"/>
                  <a:pt x="664" y="404"/>
                  <a:pt x="656" y="412"/>
                </a:cubicBezTo>
                <a:cubicBezTo>
                  <a:pt x="648" y="421"/>
                  <a:pt x="644" y="432"/>
                  <a:pt x="643" y="447"/>
                </a:cubicBezTo>
                <a:close/>
                <a:moveTo>
                  <a:pt x="788" y="545"/>
                </a:moveTo>
                <a:lnTo>
                  <a:pt x="788" y="380"/>
                </a:lnTo>
                <a:lnTo>
                  <a:pt x="811" y="380"/>
                </a:lnTo>
                <a:lnTo>
                  <a:pt x="811" y="404"/>
                </a:lnTo>
                <a:cubicBezTo>
                  <a:pt x="822" y="386"/>
                  <a:pt x="839" y="377"/>
                  <a:pt x="860" y="377"/>
                </a:cubicBezTo>
                <a:cubicBezTo>
                  <a:pt x="869" y="377"/>
                  <a:pt x="878" y="378"/>
                  <a:pt x="885" y="382"/>
                </a:cubicBezTo>
                <a:cubicBezTo>
                  <a:pt x="893" y="386"/>
                  <a:pt x="899" y="390"/>
                  <a:pt x="903" y="396"/>
                </a:cubicBezTo>
                <a:cubicBezTo>
                  <a:pt x="907" y="402"/>
                  <a:pt x="909" y="409"/>
                  <a:pt x="911" y="417"/>
                </a:cubicBezTo>
                <a:cubicBezTo>
                  <a:pt x="912" y="422"/>
                  <a:pt x="912" y="431"/>
                  <a:pt x="912" y="444"/>
                </a:cubicBezTo>
                <a:lnTo>
                  <a:pt x="912" y="545"/>
                </a:lnTo>
                <a:lnTo>
                  <a:pt x="886" y="545"/>
                </a:lnTo>
                <a:lnTo>
                  <a:pt x="886" y="445"/>
                </a:lnTo>
                <a:cubicBezTo>
                  <a:pt x="886" y="433"/>
                  <a:pt x="885" y="425"/>
                  <a:pt x="883" y="419"/>
                </a:cubicBezTo>
                <a:cubicBezTo>
                  <a:pt x="881" y="414"/>
                  <a:pt x="878" y="409"/>
                  <a:pt x="872" y="406"/>
                </a:cubicBezTo>
                <a:cubicBezTo>
                  <a:pt x="867" y="402"/>
                  <a:pt x="861" y="401"/>
                  <a:pt x="854" y="401"/>
                </a:cubicBezTo>
                <a:cubicBezTo>
                  <a:pt x="843" y="401"/>
                  <a:pt x="834" y="405"/>
                  <a:pt x="826" y="412"/>
                </a:cubicBezTo>
                <a:cubicBezTo>
                  <a:pt x="818" y="420"/>
                  <a:pt x="814" y="434"/>
                  <a:pt x="814" y="455"/>
                </a:cubicBezTo>
                <a:lnTo>
                  <a:pt x="814" y="545"/>
                </a:lnTo>
                <a:lnTo>
                  <a:pt x="788" y="545"/>
                </a:lnTo>
                <a:close/>
                <a:moveTo>
                  <a:pt x="1053" y="545"/>
                </a:moveTo>
                <a:lnTo>
                  <a:pt x="1053" y="520"/>
                </a:lnTo>
                <a:cubicBezTo>
                  <a:pt x="1041" y="539"/>
                  <a:pt x="1024" y="548"/>
                  <a:pt x="1004" y="548"/>
                </a:cubicBezTo>
                <a:cubicBezTo>
                  <a:pt x="995" y="548"/>
                  <a:pt x="987" y="547"/>
                  <a:pt x="979" y="543"/>
                </a:cubicBezTo>
                <a:cubicBezTo>
                  <a:pt x="971" y="539"/>
                  <a:pt x="965" y="534"/>
                  <a:pt x="961" y="529"/>
                </a:cubicBezTo>
                <a:cubicBezTo>
                  <a:pt x="957" y="523"/>
                  <a:pt x="955" y="516"/>
                  <a:pt x="953" y="508"/>
                </a:cubicBezTo>
                <a:cubicBezTo>
                  <a:pt x="952" y="503"/>
                  <a:pt x="952" y="494"/>
                  <a:pt x="952" y="482"/>
                </a:cubicBezTo>
                <a:lnTo>
                  <a:pt x="952" y="380"/>
                </a:lnTo>
                <a:lnTo>
                  <a:pt x="978" y="380"/>
                </a:lnTo>
                <a:lnTo>
                  <a:pt x="978" y="471"/>
                </a:lnTo>
                <a:cubicBezTo>
                  <a:pt x="978" y="486"/>
                  <a:pt x="978" y="496"/>
                  <a:pt x="979" y="501"/>
                </a:cubicBezTo>
                <a:cubicBezTo>
                  <a:pt x="981" y="508"/>
                  <a:pt x="984" y="514"/>
                  <a:pt x="990" y="518"/>
                </a:cubicBezTo>
                <a:cubicBezTo>
                  <a:pt x="995" y="522"/>
                  <a:pt x="1001" y="524"/>
                  <a:pt x="1009" y="524"/>
                </a:cubicBezTo>
                <a:cubicBezTo>
                  <a:pt x="1017" y="524"/>
                  <a:pt x="1024" y="522"/>
                  <a:pt x="1031" y="518"/>
                </a:cubicBezTo>
                <a:cubicBezTo>
                  <a:pt x="1038" y="514"/>
                  <a:pt x="1043" y="508"/>
                  <a:pt x="1046" y="500"/>
                </a:cubicBezTo>
                <a:cubicBezTo>
                  <a:pt x="1048" y="493"/>
                  <a:pt x="1050" y="482"/>
                  <a:pt x="1050" y="468"/>
                </a:cubicBezTo>
                <a:lnTo>
                  <a:pt x="1050" y="380"/>
                </a:lnTo>
                <a:lnTo>
                  <a:pt x="1076" y="380"/>
                </a:lnTo>
                <a:lnTo>
                  <a:pt x="1076" y="545"/>
                </a:lnTo>
                <a:lnTo>
                  <a:pt x="1053" y="545"/>
                </a:lnTo>
                <a:close/>
                <a:moveTo>
                  <a:pt x="309" y="207"/>
                </a:moveTo>
                <a:cubicBezTo>
                  <a:pt x="300" y="216"/>
                  <a:pt x="290" y="222"/>
                  <a:pt x="282" y="225"/>
                </a:cubicBezTo>
                <a:cubicBezTo>
                  <a:pt x="273" y="229"/>
                  <a:pt x="263" y="231"/>
                  <a:pt x="253" y="231"/>
                </a:cubicBezTo>
                <a:cubicBezTo>
                  <a:pt x="236" y="231"/>
                  <a:pt x="223" y="227"/>
                  <a:pt x="214" y="218"/>
                </a:cubicBezTo>
                <a:cubicBezTo>
                  <a:pt x="205" y="209"/>
                  <a:pt x="200" y="198"/>
                  <a:pt x="200" y="184"/>
                </a:cubicBezTo>
                <a:cubicBezTo>
                  <a:pt x="200" y="176"/>
                  <a:pt x="202" y="169"/>
                  <a:pt x="205" y="162"/>
                </a:cubicBezTo>
                <a:cubicBezTo>
                  <a:pt x="209" y="155"/>
                  <a:pt x="213" y="150"/>
                  <a:pt x="219" y="146"/>
                </a:cubicBezTo>
                <a:cubicBezTo>
                  <a:pt x="224" y="142"/>
                  <a:pt x="231" y="139"/>
                  <a:pt x="238" y="137"/>
                </a:cubicBezTo>
                <a:cubicBezTo>
                  <a:pt x="243" y="135"/>
                  <a:pt x="251" y="134"/>
                  <a:pt x="261" y="133"/>
                </a:cubicBezTo>
                <a:cubicBezTo>
                  <a:pt x="282" y="130"/>
                  <a:pt x="297" y="127"/>
                  <a:pt x="307" y="123"/>
                </a:cubicBezTo>
                <a:cubicBezTo>
                  <a:pt x="307" y="119"/>
                  <a:pt x="307" y="117"/>
                  <a:pt x="307" y="116"/>
                </a:cubicBezTo>
                <a:cubicBezTo>
                  <a:pt x="307" y="104"/>
                  <a:pt x="305" y="96"/>
                  <a:pt x="300" y="92"/>
                </a:cubicBezTo>
                <a:cubicBezTo>
                  <a:pt x="293" y="85"/>
                  <a:pt x="283" y="82"/>
                  <a:pt x="270" y="82"/>
                </a:cubicBezTo>
                <a:cubicBezTo>
                  <a:pt x="258" y="82"/>
                  <a:pt x="249" y="85"/>
                  <a:pt x="243" y="89"/>
                </a:cubicBezTo>
                <a:cubicBezTo>
                  <a:pt x="237" y="94"/>
                  <a:pt x="233" y="102"/>
                  <a:pt x="230" y="114"/>
                </a:cubicBezTo>
                <a:lnTo>
                  <a:pt x="205" y="110"/>
                </a:lnTo>
                <a:cubicBezTo>
                  <a:pt x="207" y="98"/>
                  <a:pt x="211" y="89"/>
                  <a:pt x="216" y="82"/>
                </a:cubicBezTo>
                <a:cubicBezTo>
                  <a:pt x="222" y="74"/>
                  <a:pt x="229" y="69"/>
                  <a:pt x="239" y="65"/>
                </a:cubicBezTo>
                <a:cubicBezTo>
                  <a:pt x="249" y="61"/>
                  <a:pt x="261" y="59"/>
                  <a:pt x="274" y="59"/>
                </a:cubicBezTo>
                <a:cubicBezTo>
                  <a:pt x="287" y="59"/>
                  <a:pt x="298" y="61"/>
                  <a:pt x="306" y="64"/>
                </a:cubicBezTo>
                <a:cubicBezTo>
                  <a:pt x="314" y="67"/>
                  <a:pt x="320" y="72"/>
                  <a:pt x="324" y="77"/>
                </a:cubicBezTo>
                <a:cubicBezTo>
                  <a:pt x="328" y="82"/>
                  <a:pt x="331" y="88"/>
                  <a:pt x="332" y="96"/>
                </a:cubicBezTo>
                <a:cubicBezTo>
                  <a:pt x="333" y="100"/>
                  <a:pt x="334" y="109"/>
                  <a:pt x="334" y="121"/>
                </a:cubicBezTo>
                <a:lnTo>
                  <a:pt x="334" y="158"/>
                </a:lnTo>
                <a:cubicBezTo>
                  <a:pt x="334" y="184"/>
                  <a:pt x="334" y="201"/>
                  <a:pt x="335" y="208"/>
                </a:cubicBezTo>
                <a:cubicBezTo>
                  <a:pt x="336" y="214"/>
                  <a:pt x="339" y="221"/>
                  <a:pt x="342" y="227"/>
                </a:cubicBezTo>
                <a:lnTo>
                  <a:pt x="315" y="227"/>
                </a:lnTo>
                <a:cubicBezTo>
                  <a:pt x="312" y="222"/>
                  <a:pt x="310" y="215"/>
                  <a:pt x="309" y="207"/>
                </a:cubicBezTo>
                <a:close/>
                <a:moveTo>
                  <a:pt x="307" y="145"/>
                </a:moveTo>
                <a:cubicBezTo>
                  <a:pt x="298" y="149"/>
                  <a:pt x="284" y="152"/>
                  <a:pt x="265" y="155"/>
                </a:cubicBezTo>
                <a:cubicBezTo>
                  <a:pt x="254" y="157"/>
                  <a:pt x="246" y="159"/>
                  <a:pt x="242" y="161"/>
                </a:cubicBezTo>
                <a:cubicBezTo>
                  <a:pt x="238" y="163"/>
                  <a:pt x="234" y="166"/>
                  <a:pt x="232" y="170"/>
                </a:cubicBezTo>
                <a:cubicBezTo>
                  <a:pt x="229" y="174"/>
                  <a:pt x="228" y="178"/>
                  <a:pt x="228" y="183"/>
                </a:cubicBezTo>
                <a:cubicBezTo>
                  <a:pt x="228" y="190"/>
                  <a:pt x="231" y="197"/>
                  <a:pt x="236" y="202"/>
                </a:cubicBezTo>
                <a:cubicBezTo>
                  <a:pt x="241" y="207"/>
                  <a:pt x="249" y="209"/>
                  <a:pt x="259" y="209"/>
                </a:cubicBezTo>
                <a:cubicBezTo>
                  <a:pt x="269" y="209"/>
                  <a:pt x="278" y="207"/>
                  <a:pt x="286" y="202"/>
                </a:cubicBezTo>
                <a:cubicBezTo>
                  <a:pt x="294" y="197"/>
                  <a:pt x="299" y="191"/>
                  <a:pt x="303" y="183"/>
                </a:cubicBezTo>
                <a:cubicBezTo>
                  <a:pt x="306" y="177"/>
                  <a:pt x="307" y="167"/>
                  <a:pt x="307" y="155"/>
                </a:cubicBezTo>
                <a:lnTo>
                  <a:pt x="307" y="145"/>
                </a:lnTo>
                <a:close/>
                <a:moveTo>
                  <a:pt x="374" y="227"/>
                </a:moveTo>
                <a:lnTo>
                  <a:pt x="374" y="63"/>
                </a:lnTo>
                <a:lnTo>
                  <a:pt x="397" y="63"/>
                </a:lnTo>
                <a:lnTo>
                  <a:pt x="397" y="86"/>
                </a:lnTo>
                <a:cubicBezTo>
                  <a:pt x="402" y="78"/>
                  <a:pt x="408" y="71"/>
                  <a:pt x="416" y="66"/>
                </a:cubicBezTo>
                <a:cubicBezTo>
                  <a:pt x="424" y="62"/>
                  <a:pt x="433" y="59"/>
                  <a:pt x="444" y="59"/>
                </a:cubicBezTo>
                <a:cubicBezTo>
                  <a:pt x="455" y="59"/>
                  <a:pt x="464" y="62"/>
                  <a:pt x="471" y="67"/>
                </a:cubicBezTo>
                <a:cubicBezTo>
                  <a:pt x="479" y="72"/>
                  <a:pt x="484" y="79"/>
                  <a:pt x="487" y="88"/>
                </a:cubicBezTo>
                <a:cubicBezTo>
                  <a:pt x="499" y="69"/>
                  <a:pt x="515" y="59"/>
                  <a:pt x="534" y="59"/>
                </a:cubicBezTo>
                <a:cubicBezTo>
                  <a:pt x="550" y="59"/>
                  <a:pt x="561" y="64"/>
                  <a:pt x="570" y="73"/>
                </a:cubicBezTo>
                <a:cubicBezTo>
                  <a:pt x="578" y="82"/>
                  <a:pt x="582" y="96"/>
                  <a:pt x="582" y="114"/>
                </a:cubicBezTo>
                <a:lnTo>
                  <a:pt x="582" y="227"/>
                </a:lnTo>
                <a:lnTo>
                  <a:pt x="556" y="227"/>
                </a:lnTo>
                <a:lnTo>
                  <a:pt x="556" y="124"/>
                </a:lnTo>
                <a:cubicBezTo>
                  <a:pt x="556" y="113"/>
                  <a:pt x="555" y="105"/>
                  <a:pt x="553" y="100"/>
                </a:cubicBezTo>
                <a:cubicBezTo>
                  <a:pt x="552" y="95"/>
                  <a:pt x="549" y="91"/>
                  <a:pt x="544" y="88"/>
                </a:cubicBezTo>
                <a:cubicBezTo>
                  <a:pt x="540" y="85"/>
                  <a:pt x="534" y="83"/>
                  <a:pt x="529" y="83"/>
                </a:cubicBezTo>
                <a:cubicBezTo>
                  <a:pt x="518" y="83"/>
                  <a:pt x="509" y="87"/>
                  <a:pt x="502" y="95"/>
                </a:cubicBezTo>
                <a:cubicBezTo>
                  <a:pt x="494" y="103"/>
                  <a:pt x="491" y="115"/>
                  <a:pt x="491" y="132"/>
                </a:cubicBezTo>
                <a:lnTo>
                  <a:pt x="491" y="227"/>
                </a:lnTo>
                <a:lnTo>
                  <a:pt x="465" y="227"/>
                </a:lnTo>
                <a:lnTo>
                  <a:pt x="465" y="120"/>
                </a:lnTo>
                <a:cubicBezTo>
                  <a:pt x="465" y="108"/>
                  <a:pt x="463" y="99"/>
                  <a:pt x="458" y="93"/>
                </a:cubicBezTo>
                <a:cubicBezTo>
                  <a:pt x="454" y="86"/>
                  <a:pt x="447" y="83"/>
                  <a:pt x="438" y="83"/>
                </a:cubicBezTo>
                <a:cubicBezTo>
                  <a:pt x="430" y="83"/>
                  <a:pt x="424" y="85"/>
                  <a:pt x="417" y="89"/>
                </a:cubicBezTo>
                <a:cubicBezTo>
                  <a:pt x="411" y="94"/>
                  <a:pt x="407" y="100"/>
                  <a:pt x="404" y="108"/>
                </a:cubicBezTo>
                <a:cubicBezTo>
                  <a:pt x="401" y="116"/>
                  <a:pt x="400" y="127"/>
                  <a:pt x="400" y="142"/>
                </a:cubicBezTo>
                <a:lnTo>
                  <a:pt x="400" y="227"/>
                </a:lnTo>
                <a:lnTo>
                  <a:pt x="374" y="227"/>
                </a:lnTo>
                <a:close/>
                <a:moveTo>
                  <a:pt x="644" y="227"/>
                </a:moveTo>
                <a:lnTo>
                  <a:pt x="620" y="227"/>
                </a:lnTo>
                <a:lnTo>
                  <a:pt x="620" y="0"/>
                </a:lnTo>
                <a:lnTo>
                  <a:pt x="646" y="0"/>
                </a:lnTo>
                <a:lnTo>
                  <a:pt x="646" y="81"/>
                </a:lnTo>
                <a:cubicBezTo>
                  <a:pt x="657" y="66"/>
                  <a:pt x="671" y="59"/>
                  <a:pt x="688" y="59"/>
                </a:cubicBezTo>
                <a:cubicBezTo>
                  <a:pt x="697" y="59"/>
                  <a:pt x="706" y="61"/>
                  <a:pt x="715" y="65"/>
                </a:cubicBezTo>
                <a:cubicBezTo>
                  <a:pt x="723" y="69"/>
                  <a:pt x="730" y="75"/>
                  <a:pt x="736" y="82"/>
                </a:cubicBezTo>
                <a:cubicBezTo>
                  <a:pt x="741" y="90"/>
                  <a:pt x="745" y="99"/>
                  <a:pt x="748" y="109"/>
                </a:cubicBezTo>
                <a:cubicBezTo>
                  <a:pt x="751" y="120"/>
                  <a:pt x="753" y="131"/>
                  <a:pt x="753" y="143"/>
                </a:cubicBezTo>
                <a:cubicBezTo>
                  <a:pt x="753" y="171"/>
                  <a:pt x="746" y="192"/>
                  <a:pt x="733" y="208"/>
                </a:cubicBezTo>
                <a:cubicBezTo>
                  <a:pt x="720" y="223"/>
                  <a:pt x="705" y="231"/>
                  <a:pt x="687" y="231"/>
                </a:cubicBezTo>
                <a:cubicBezTo>
                  <a:pt x="669" y="231"/>
                  <a:pt x="654" y="223"/>
                  <a:pt x="644" y="207"/>
                </a:cubicBezTo>
                <a:lnTo>
                  <a:pt x="644" y="227"/>
                </a:lnTo>
                <a:close/>
                <a:moveTo>
                  <a:pt x="644" y="144"/>
                </a:moveTo>
                <a:cubicBezTo>
                  <a:pt x="644" y="163"/>
                  <a:pt x="646" y="178"/>
                  <a:pt x="651" y="187"/>
                </a:cubicBezTo>
                <a:cubicBezTo>
                  <a:pt x="659" y="201"/>
                  <a:pt x="671" y="208"/>
                  <a:pt x="684" y="208"/>
                </a:cubicBezTo>
                <a:cubicBezTo>
                  <a:pt x="696" y="208"/>
                  <a:pt x="706" y="203"/>
                  <a:pt x="714" y="192"/>
                </a:cubicBezTo>
                <a:cubicBezTo>
                  <a:pt x="722" y="182"/>
                  <a:pt x="726" y="166"/>
                  <a:pt x="726" y="145"/>
                </a:cubicBezTo>
                <a:cubicBezTo>
                  <a:pt x="726" y="123"/>
                  <a:pt x="722" y="108"/>
                  <a:pt x="714" y="97"/>
                </a:cubicBezTo>
                <a:cubicBezTo>
                  <a:pt x="707" y="87"/>
                  <a:pt x="697" y="82"/>
                  <a:pt x="686" y="82"/>
                </a:cubicBezTo>
                <a:cubicBezTo>
                  <a:pt x="674" y="82"/>
                  <a:pt x="664" y="87"/>
                  <a:pt x="656" y="98"/>
                </a:cubicBezTo>
                <a:cubicBezTo>
                  <a:pt x="648" y="108"/>
                  <a:pt x="644" y="124"/>
                  <a:pt x="644" y="144"/>
                </a:cubicBezTo>
                <a:close/>
                <a:moveTo>
                  <a:pt x="885" y="227"/>
                </a:moveTo>
                <a:lnTo>
                  <a:pt x="885" y="203"/>
                </a:lnTo>
                <a:cubicBezTo>
                  <a:pt x="873" y="222"/>
                  <a:pt x="857" y="231"/>
                  <a:pt x="836" y="231"/>
                </a:cubicBezTo>
                <a:cubicBezTo>
                  <a:pt x="827" y="231"/>
                  <a:pt x="819" y="229"/>
                  <a:pt x="811" y="225"/>
                </a:cubicBezTo>
                <a:cubicBezTo>
                  <a:pt x="803" y="222"/>
                  <a:pt x="797" y="217"/>
                  <a:pt x="794" y="211"/>
                </a:cubicBezTo>
                <a:cubicBezTo>
                  <a:pt x="790" y="206"/>
                  <a:pt x="787" y="199"/>
                  <a:pt x="786" y="191"/>
                </a:cubicBezTo>
                <a:cubicBezTo>
                  <a:pt x="785" y="185"/>
                  <a:pt x="784" y="176"/>
                  <a:pt x="784" y="165"/>
                </a:cubicBezTo>
                <a:lnTo>
                  <a:pt x="784" y="63"/>
                </a:lnTo>
                <a:lnTo>
                  <a:pt x="810" y="63"/>
                </a:lnTo>
                <a:lnTo>
                  <a:pt x="810" y="154"/>
                </a:lnTo>
                <a:cubicBezTo>
                  <a:pt x="810" y="168"/>
                  <a:pt x="811" y="178"/>
                  <a:pt x="812" y="183"/>
                </a:cubicBezTo>
                <a:cubicBezTo>
                  <a:pt x="813" y="191"/>
                  <a:pt x="817" y="196"/>
                  <a:pt x="822" y="200"/>
                </a:cubicBezTo>
                <a:cubicBezTo>
                  <a:pt x="827" y="205"/>
                  <a:pt x="834" y="207"/>
                  <a:pt x="842" y="207"/>
                </a:cubicBezTo>
                <a:cubicBezTo>
                  <a:pt x="849" y="207"/>
                  <a:pt x="857" y="205"/>
                  <a:pt x="864" y="200"/>
                </a:cubicBezTo>
                <a:cubicBezTo>
                  <a:pt x="870" y="196"/>
                  <a:pt x="875" y="190"/>
                  <a:pt x="878" y="183"/>
                </a:cubicBezTo>
                <a:cubicBezTo>
                  <a:pt x="881" y="176"/>
                  <a:pt x="882" y="165"/>
                  <a:pt x="882" y="151"/>
                </a:cubicBezTo>
                <a:lnTo>
                  <a:pt x="882" y="63"/>
                </a:lnTo>
                <a:lnTo>
                  <a:pt x="908" y="63"/>
                </a:lnTo>
                <a:lnTo>
                  <a:pt x="908" y="227"/>
                </a:lnTo>
                <a:lnTo>
                  <a:pt x="885" y="227"/>
                </a:lnTo>
                <a:close/>
                <a:moveTo>
                  <a:pt x="949" y="227"/>
                </a:moveTo>
                <a:lnTo>
                  <a:pt x="949" y="63"/>
                </a:lnTo>
                <a:lnTo>
                  <a:pt x="972" y="63"/>
                </a:lnTo>
                <a:lnTo>
                  <a:pt x="972" y="88"/>
                </a:lnTo>
                <a:cubicBezTo>
                  <a:pt x="978" y="76"/>
                  <a:pt x="984" y="68"/>
                  <a:pt x="989" y="65"/>
                </a:cubicBezTo>
                <a:cubicBezTo>
                  <a:pt x="994" y="61"/>
                  <a:pt x="999" y="59"/>
                  <a:pt x="1006" y="59"/>
                </a:cubicBezTo>
                <a:cubicBezTo>
                  <a:pt x="1014" y="59"/>
                  <a:pt x="1023" y="62"/>
                  <a:pt x="1032" y="68"/>
                </a:cubicBezTo>
                <a:lnTo>
                  <a:pt x="1023" y="94"/>
                </a:lnTo>
                <a:cubicBezTo>
                  <a:pt x="1017" y="90"/>
                  <a:pt x="1010" y="88"/>
                  <a:pt x="1004" y="88"/>
                </a:cubicBezTo>
                <a:cubicBezTo>
                  <a:pt x="998" y="88"/>
                  <a:pt x="993" y="90"/>
                  <a:pt x="989" y="94"/>
                </a:cubicBezTo>
                <a:cubicBezTo>
                  <a:pt x="984" y="97"/>
                  <a:pt x="981" y="102"/>
                  <a:pt x="979" y="109"/>
                </a:cubicBezTo>
                <a:cubicBezTo>
                  <a:pt x="976" y="119"/>
                  <a:pt x="975" y="130"/>
                  <a:pt x="975" y="141"/>
                </a:cubicBezTo>
                <a:lnTo>
                  <a:pt x="975" y="227"/>
                </a:lnTo>
                <a:lnTo>
                  <a:pt x="949" y="227"/>
                </a:lnTo>
                <a:close/>
                <a:moveTo>
                  <a:pt x="1038" y="241"/>
                </a:moveTo>
                <a:lnTo>
                  <a:pt x="1064" y="245"/>
                </a:lnTo>
                <a:cubicBezTo>
                  <a:pt x="1065" y="253"/>
                  <a:pt x="1068" y="259"/>
                  <a:pt x="1072" y="263"/>
                </a:cubicBezTo>
                <a:cubicBezTo>
                  <a:pt x="1079" y="268"/>
                  <a:pt x="1088" y="271"/>
                  <a:pt x="1099" y="271"/>
                </a:cubicBezTo>
                <a:cubicBezTo>
                  <a:pt x="1111" y="271"/>
                  <a:pt x="1120" y="268"/>
                  <a:pt x="1127" y="263"/>
                </a:cubicBezTo>
                <a:cubicBezTo>
                  <a:pt x="1133" y="258"/>
                  <a:pt x="1138" y="251"/>
                  <a:pt x="1140" y="242"/>
                </a:cubicBezTo>
                <a:cubicBezTo>
                  <a:pt x="1141" y="236"/>
                  <a:pt x="1142" y="224"/>
                  <a:pt x="1142" y="206"/>
                </a:cubicBezTo>
                <a:cubicBezTo>
                  <a:pt x="1131" y="220"/>
                  <a:pt x="1116" y="227"/>
                  <a:pt x="1099" y="227"/>
                </a:cubicBezTo>
                <a:cubicBezTo>
                  <a:pt x="1078" y="227"/>
                  <a:pt x="1062" y="219"/>
                  <a:pt x="1050" y="203"/>
                </a:cubicBezTo>
                <a:cubicBezTo>
                  <a:pt x="1039" y="187"/>
                  <a:pt x="1033" y="167"/>
                  <a:pt x="1033" y="144"/>
                </a:cubicBezTo>
                <a:cubicBezTo>
                  <a:pt x="1033" y="129"/>
                  <a:pt x="1036" y="114"/>
                  <a:pt x="1041" y="101"/>
                </a:cubicBezTo>
                <a:cubicBezTo>
                  <a:pt x="1046" y="87"/>
                  <a:pt x="1054" y="77"/>
                  <a:pt x="1064" y="70"/>
                </a:cubicBezTo>
                <a:cubicBezTo>
                  <a:pt x="1074" y="63"/>
                  <a:pt x="1086" y="59"/>
                  <a:pt x="1100" y="59"/>
                </a:cubicBezTo>
                <a:cubicBezTo>
                  <a:pt x="1118" y="59"/>
                  <a:pt x="1133" y="67"/>
                  <a:pt x="1144" y="83"/>
                </a:cubicBezTo>
                <a:lnTo>
                  <a:pt x="1144" y="63"/>
                </a:lnTo>
                <a:lnTo>
                  <a:pt x="1168" y="63"/>
                </a:lnTo>
                <a:lnTo>
                  <a:pt x="1168" y="205"/>
                </a:lnTo>
                <a:cubicBezTo>
                  <a:pt x="1168" y="231"/>
                  <a:pt x="1166" y="249"/>
                  <a:pt x="1161" y="259"/>
                </a:cubicBezTo>
                <a:cubicBezTo>
                  <a:pt x="1156" y="270"/>
                  <a:pt x="1148" y="279"/>
                  <a:pt x="1138" y="285"/>
                </a:cubicBezTo>
                <a:cubicBezTo>
                  <a:pt x="1127" y="291"/>
                  <a:pt x="1114" y="294"/>
                  <a:pt x="1099" y="294"/>
                </a:cubicBezTo>
                <a:cubicBezTo>
                  <a:pt x="1081" y="294"/>
                  <a:pt x="1066" y="290"/>
                  <a:pt x="1055" y="281"/>
                </a:cubicBezTo>
                <a:cubicBezTo>
                  <a:pt x="1043" y="272"/>
                  <a:pt x="1038" y="259"/>
                  <a:pt x="1038" y="241"/>
                </a:cubicBezTo>
                <a:close/>
                <a:moveTo>
                  <a:pt x="1060" y="142"/>
                </a:moveTo>
                <a:cubicBezTo>
                  <a:pt x="1060" y="164"/>
                  <a:pt x="1064" y="179"/>
                  <a:pt x="1072" y="189"/>
                </a:cubicBezTo>
                <a:cubicBezTo>
                  <a:pt x="1080" y="199"/>
                  <a:pt x="1090" y="204"/>
                  <a:pt x="1102" y="204"/>
                </a:cubicBezTo>
                <a:cubicBezTo>
                  <a:pt x="1114" y="204"/>
                  <a:pt x="1124" y="199"/>
                  <a:pt x="1132" y="189"/>
                </a:cubicBezTo>
                <a:cubicBezTo>
                  <a:pt x="1140" y="180"/>
                  <a:pt x="1144" y="164"/>
                  <a:pt x="1144" y="143"/>
                </a:cubicBezTo>
                <a:cubicBezTo>
                  <a:pt x="1144" y="123"/>
                  <a:pt x="1140" y="108"/>
                  <a:pt x="1132" y="98"/>
                </a:cubicBezTo>
                <a:cubicBezTo>
                  <a:pt x="1123" y="87"/>
                  <a:pt x="1113" y="82"/>
                  <a:pt x="1101" y="82"/>
                </a:cubicBezTo>
                <a:cubicBezTo>
                  <a:pt x="1090" y="82"/>
                  <a:pt x="1080" y="87"/>
                  <a:pt x="1072" y="97"/>
                </a:cubicBezTo>
                <a:cubicBezTo>
                  <a:pt x="1064" y="107"/>
                  <a:pt x="1060" y="122"/>
                  <a:pt x="1060" y="142"/>
                </a:cubicBezTo>
                <a:close/>
                <a:moveTo>
                  <a:pt x="1312" y="174"/>
                </a:moveTo>
                <a:lnTo>
                  <a:pt x="1339" y="178"/>
                </a:lnTo>
                <a:cubicBezTo>
                  <a:pt x="1335" y="195"/>
                  <a:pt x="1327" y="208"/>
                  <a:pt x="1316" y="217"/>
                </a:cubicBezTo>
                <a:cubicBezTo>
                  <a:pt x="1304" y="226"/>
                  <a:pt x="1290" y="231"/>
                  <a:pt x="1272" y="231"/>
                </a:cubicBezTo>
                <a:cubicBezTo>
                  <a:pt x="1250" y="231"/>
                  <a:pt x="1232" y="223"/>
                  <a:pt x="1219" y="209"/>
                </a:cubicBezTo>
                <a:cubicBezTo>
                  <a:pt x="1206" y="194"/>
                  <a:pt x="1199" y="173"/>
                  <a:pt x="1199" y="146"/>
                </a:cubicBezTo>
                <a:cubicBezTo>
                  <a:pt x="1199" y="119"/>
                  <a:pt x="1206" y="97"/>
                  <a:pt x="1219" y="82"/>
                </a:cubicBezTo>
                <a:cubicBezTo>
                  <a:pt x="1232" y="67"/>
                  <a:pt x="1250" y="59"/>
                  <a:pt x="1271" y="59"/>
                </a:cubicBezTo>
                <a:cubicBezTo>
                  <a:pt x="1291" y="59"/>
                  <a:pt x="1308" y="67"/>
                  <a:pt x="1321" y="82"/>
                </a:cubicBezTo>
                <a:cubicBezTo>
                  <a:pt x="1334" y="97"/>
                  <a:pt x="1340" y="118"/>
                  <a:pt x="1340" y="145"/>
                </a:cubicBezTo>
                <a:cubicBezTo>
                  <a:pt x="1340" y="146"/>
                  <a:pt x="1340" y="149"/>
                  <a:pt x="1340" y="152"/>
                </a:cubicBezTo>
                <a:lnTo>
                  <a:pt x="1226" y="152"/>
                </a:lnTo>
                <a:cubicBezTo>
                  <a:pt x="1227" y="170"/>
                  <a:pt x="1232" y="184"/>
                  <a:pt x="1240" y="194"/>
                </a:cubicBezTo>
                <a:cubicBezTo>
                  <a:pt x="1249" y="203"/>
                  <a:pt x="1259" y="208"/>
                  <a:pt x="1272" y="208"/>
                </a:cubicBezTo>
                <a:cubicBezTo>
                  <a:pt x="1282" y="208"/>
                  <a:pt x="1290" y="205"/>
                  <a:pt x="1296" y="200"/>
                </a:cubicBezTo>
                <a:cubicBezTo>
                  <a:pt x="1303" y="195"/>
                  <a:pt x="1309" y="186"/>
                  <a:pt x="1312" y="174"/>
                </a:cubicBezTo>
                <a:close/>
                <a:moveTo>
                  <a:pt x="1227" y="129"/>
                </a:moveTo>
                <a:lnTo>
                  <a:pt x="1313" y="129"/>
                </a:lnTo>
                <a:cubicBezTo>
                  <a:pt x="1312" y="115"/>
                  <a:pt x="1308" y="105"/>
                  <a:pt x="1303" y="98"/>
                </a:cubicBezTo>
                <a:cubicBezTo>
                  <a:pt x="1295" y="87"/>
                  <a:pt x="1284" y="82"/>
                  <a:pt x="1271" y="82"/>
                </a:cubicBezTo>
                <a:cubicBezTo>
                  <a:pt x="1259" y="82"/>
                  <a:pt x="1249" y="86"/>
                  <a:pt x="1241" y="95"/>
                </a:cubicBezTo>
                <a:cubicBezTo>
                  <a:pt x="1233" y="103"/>
                  <a:pt x="1228" y="115"/>
                  <a:pt x="1227" y="129"/>
                </a:cubicBezTo>
                <a:close/>
                <a:moveTo>
                  <a:pt x="1372" y="227"/>
                </a:moveTo>
                <a:lnTo>
                  <a:pt x="1372" y="63"/>
                </a:lnTo>
                <a:lnTo>
                  <a:pt x="1395" y="63"/>
                </a:lnTo>
                <a:lnTo>
                  <a:pt x="1395" y="88"/>
                </a:lnTo>
                <a:cubicBezTo>
                  <a:pt x="1401" y="76"/>
                  <a:pt x="1407" y="68"/>
                  <a:pt x="1412" y="65"/>
                </a:cubicBezTo>
                <a:cubicBezTo>
                  <a:pt x="1417" y="61"/>
                  <a:pt x="1423" y="59"/>
                  <a:pt x="1429" y="59"/>
                </a:cubicBezTo>
                <a:cubicBezTo>
                  <a:pt x="1437" y="59"/>
                  <a:pt x="1446" y="62"/>
                  <a:pt x="1455" y="68"/>
                </a:cubicBezTo>
                <a:lnTo>
                  <a:pt x="1446" y="94"/>
                </a:lnTo>
                <a:cubicBezTo>
                  <a:pt x="1440" y="90"/>
                  <a:pt x="1433" y="88"/>
                  <a:pt x="1427" y="88"/>
                </a:cubicBezTo>
                <a:cubicBezTo>
                  <a:pt x="1422" y="88"/>
                  <a:pt x="1416" y="90"/>
                  <a:pt x="1412" y="94"/>
                </a:cubicBezTo>
                <a:cubicBezTo>
                  <a:pt x="1407" y="97"/>
                  <a:pt x="1404" y="102"/>
                  <a:pt x="1402" y="109"/>
                </a:cubicBezTo>
                <a:cubicBezTo>
                  <a:pt x="1399" y="119"/>
                  <a:pt x="1398" y="130"/>
                  <a:pt x="1398" y="141"/>
                </a:cubicBezTo>
                <a:lnTo>
                  <a:pt x="1398" y="227"/>
                </a:lnTo>
                <a:lnTo>
                  <a:pt x="1372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5" name="Freeform 25">
            <a:extLst>
              <a:ext uri="{FF2B5EF4-FFF2-40B4-BE49-F238E27FC236}">
                <a16:creationId xmlns:a16="http://schemas.microsoft.com/office/drawing/2014/main" id="{ED4723D9-2CBE-442C-898F-CE874476A84D}"/>
              </a:ext>
            </a:extLst>
          </p:cNvPr>
          <p:cNvSpPr>
            <a:spLocks/>
          </p:cNvSpPr>
          <p:nvPr/>
        </p:nvSpPr>
        <p:spPr bwMode="auto">
          <a:xfrm>
            <a:off x="2020888" y="1431926"/>
            <a:ext cx="404813" cy="519113"/>
          </a:xfrm>
          <a:custGeom>
            <a:avLst/>
            <a:gdLst>
              <a:gd name="T0" fmla="*/ 878 w 1122"/>
              <a:gd name="T1" fmla="*/ 1039 h 1444"/>
              <a:gd name="T2" fmla="*/ 1122 w 1122"/>
              <a:gd name="T3" fmla="*/ 562 h 1444"/>
              <a:gd name="T4" fmla="*/ 561 w 1122"/>
              <a:gd name="T5" fmla="*/ 0 h 1444"/>
              <a:gd name="T6" fmla="*/ 0 w 1122"/>
              <a:gd name="T7" fmla="*/ 562 h 1444"/>
              <a:gd name="T8" fmla="*/ 244 w 1122"/>
              <a:gd name="T9" fmla="*/ 1039 h 1444"/>
              <a:gd name="T10" fmla="*/ 320 w 1122"/>
              <a:gd name="T11" fmla="*/ 1123 h 1444"/>
              <a:gd name="T12" fmla="*/ 320 w 1122"/>
              <a:gd name="T13" fmla="*/ 1283 h 1444"/>
              <a:gd name="T14" fmla="*/ 481 w 1122"/>
              <a:gd name="T15" fmla="*/ 1444 h 1444"/>
              <a:gd name="T16" fmla="*/ 481 w 1122"/>
              <a:gd name="T17" fmla="*/ 1444 h 1444"/>
              <a:gd name="T18" fmla="*/ 641 w 1122"/>
              <a:gd name="T19" fmla="*/ 1444 h 1444"/>
              <a:gd name="T20" fmla="*/ 801 w 1122"/>
              <a:gd name="T21" fmla="*/ 1283 h 1444"/>
              <a:gd name="T22" fmla="*/ 481 w 1122"/>
              <a:gd name="T23" fmla="*/ 1283 h 1444"/>
              <a:gd name="T24" fmla="*/ 481 w 1122"/>
              <a:gd name="T25" fmla="*/ 1123 h 1444"/>
              <a:gd name="T26" fmla="*/ 343 w 1122"/>
              <a:gd name="T27" fmla="*/ 913 h 1444"/>
              <a:gd name="T28" fmla="*/ 160 w 1122"/>
              <a:gd name="T29" fmla="*/ 562 h 1444"/>
              <a:gd name="T30" fmla="*/ 561 w 1122"/>
              <a:gd name="T31" fmla="*/ 161 h 1444"/>
              <a:gd name="T32" fmla="*/ 962 w 1122"/>
              <a:gd name="T33" fmla="*/ 562 h 1444"/>
              <a:gd name="T34" fmla="*/ 778 w 1122"/>
              <a:gd name="T35" fmla="*/ 913 h 1444"/>
              <a:gd name="T36" fmla="*/ 641 w 1122"/>
              <a:gd name="T37" fmla="*/ 1123 h 1444"/>
              <a:gd name="T38" fmla="*/ 641 w 1122"/>
              <a:gd name="T39" fmla="*/ 1123 h 1444"/>
              <a:gd name="T40" fmla="*/ 801 w 1122"/>
              <a:gd name="T41" fmla="*/ 1123 h 1444"/>
              <a:gd name="T42" fmla="*/ 801 w 1122"/>
              <a:gd name="T43" fmla="*/ 1123 h 1444"/>
              <a:gd name="T44" fmla="*/ 878 w 1122"/>
              <a:gd name="T45" fmla="*/ 1039 h 1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122" h="1444">
                <a:moveTo>
                  <a:pt x="878" y="1039"/>
                </a:moveTo>
                <a:cubicBezTo>
                  <a:pt x="975" y="962"/>
                  <a:pt x="1122" y="846"/>
                  <a:pt x="1122" y="562"/>
                </a:cubicBezTo>
                <a:cubicBezTo>
                  <a:pt x="1122" y="252"/>
                  <a:pt x="871" y="0"/>
                  <a:pt x="561" y="0"/>
                </a:cubicBezTo>
                <a:cubicBezTo>
                  <a:pt x="251" y="0"/>
                  <a:pt x="0" y="252"/>
                  <a:pt x="0" y="562"/>
                </a:cubicBezTo>
                <a:cubicBezTo>
                  <a:pt x="0" y="846"/>
                  <a:pt x="146" y="962"/>
                  <a:pt x="244" y="1039"/>
                </a:cubicBezTo>
                <a:cubicBezTo>
                  <a:pt x="296" y="1080"/>
                  <a:pt x="320" y="1102"/>
                  <a:pt x="320" y="1123"/>
                </a:cubicBezTo>
                <a:lnTo>
                  <a:pt x="320" y="1283"/>
                </a:lnTo>
                <a:lnTo>
                  <a:pt x="481" y="1444"/>
                </a:lnTo>
                <a:lnTo>
                  <a:pt x="481" y="1444"/>
                </a:lnTo>
                <a:lnTo>
                  <a:pt x="641" y="1444"/>
                </a:lnTo>
                <a:lnTo>
                  <a:pt x="801" y="1283"/>
                </a:lnTo>
                <a:lnTo>
                  <a:pt x="481" y="1283"/>
                </a:lnTo>
                <a:lnTo>
                  <a:pt x="481" y="1123"/>
                </a:lnTo>
                <a:cubicBezTo>
                  <a:pt x="481" y="1022"/>
                  <a:pt x="407" y="964"/>
                  <a:pt x="343" y="913"/>
                </a:cubicBezTo>
                <a:cubicBezTo>
                  <a:pt x="253" y="842"/>
                  <a:pt x="160" y="768"/>
                  <a:pt x="160" y="562"/>
                </a:cubicBezTo>
                <a:cubicBezTo>
                  <a:pt x="160" y="340"/>
                  <a:pt x="339" y="161"/>
                  <a:pt x="561" y="161"/>
                </a:cubicBezTo>
                <a:cubicBezTo>
                  <a:pt x="782" y="161"/>
                  <a:pt x="962" y="340"/>
                  <a:pt x="962" y="562"/>
                </a:cubicBezTo>
                <a:cubicBezTo>
                  <a:pt x="962" y="768"/>
                  <a:pt x="869" y="842"/>
                  <a:pt x="778" y="913"/>
                </a:cubicBezTo>
                <a:cubicBezTo>
                  <a:pt x="714" y="964"/>
                  <a:pt x="641" y="1022"/>
                  <a:pt x="641" y="1123"/>
                </a:cubicBezTo>
                <a:lnTo>
                  <a:pt x="641" y="1123"/>
                </a:lnTo>
                <a:lnTo>
                  <a:pt x="801" y="1123"/>
                </a:lnTo>
                <a:lnTo>
                  <a:pt x="801" y="1123"/>
                </a:lnTo>
                <a:cubicBezTo>
                  <a:pt x="801" y="1102"/>
                  <a:pt x="826" y="1080"/>
                  <a:pt x="878" y="10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88" name="Group 387">
            <a:extLst>
              <a:ext uri="{FF2B5EF4-FFF2-40B4-BE49-F238E27FC236}">
                <a16:creationId xmlns:a16="http://schemas.microsoft.com/office/drawing/2014/main" id="{785937C7-68EE-48CF-8235-6B7C7E771596}"/>
              </a:ext>
            </a:extLst>
          </p:cNvPr>
          <p:cNvGrpSpPr/>
          <p:nvPr/>
        </p:nvGrpSpPr>
        <p:grpSpPr>
          <a:xfrm>
            <a:off x="2754313" y="1431926"/>
            <a:ext cx="461963" cy="519113"/>
            <a:chOff x="2754313" y="1431926"/>
            <a:chExt cx="461963" cy="519113"/>
          </a:xfrm>
          <a:solidFill>
            <a:schemeClr val="accent1"/>
          </a:solidFill>
        </p:grpSpPr>
        <p:sp>
          <p:nvSpPr>
            <p:cNvPr id="186" name="Rectangle 26">
              <a:extLst>
                <a:ext uri="{FF2B5EF4-FFF2-40B4-BE49-F238E27FC236}">
                  <a16:creationId xmlns:a16="http://schemas.microsoft.com/office/drawing/2014/main" id="{267B2A7E-D181-4E5D-A676-9752197BC8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7513" y="1720851"/>
              <a:ext cx="57150" cy="1143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87" name="Freeform 27">
              <a:extLst>
                <a:ext uri="{FF2B5EF4-FFF2-40B4-BE49-F238E27FC236}">
                  <a16:creationId xmlns:a16="http://schemas.microsoft.com/office/drawing/2014/main" id="{58BA39BE-F543-4546-A2DF-A588ABF1E5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4313" y="1431926"/>
              <a:ext cx="461963" cy="519113"/>
            </a:xfrm>
            <a:custGeom>
              <a:avLst/>
              <a:gdLst>
                <a:gd name="T0" fmla="*/ 401 w 1283"/>
                <a:gd name="T1" fmla="*/ 247 h 1444"/>
                <a:gd name="T2" fmla="*/ 488 w 1283"/>
                <a:gd name="T3" fmla="*/ 161 h 1444"/>
                <a:gd name="T4" fmla="*/ 795 w 1283"/>
                <a:gd name="T5" fmla="*/ 161 h 1444"/>
                <a:gd name="T6" fmla="*/ 882 w 1283"/>
                <a:gd name="T7" fmla="*/ 247 h 1444"/>
                <a:gd name="T8" fmla="*/ 882 w 1283"/>
                <a:gd name="T9" fmla="*/ 482 h 1444"/>
                <a:gd name="T10" fmla="*/ 401 w 1283"/>
                <a:gd name="T11" fmla="*/ 482 h 1444"/>
                <a:gd name="T12" fmla="*/ 401 w 1283"/>
                <a:gd name="T13" fmla="*/ 247 h 1444"/>
                <a:gd name="T14" fmla="*/ 1122 w 1283"/>
                <a:gd name="T15" fmla="*/ 482 h 1444"/>
                <a:gd name="T16" fmla="*/ 1042 w 1283"/>
                <a:gd name="T17" fmla="*/ 482 h 1444"/>
                <a:gd name="T18" fmla="*/ 1042 w 1283"/>
                <a:gd name="T19" fmla="*/ 181 h 1444"/>
                <a:gd name="T20" fmla="*/ 862 w 1283"/>
                <a:gd name="T21" fmla="*/ 0 h 1444"/>
                <a:gd name="T22" fmla="*/ 421 w 1283"/>
                <a:gd name="T23" fmla="*/ 0 h 1444"/>
                <a:gd name="T24" fmla="*/ 241 w 1283"/>
                <a:gd name="T25" fmla="*/ 181 h 1444"/>
                <a:gd name="T26" fmla="*/ 241 w 1283"/>
                <a:gd name="T27" fmla="*/ 482 h 1444"/>
                <a:gd name="T28" fmla="*/ 160 w 1283"/>
                <a:gd name="T29" fmla="*/ 482 h 1444"/>
                <a:gd name="T30" fmla="*/ 0 w 1283"/>
                <a:gd name="T31" fmla="*/ 642 h 1444"/>
                <a:gd name="T32" fmla="*/ 0 w 1283"/>
                <a:gd name="T33" fmla="*/ 1283 h 1444"/>
                <a:gd name="T34" fmla="*/ 160 w 1283"/>
                <a:gd name="T35" fmla="*/ 1444 h 1444"/>
                <a:gd name="T36" fmla="*/ 1122 w 1283"/>
                <a:gd name="T37" fmla="*/ 1444 h 1444"/>
                <a:gd name="T38" fmla="*/ 1283 w 1283"/>
                <a:gd name="T39" fmla="*/ 1283 h 1444"/>
                <a:gd name="T40" fmla="*/ 160 w 1283"/>
                <a:gd name="T41" fmla="*/ 1283 h 1444"/>
                <a:gd name="T42" fmla="*/ 160 w 1283"/>
                <a:gd name="T43" fmla="*/ 642 h 1444"/>
                <a:gd name="T44" fmla="*/ 1122 w 1283"/>
                <a:gd name="T45" fmla="*/ 642 h 1444"/>
                <a:gd name="T46" fmla="*/ 1122 w 1283"/>
                <a:gd name="T47" fmla="*/ 1123 h 1444"/>
                <a:gd name="T48" fmla="*/ 1283 w 1283"/>
                <a:gd name="T49" fmla="*/ 1123 h 1444"/>
                <a:gd name="T50" fmla="*/ 1283 w 1283"/>
                <a:gd name="T51" fmla="*/ 642 h 1444"/>
                <a:gd name="T52" fmla="*/ 1122 w 1283"/>
                <a:gd name="T53" fmla="*/ 482 h 1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83" h="1444">
                  <a:moveTo>
                    <a:pt x="401" y="247"/>
                  </a:moveTo>
                  <a:lnTo>
                    <a:pt x="488" y="161"/>
                  </a:lnTo>
                  <a:lnTo>
                    <a:pt x="795" y="161"/>
                  </a:lnTo>
                  <a:lnTo>
                    <a:pt x="882" y="247"/>
                  </a:lnTo>
                  <a:lnTo>
                    <a:pt x="882" y="482"/>
                  </a:lnTo>
                  <a:lnTo>
                    <a:pt x="401" y="482"/>
                  </a:lnTo>
                  <a:lnTo>
                    <a:pt x="401" y="247"/>
                  </a:lnTo>
                  <a:close/>
                  <a:moveTo>
                    <a:pt x="1122" y="482"/>
                  </a:moveTo>
                  <a:lnTo>
                    <a:pt x="1042" y="482"/>
                  </a:lnTo>
                  <a:lnTo>
                    <a:pt x="1042" y="181"/>
                  </a:lnTo>
                  <a:lnTo>
                    <a:pt x="862" y="0"/>
                  </a:lnTo>
                  <a:lnTo>
                    <a:pt x="421" y="0"/>
                  </a:lnTo>
                  <a:lnTo>
                    <a:pt x="241" y="181"/>
                  </a:lnTo>
                  <a:lnTo>
                    <a:pt x="241" y="482"/>
                  </a:lnTo>
                  <a:lnTo>
                    <a:pt x="160" y="482"/>
                  </a:lnTo>
                  <a:lnTo>
                    <a:pt x="0" y="642"/>
                  </a:lnTo>
                  <a:lnTo>
                    <a:pt x="0" y="1283"/>
                  </a:lnTo>
                  <a:lnTo>
                    <a:pt x="160" y="1444"/>
                  </a:lnTo>
                  <a:lnTo>
                    <a:pt x="1122" y="1444"/>
                  </a:lnTo>
                  <a:lnTo>
                    <a:pt x="1283" y="1283"/>
                  </a:lnTo>
                  <a:lnTo>
                    <a:pt x="160" y="1283"/>
                  </a:lnTo>
                  <a:lnTo>
                    <a:pt x="160" y="642"/>
                  </a:lnTo>
                  <a:lnTo>
                    <a:pt x="1122" y="642"/>
                  </a:lnTo>
                  <a:lnTo>
                    <a:pt x="1122" y="1123"/>
                  </a:lnTo>
                  <a:lnTo>
                    <a:pt x="1283" y="1123"/>
                  </a:lnTo>
                  <a:lnTo>
                    <a:pt x="1283" y="642"/>
                  </a:lnTo>
                  <a:lnTo>
                    <a:pt x="1122" y="4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79" name="Freeform 19">
            <a:extLst>
              <a:ext uri="{FF2B5EF4-FFF2-40B4-BE49-F238E27FC236}">
                <a16:creationId xmlns:a16="http://schemas.microsoft.com/office/drawing/2014/main" id="{449A0F98-0766-4F01-AB6E-9403BEF9A25A}"/>
              </a:ext>
            </a:extLst>
          </p:cNvPr>
          <p:cNvSpPr>
            <a:spLocks noEditPoints="1"/>
          </p:cNvSpPr>
          <p:nvPr/>
        </p:nvSpPr>
        <p:spPr bwMode="auto">
          <a:xfrm>
            <a:off x="3595688" y="2016126"/>
            <a:ext cx="320675" cy="82550"/>
          </a:xfrm>
          <a:custGeom>
            <a:avLst/>
            <a:gdLst>
              <a:gd name="T0" fmla="*/ 80 w 889"/>
              <a:gd name="T1" fmla="*/ 0 h 231"/>
              <a:gd name="T2" fmla="*/ 155 w 889"/>
              <a:gd name="T3" fmla="*/ 35 h 231"/>
              <a:gd name="T4" fmla="*/ 82 w 889"/>
              <a:gd name="T5" fmla="*/ 135 h 231"/>
              <a:gd name="T6" fmla="*/ 0 w 889"/>
              <a:gd name="T7" fmla="*/ 227 h 231"/>
              <a:gd name="T8" fmla="*/ 121 w 889"/>
              <a:gd name="T9" fmla="*/ 97 h 231"/>
              <a:gd name="T10" fmla="*/ 108 w 889"/>
              <a:gd name="T11" fmla="*/ 29 h 231"/>
              <a:gd name="T12" fmla="*/ 28 w 889"/>
              <a:gd name="T13" fmla="*/ 108 h 231"/>
              <a:gd name="T14" fmla="*/ 297 w 889"/>
              <a:gd name="T15" fmla="*/ 217 h 231"/>
              <a:gd name="T16" fmla="*/ 181 w 889"/>
              <a:gd name="T17" fmla="*/ 146 h 231"/>
              <a:gd name="T18" fmla="*/ 302 w 889"/>
              <a:gd name="T19" fmla="*/ 82 h 231"/>
              <a:gd name="T20" fmla="*/ 207 w 889"/>
              <a:gd name="T21" fmla="*/ 152 h 231"/>
              <a:gd name="T22" fmla="*/ 278 w 889"/>
              <a:gd name="T23" fmla="*/ 200 h 231"/>
              <a:gd name="T24" fmla="*/ 294 w 889"/>
              <a:gd name="T25" fmla="*/ 129 h 231"/>
              <a:gd name="T26" fmla="*/ 222 w 889"/>
              <a:gd name="T27" fmla="*/ 95 h 231"/>
              <a:gd name="T28" fmla="*/ 353 w 889"/>
              <a:gd name="T29" fmla="*/ 63 h 231"/>
              <a:gd name="T30" fmla="*/ 393 w 889"/>
              <a:gd name="T31" fmla="*/ 65 h 231"/>
              <a:gd name="T32" fmla="*/ 428 w 889"/>
              <a:gd name="T33" fmla="*/ 94 h 231"/>
              <a:gd name="T34" fmla="*/ 384 w 889"/>
              <a:gd name="T35" fmla="*/ 109 h 231"/>
              <a:gd name="T36" fmla="*/ 353 w 889"/>
              <a:gd name="T37" fmla="*/ 227 h 231"/>
              <a:gd name="T38" fmla="*/ 480 w 889"/>
              <a:gd name="T39" fmla="*/ 199 h 231"/>
              <a:gd name="T40" fmla="*/ 543 w 889"/>
              <a:gd name="T41" fmla="*/ 182 h 231"/>
              <a:gd name="T42" fmla="*/ 469 w 889"/>
              <a:gd name="T43" fmla="*/ 144 h 231"/>
              <a:gd name="T44" fmla="*/ 451 w 889"/>
              <a:gd name="T45" fmla="*/ 86 h 231"/>
              <a:gd name="T46" fmla="*/ 503 w 889"/>
              <a:gd name="T47" fmla="*/ 59 h 231"/>
              <a:gd name="T48" fmla="*/ 563 w 889"/>
              <a:gd name="T49" fmla="*/ 105 h 231"/>
              <a:gd name="T50" fmla="*/ 505 w 889"/>
              <a:gd name="T51" fmla="*/ 82 h 231"/>
              <a:gd name="T52" fmla="*/ 475 w 889"/>
              <a:gd name="T53" fmla="*/ 113 h 231"/>
              <a:gd name="T54" fmla="*/ 546 w 889"/>
              <a:gd name="T55" fmla="*/ 140 h 231"/>
              <a:gd name="T56" fmla="*/ 562 w 889"/>
              <a:gd name="T57" fmla="*/ 205 h 231"/>
              <a:gd name="T58" fmla="*/ 462 w 889"/>
              <a:gd name="T59" fmla="*/ 218 h 231"/>
              <a:gd name="T60" fmla="*/ 614 w 889"/>
              <a:gd name="T61" fmla="*/ 77 h 231"/>
              <a:gd name="T62" fmla="*/ 734 w 889"/>
              <a:gd name="T63" fmla="*/ 143 h 231"/>
              <a:gd name="T64" fmla="*/ 662 w 889"/>
              <a:gd name="T65" fmla="*/ 231 h 231"/>
              <a:gd name="T66" fmla="*/ 617 w 889"/>
              <a:gd name="T67" fmla="*/ 145 h 231"/>
              <a:gd name="T68" fmla="*/ 695 w 889"/>
              <a:gd name="T69" fmla="*/ 192 h 231"/>
              <a:gd name="T70" fmla="*/ 662 w 889"/>
              <a:gd name="T71" fmla="*/ 82 h 231"/>
              <a:gd name="T72" fmla="*/ 765 w 889"/>
              <a:gd name="T73" fmla="*/ 227 h 231"/>
              <a:gd name="T74" fmla="*/ 788 w 889"/>
              <a:gd name="T75" fmla="*/ 86 h 231"/>
              <a:gd name="T76" fmla="*/ 880 w 889"/>
              <a:gd name="T77" fmla="*/ 79 h 231"/>
              <a:gd name="T78" fmla="*/ 889 w 889"/>
              <a:gd name="T79" fmla="*/ 227 h 231"/>
              <a:gd name="T80" fmla="*/ 860 w 889"/>
              <a:gd name="T81" fmla="*/ 102 h 231"/>
              <a:gd name="T82" fmla="*/ 803 w 889"/>
              <a:gd name="T83" fmla="*/ 95 h 231"/>
              <a:gd name="T84" fmla="*/ 765 w 889"/>
              <a:gd name="T85" fmla="*/ 227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889" h="231">
                <a:moveTo>
                  <a:pt x="0" y="227"/>
                </a:moveTo>
                <a:lnTo>
                  <a:pt x="0" y="0"/>
                </a:lnTo>
                <a:lnTo>
                  <a:pt x="80" y="0"/>
                </a:lnTo>
                <a:cubicBezTo>
                  <a:pt x="94" y="0"/>
                  <a:pt x="104" y="1"/>
                  <a:pt x="112" y="2"/>
                </a:cubicBezTo>
                <a:cubicBezTo>
                  <a:pt x="122" y="4"/>
                  <a:pt x="131" y="8"/>
                  <a:pt x="138" y="13"/>
                </a:cubicBezTo>
                <a:cubicBezTo>
                  <a:pt x="145" y="18"/>
                  <a:pt x="151" y="25"/>
                  <a:pt x="155" y="35"/>
                </a:cubicBezTo>
                <a:cubicBezTo>
                  <a:pt x="159" y="44"/>
                  <a:pt x="161" y="54"/>
                  <a:pt x="161" y="66"/>
                </a:cubicBezTo>
                <a:cubicBezTo>
                  <a:pt x="161" y="85"/>
                  <a:pt x="156" y="101"/>
                  <a:pt x="144" y="115"/>
                </a:cubicBezTo>
                <a:cubicBezTo>
                  <a:pt x="133" y="128"/>
                  <a:pt x="112" y="135"/>
                  <a:pt x="82" y="135"/>
                </a:cubicBezTo>
                <a:lnTo>
                  <a:pt x="28" y="135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28" y="108"/>
                </a:moveTo>
                <a:lnTo>
                  <a:pt x="82" y="108"/>
                </a:lnTo>
                <a:cubicBezTo>
                  <a:pt x="101" y="108"/>
                  <a:pt x="113" y="104"/>
                  <a:pt x="121" y="97"/>
                </a:cubicBezTo>
                <a:cubicBezTo>
                  <a:pt x="129" y="90"/>
                  <a:pt x="132" y="80"/>
                  <a:pt x="132" y="67"/>
                </a:cubicBezTo>
                <a:cubicBezTo>
                  <a:pt x="132" y="57"/>
                  <a:pt x="130" y="49"/>
                  <a:pt x="126" y="42"/>
                </a:cubicBezTo>
                <a:cubicBezTo>
                  <a:pt x="121" y="35"/>
                  <a:pt x="115" y="31"/>
                  <a:pt x="108" y="29"/>
                </a:cubicBezTo>
                <a:cubicBezTo>
                  <a:pt x="103" y="27"/>
                  <a:pt x="95" y="27"/>
                  <a:pt x="82" y="27"/>
                </a:cubicBezTo>
                <a:lnTo>
                  <a:pt x="28" y="27"/>
                </a:lnTo>
                <a:lnTo>
                  <a:pt x="28" y="108"/>
                </a:lnTo>
                <a:close/>
                <a:moveTo>
                  <a:pt x="294" y="174"/>
                </a:moveTo>
                <a:lnTo>
                  <a:pt x="321" y="178"/>
                </a:lnTo>
                <a:cubicBezTo>
                  <a:pt x="317" y="195"/>
                  <a:pt x="309" y="208"/>
                  <a:pt x="297" y="217"/>
                </a:cubicBezTo>
                <a:cubicBezTo>
                  <a:pt x="286" y="226"/>
                  <a:pt x="271" y="231"/>
                  <a:pt x="254" y="231"/>
                </a:cubicBezTo>
                <a:cubicBezTo>
                  <a:pt x="231" y="231"/>
                  <a:pt x="213" y="223"/>
                  <a:pt x="200" y="209"/>
                </a:cubicBezTo>
                <a:cubicBezTo>
                  <a:pt x="187" y="194"/>
                  <a:pt x="181" y="173"/>
                  <a:pt x="181" y="146"/>
                </a:cubicBezTo>
                <a:cubicBezTo>
                  <a:pt x="181" y="119"/>
                  <a:pt x="187" y="97"/>
                  <a:pt x="201" y="82"/>
                </a:cubicBezTo>
                <a:cubicBezTo>
                  <a:pt x="214" y="67"/>
                  <a:pt x="231" y="59"/>
                  <a:pt x="252" y="59"/>
                </a:cubicBezTo>
                <a:cubicBezTo>
                  <a:pt x="273" y="59"/>
                  <a:pt x="289" y="67"/>
                  <a:pt x="302" y="82"/>
                </a:cubicBezTo>
                <a:cubicBezTo>
                  <a:pt x="315" y="97"/>
                  <a:pt x="322" y="118"/>
                  <a:pt x="322" y="145"/>
                </a:cubicBezTo>
                <a:cubicBezTo>
                  <a:pt x="322" y="146"/>
                  <a:pt x="322" y="149"/>
                  <a:pt x="322" y="152"/>
                </a:cubicBezTo>
                <a:lnTo>
                  <a:pt x="207" y="152"/>
                </a:lnTo>
                <a:cubicBezTo>
                  <a:pt x="208" y="170"/>
                  <a:pt x="213" y="184"/>
                  <a:pt x="222" y="194"/>
                </a:cubicBezTo>
                <a:cubicBezTo>
                  <a:pt x="230" y="203"/>
                  <a:pt x="241" y="208"/>
                  <a:pt x="254" y="208"/>
                </a:cubicBezTo>
                <a:cubicBezTo>
                  <a:pt x="263" y="208"/>
                  <a:pt x="271" y="205"/>
                  <a:pt x="278" y="200"/>
                </a:cubicBezTo>
                <a:cubicBezTo>
                  <a:pt x="285" y="195"/>
                  <a:pt x="290" y="186"/>
                  <a:pt x="294" y="174"/>
                </a:cubicBezTo>
                <a:close/>
                <a:moveTo>
                  <a:pt x="209" y="129"/>
                </a:moveTo>
                <a:lnTo>
                  <a:pt x="294" y="129"/>
                </a:lnTo>
                <a:cubicBezTo>
                  <a:pt x="293" y="115"/>
                  <a:pt x="290" y="105"/>
                  <a:pt x="284" y="98"/>
                </a:cubicBezTo>
                <a:cubicBezTo>
                  <a:pt x="276" y="87"/>
                  <a:pt x="265" y="82"/>
                  <a:pt x="252" y="82"/>
                </a:cubicBezTo>
                <a:cubicBezTo>
                  <a:pt x="240" y="82"/>
                  <a:pt x="230" y="86"/>
                  <a:pt x="222" y="95"/>
                </a:cubicBezTo>
                <a:cubicBezTo>
                  <a:pt x="214" y="103"/>
                  <a:pt x="210" y="115"/>
                  <a:pt x="209" y="129"/>
                </a:cubicBezTo>
                <a:close/>
                <a:moveTo>
                  <a:pt x="353" y="227"/>
                </a:moveTo>
                <a:lnTo>
                  <a:pt x="353" y="63"/>
                </a:lnTo>
                <a:lnTo>
                  <a:pt x="377" y="63"/>
                </a:lnTo>
                <a:lnTo>
                  <a:pt x="377" y="88"/>
                </a:lnTo>
                <a:cubicBezTo>
                  <a:pt x="383" y="76"/>
                  <a:pt x="388" y="68"/>
                  <a:pt x="393" y="65"/>
                </a:cubicBezTo>
                <a:cubicBezTo>
                  <a:pt x="398" y="61"/>
                  <a:pt x="404" y="59"/>
                  <a:pt x="410" y="59"/>
                </a:cubicBezTo>
                <a:cubicBezTo>
                  <a:pt x="419" y="59"/>
                  <a:pt x="428" y="62"/>
                  <a:pt x="437" y="68"/>
                </a:cubicBezTo>
                <a:lnTo>
                  <a:pt x="428" y="94"/>
                </a:lnTo>
                <a:cubicBezTo>
                  <a:pt x="421" y="90"/>
                  <a:pt x="415" y="88"/>
                  <a:pt x="409" y="88"/>
                </a:cubicBezTo>
                <a:cubicBezTo>
                  <a:pt x="403" y="88"/>
                  <a:pt x="398" y="90"/>
                  <a:pt x="393" y="94"/>
                </a:cubicBezTo>
                <a:cubicBezTo>
                  <a:pt x="389" y="97"/>
                  <a:pt x="386" y="102"/>
                  <a:pt x="384" y="109"/>
                </a:cubicBezTo>
                <a:cubicBezTo>
                  <a:pt x="381" y="119"/>
                  <a:pt x="379" y="130"/>
                  <a:pt x="379" y="141"/>
                </a:cubicBezTo>
                <a:lnTo>
                  <a:pt x="379" y="227"/>
                </a:lnTo>
                <a:lnTo>
                  <a:pt x="353" y="227"/>
                </a:lnTo>
                <a:close/>
                <a:moveTo>
                  <a:pt x="442" y="178"/>
                </a:moveTo>
                <a:lnTo>
                  <a:pt x="468" y="174"/>
                </a:lnTo>
                <a:cubicBezTo>
                  <a:pt x="469" y="185"/>
                  <a:pt x="473" y="193"/>
                  <a:pt x="480" y="199"/>
                </a:cubicBezTo>
                <a:cubicBezTo>
                  <a:pt x="486" y="205"/>
                  <a:pt x="496" y="208"/>
                  <a:pt x="507" y="208"/>
                </a:cubicBezTo>
                <a:cubicBezTo>
                  <a:pt x="519" y="208"/>
                  <a:pt x="528" y="205"/>
                  <a:pt x="534" y="200"/>
                </a:cubicBezTo>
                <a:cubicBezTo>
                  <a:pt x="540" y="195"/>
                  <a:pt x="543" y="189"/>
                  <a:pt x="543" y="182"/>
                </a:cubicBezTo>
                <a:cubicBezTo>
                  <a:pt x="543" y="176"/>
                  <a:pt x="540" y="171"/>
                  <a:pt x="535" y="167"/>
                </a:cubicBezTo>
                <a:cubicBezTo>
                  <a:pt x="531" y="164"/>
                  <a:pt x="522" y="161"/>
                  <a:pt x="508" y="158"/>
                </a:cubicBezTo>
                <a:cubicBezTo>
                  <a:pt x="489" y="152"/>
                  <a:pt x="476" y="148"/>
                  <a:pt x="469" y="144"/>
                </a:cubicBezTo>
                <a:cubicBezTo>
                  <a:pt x="461" y="140"/>
                  <a:pt x="456" y="135"/>
                  <a:pt x="452" y="129"/>
                </a:cubicBezTo>
                <a:cubicBezTo>
                  <a:pt x="448" y="122"/>
                  <a:pt x="446" y="115"/>
                  <a:pt x="446" y="107"/>
                </a:cubicBezTo>
                <a:cubicBezTo>
                  <a:pt x="446" y="99"/>
                  <a:pt x="448" y="92"/>
                  <a:pt x="451" y="86"/>
                </a:cubicBezTo>
                <a:cubicBezTo>
                  <a:pt x="454" y="80"/>
                  <a:pt x="458" y="75"/>
                  <a:pt x="464" y="71"/>
                </a:cubicBezTo>
                <a:cubicBezTo>
                  <a:pt x="468" y="67"/>
                  <a:pt x="473" y="65"/>
                  <a:pt x="480" y="62"/>
                </a:cubicBezTo>
                <a:cubicBezTo>
                  <a:pt x="487" y="60"/>
                  <a:pt x="495" y="59"/>
                  <a:pt x="503" y="59"/>
                </a:cubicBezTo>
                <a:cubicBezTo>
                  <a:pt x="515" y="59"/>
                  <a:pt x="525" y="61"/>
                  <a:pt x="534" y="65"/>
                </a:cubicBezTo>
                <a:cubicBezTo>
                  <a:pt x="544" y="68"/>
                  <a:pt x="550" y="74"/>
                  <a:pt x="555" y="80"/>
                </a:cubicBezTo>
                <a:cubicBezTo>
                  <a:pt x="559" y="86"/>
                  <a:pt x="562" y="95"/>
                  <a:pt x="563" y="105"/>
                </a:cubicBezTo>
                <a:lnTo>
                  <a:pt x="538" y="109"/>
                </a:lnTo>
                <a:cubicBezTo>
                  <a:pt x="537" y="101"/>
                  <a:pt x="534" y="94"/>
                  <a:pt x="528" y="89"/>
                </a:cubicBezTo>
                <a:cubicBezTo>
                  <a:pt x="523" y="84"/>
                  <a:pt x="515" y="82"/>
                  <a:pt x="505" y="82"/>
                </a:cubicBezTo>
                <a:cubicBezTo>
                  <a:pt x="493" y="82"/>
                  <a:pt x="484" y="84"/>
                  <a:pt x="479" y="88"/>
                </a:cubicBezTo>
                <a:cubicBezTo>
                  <a:pt x="474" y="93"/>
                  <a:pt x="471" y="98"/>
                  <a:pt x="471" y="103"/>
                </a:cubicBezTo>
                <a:cubicBezTo>
                  <a:pt x="471" y="107"/>
                  <a:pt x="473" y="110"/>
                  <a:pt x="475" y="113"/>
                </a:cubicBezTo>
                <a:cubicBezTo>
                  <a:pt x="477" y="116"/>
                  <a:pt x="480" y="118"/>
                  <a:pt x="485" y="120"/>
                </a:cubicBezTo>
                <a:cubicBezTo>
                  <a:pt x="487" y="121"/>
                  <a:pt x="495" y="124"/>
                  <a:pt x="508" y="128"/>
                </a:cubicBezTo>
                <a:cubicBezTo>
                  <a:pt x="526" y="133"/>
                  <a:pt x="539" y="137"/>
                  <a:pt x="546" y="140"/>
                </a:cubicBezTo>
                <a:cubicBezTo>
                  <a:pt x="553" y="144"/>
                  <a:pt x="559" y="149"/>
                  <a:pt x="563" y="155"/>
                </a:cubicBezTo>
                <a:cubicBezTo>
                  <a:pt x="567" y="161"/>
                  <a:pt x="569" y="169"/>
                  <a:pt x="569" y="179"/>
                </a:cubicBezTo>
                <a:cubicBezTo>
                  <a:pt x="569" y="188"/>
                  <a:pt x="567" y="197"/>
                  <a:pt x="562" y="205"/>
                </a:cubicBezTo>
                <a:cubicBezTo>
                  <a:pt x="557" y="213"/>
                  <a:pt x="549" y="220"/>
                  <a:pt x="540" y="224"/>
                </a:cubicBezTo>
                <a:cubicBezTo>
                  <a:pt x="530" y="229"/>
                  <a:pt x="520" y="231"/>
                  <a:pt x="508" y="231"/>
                </a:cubicBezTo>
                <a:cubicBezTo>
                  <a:pt x="488" y="231"/>
                  <a:pt x="472" y="226"/>
                  <a:pt x="462" y="218"/>
                </a:cubicBezTo>
                <a:cubicBezTo>
                  <a:pt x="451" y="209"/>
                  <a:pt x="445" y="196"/>
                  <a:pt x="442" y="178"/>
                </a:cubicBezTo>
                <a:close/>
                <a:moveTo>
                  <a:pt x="590" y="145"/>
                </a:moveTo>
                <a:cubicBezTo>
                  <a:pt x="590" y="115"/>
                  <a:pt x="598" y="92"/>
                  <a:pt x="614" y="77"/>
                </a:cubicBezTo>
                <a:cubicBezTo>
                  <a:pt x="627" y="65"/>
                  <a:pt x="643" y="59"/>
                  <a:pt x="662" y="59"/>
                </a:cubicBezTo>
                <a:cubicBezTo>
                  <a:pt x="683" y="59"/>
                  <a:pt x="701" y="67"/>
                  <a:pt x="714" y="81"/>
                </a:cubicBezTo>
                <a:cubicBezTo>
                  <a:pt x="727" y="96"/>
                  <a:pt x="734" y="117"/>
                  <a:pt x="734" y="143"/>
                </a:cubicBezTo>
                <a:cubicBezTo>
                  <a:pt x="734" y="164"/>
                  <a:pt x="731" y="180"/>
                  <a:pt x="725" y="193"/>
                </a:cubicBezTo>
                <a:cubicBezTo>
                  <a:pt x="719" y="205"/>
                  <a:pt x="711" y="214"/>
                  <a:pt x="699" y="221"/>
                </a:cubicBezTo>
                <a:cubicBezTo>
                  <a:pt x="688" y="228"/>
                  <a:pt x="676" y="231"/>
                  <a:pt x="662" y="231"/>
                </a:cubicBezTo>
                <a:cubicBezTo>
                  <a:pt x="641" y="231"/>
                  <a:pt x="624" y="224"/>
                  <a:pt x="610" y="209"/>
                </a:cubicBezTo>
                <a:cubicBezTo>
                  <a:pt x="597" y="194"/>
                  <a:pt x="590" y="173"/>
                  <a:pt x="590" y="145"/>
                </a:cubicBezTo>
                <a:close/>
                <a:moveTo>
                  <a:pt x="617" y="145"/>
                </a:moveTo>
                <a:cubicBezTo>
                  <a:pt x="617" y="166"/>
                  <a:pt x="621" y="182"/>
                  <a:pt x="630" y="192"/>
                </a:cubicBezTo>
                <a:cubicBezTo>
                  <a:pt x="639" y="203"/>
                  <a:pt x="649" y="208"/>
                  <a:pt x="662" y="208"/>
                </a:cubicBezTo>
                <a:cubicBezTo>
                  <a:pt x="675" y="208"/>
                  <a:pt x="686" y="203"/>
                  <a:pt x="695" y="192"/>
                </a:cubicBezTo>
                <a:cubicBezTo>
                  <a:pt x="703" y="182"/>
                  <a:pt x="708" y="166"/>
                  <a:pt x="708" y="144"/>
                </a:cubicBezTo>
                <a:cubicBezTo>
                  <a:pt x="708" y="124"/>
                  <a:pt x="703" y="108"/>
                  <a:pt x="695" y="98"/>
                </a:cubicBezTo>
                <a:cubicBezTo>
                  <a:pt x="686" y="88"/>
                  <a:pt x="675" y="82"/>
                  <a:pt x="662" y="82"/>
                </a:cubicBezTo>
                <a:cubicBezTo>
                  <a:pt x="649" y="82"/>
                  <a:pt x="639" y="88"/>
                  <a:pt x="630" y="98"/>
                </a:cubicBezTo>
                <a:cubicBezTo>
                  <a:pt x="621" y="108"/>
                  <a:pt x="617" y="124"/>
                  <a:pt x="617" y="145"/>
                </a:cubicBezTo>
                <a:close/>
                <a:moveTo>
                  <a:pt x="765" y="227"/>
                </a:moveTo>
                <a:lnTo>
                  <a:pt x="765" y="63"/>
                </a:lnTo>
                <a:lnTo>
                  <a:pt x="788" y="63"/>
                </a:lnTo>
                <a:lnTo>
                  <a:pt x="788" y="86"/>
                </a:lnTo>
                <a:cubicBezTo>
                  <a:pt x="799" y="68"/>
                  <a:pt x="816" y="59"/>
                  <a:pt x="837" y="59"/>
                </a:cubicBezTo>
                <a:cubicBezTo>
                  <a:pt x="846" y="59"/>
                  <a:pt x="855" y="61"/>
                  <a:pt x="862" y="64"/>
                </a:cubicBezTo>
                <a:cubicBezTo>
                  <a:pt x="870" y="68"/>
                  <a:pt x="876" y="73"/>
                  <a:pt x="880" y="79"/>
                </a:cubicBezTo>
                <a:cubicBezTo>
                  <a:pt x="884" y="84"/>
                  <a:pt x="886" y="91"/>
                  <a:pt x="888" y="99"/>
                </a:cubicBezTo>
                <a:cubicBezTo>
                  <a:pt x="889" y="104"/>
                  <a:pt x="889" y="113"/>
                  <a:pt x="889" y="126"/>
                </a:cubicBezTo>
                <a:lnTo>
                  <a:pt x="889" y="227"/>
                </a:lnTo>
                <a:lnTo>
                  <a:pt x="863" y="227"/>
                </a:lnTo>
                <a:lnTo>
                  <a:pt x="863" y="127"/>
                </a:lnTo>
                <a:cubicBezTo>
                  <a:pt x="863" y="116"/>
                  <a:pt x="862" y="107"/>
                  <a:pt x="860" y="102"/>
                </a:cubicBezTo>
                <a:cubicBezTo>
                  <a:pt x="858" y="96"/>
                  <a:pt x="855" y="92"/>
                  <a:pt x="849" y="88"/>
                </a:cubicBezTo>
                <a:cubicBezTo>
                  <a:pt x="844" y="85"/>
                  <a:pt x="838" y="83"/>
                  <a:pt x="831" y="83"/>
                </a:cubicBezTo>
                <a:cubicBezTo>
                  <a:pt x="820" y="83"/>
                  <a:pt x="811" y="87"/>
                  <a:pt x="803" y="95"/>
                </a:cubicBezTo>
                <a:cubicBezTo>
                  <a:pt x="795" y="102"/>
                  <a:pt x="791" y="116"/>
                  <a:pt x="791" y="138"/>
                </a:cubicBezTo>
                <a:lnTo>
                  <a:pt x="791" y="227"/>
                </a:lnTo>
                <a:lnTo>
                  <a:pt x="765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86" name="Group 385">
            <a:extLst>
              <a:ext uri="{FF2B5EF4-FFF2-40B4-BE49-F238E27FC236}">
                <a16:creationId xmlns:a16="http://schemas.microsoft.com/office/drawing/2014/main" id="{9F68B2B6-C110-41DD-8701-49E52EC34B96}"/>
              </a:ext>
            </a:extLst>
          </p:cNvPr>
          <p:cNvGrpSpPr/>
          <p:nvPr/>
        </p:nvGrpSpPr>
        <p:grpSpPr>
          <a:xfrm>
            <a:off x="3517901" y="1427163"/>
            <a:ext cx="461963" cy="523875"/>
            <a:chOff x="3517901" y="1427163"/>
            <a:chExt cx="461963" cy="523875"/>
          </a:xfrm>
          <a:solidFill>
            <a:schemeClr val="accent1"/>
          </a:solidFill>
        </p:grpSpPr>
        <p:sp>
          <p:nvSpPr>
            <p:cNvPr id="188" name="Freeform 28">
              <a:extLst>
                <a:ext uri="{FF2B5EF4-FFF2-40B4-BE49-F238E27FC236}">
                  <a16:creationId xmlns:a16="http://schemas.microsoft.com/office/drawing/2014/main" id="{70B9BEE3-F98B-4626-A1BF-9F521FCB16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7438" y="1427163"/>
              <a:ext cx="241300" cy="239713"/>
            </a:xfrm>
            <a:custGeom>
              <a:avLst/>
              <a:gdLst>
                <a:gd name="T0" fmla="*/ 334 w 668"/>
                <a:gd name="T1" fmla="*/ 160 h 668"/>
                <a:gd name="T2" fmla="*/ 508 w 668"/>
                <a:gd name="T3" fmla="*/ 334 h 668"/>
                <a:gd name="T4" fmla="*/ 334 w 668"/>
                <a:gd name="T5" fmla="*/ 508 h 668"/>
                <a:gd name="T6" fmla="*/ 160 w 668"/>
                <a:gd name="T7" fmla="*/ 334 h 668"/>
                <a:gd name="T8" fmla="*/ 334 w 668"/>
                <a:gd name="T9" fmla="*/ 160 h 668"/>
                <a:gd name="T10" fmla="*/ 334 w 668"/>
                <a:gd name="T11" fmla="*/ 668 h 668"/>
                <a:gd name="T12" fmla="*/ 668 w 668"/>
                <a:gd name="T13" fmla="*/ 334 h 668"/>
                <a:gd name="T14" fmla="*/ 334 w 668"/>
                <a:gd name="T15" fmla="*/ 0 h 668"/>
                <a:gd name="T16" fmla="*/ 0 w 668"/>
                <a:gd name="T17" fmla="*/ 334 h 668"/>
                <a:gd name="T18" fmla="*/ 334 w 668"/>
                <a:gd name="T19" fmla="*/ 668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8" h="668">
                  <a:moveTo>
                    <a:pt x="334" y="160"/>
                  </a:moveTo>
                  <a:cubicBezTo>
                    <a:pt x="430" y="160"/>
                    <a:pt x="508" y="238"/>
                    <a:pt x="508" y="334"/>
                  </a:cubicBezTo>
                  <a:cubicBezTo>
                    <a:pt x="508" y="430"/>
                    <a:pt x="430" y="508"/>
                    <a:pt x="334" y="508"/>
                  </a:cubicBezTo>
                  <a:cubicBezTo>
                    <a:pt x="238" y="508"/>
                    <a:pt x="160" y="430"/>
                    <a:pt x="160" y="334"/>
                  </a:cubicBezTo>
                  <a:cubicBezTo>
                    <a:pt x="160" y="238"/>
                    <a:pt x="238" y="160"/>
                    <a:pt x="334" y="160"/>
                  </a:cubicBezTo>
                  <a:close/>
                  <a:moveTo>
                    <a:pt x="334" y="668"/>
                  </a:moveTo>
                  <a:cubicBezTo>
                    <a:pt x="518" y="668"/>
                    <a:pt x="668" y="518"/>
                    <a:pt x="668" y="334"/>
                  </a:cubicBezTo>
                  <a:cubicBezTo>
                    <a:pt x="668" y="150"/>
                    <a:pt x="518" y="0"/>
                    <a:pt x="334" y="0"/>
                  </a:cubicBezTo>
                  <a:cubicBezTo>
                    <a:pt x="150" y="0"/>
                    <a:pt x="0" y="150"/>
                    <a:pt x="0" y="334"/>
                  </a:cubicBezTo>
                  <a:cubicBezTo>
                    <a:pt x="0" y="518"/>
                    <a:pt x="150" y="668"/>
                    <a:pt x="334" y="6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89" name="Freeform 29">
              <a:extLst>
                <a:ext uri="{FF2B5EF4-FFF2-40B4-BE49-F238E27FC236}">
                  <a16:creationId xmlns:a16="http://schemas.microsoft.com/office/drawing/2014/main" id="{CBDD00A8-9281-4264-8C67-951E103800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901" y="1690688"/>
              <a:ext cx="461963" cy="260350"/>
            </a:xfrm>
            <a:custGeom>
              <a:avLst/>
              <a:gdLst>
                <a:gd name="T0" fmla="*/ 1122 w 1282"/>
                <a:gd name="T1" fmla="*/ 0 h 722"/>
                <a:gd name="T2" fmla="*/ 825 w 1282"/>
                <a:gd name="T3" fmla="*/ 0 h 722"/>
                <a:gd name="T4" fmla="*/ 641 w 1282"/>
                <a:gd name="T5" fmla="*/ 184 h 722"/>
                <a:gd name="T6" fmla="*/ 457 w 1282"/>
                <a:gd name="T7" fmla="*/ 0 h 722"/>
                <a:gd name="T8" fmla="*/ 160 w 1282"/>
                <a:gd name="T9" fmla="*/ 0 h 722"/>
                <a:gd name="T10" fmla="*/ 0 w 1282"/>
                <a:gd name="T11" fmla="*/ 160 h 722"/>
                <a:gd name="T12" fmla="*/ 0 w 1282"/>
                <a:gd name="T13" fmla="*/ 722 h 722"/>
                <a:gd name="T14" fmla="*/ 160 w 1282"/>
                <a:gd name="T15" fmla="*/ 722 h 722"/>
                <a:gd name="T16" fmla="*/ 160 w 1282"/>
                <a:gd name="T17" fmla="*/ 160 h 722"/>
                <a:gd name="T18" fmla="*/ 401 w 1282"/>
                <a:gd name="T19" fmla="*/ 160 h 722"/>
                <a:gd name="T20" fmla="*/ 561 w 1282"/>
                <a:gd name="T21" fmla="*/ 321 h 722"/>
                <a:gd name="T22" fmla="*/ 721 w 1282"/>
                <a:gd name="T23" fmla="*/ 321 h 722"/>
                <a:gd name="T24" fmla="*/ 882 w 1282"/>
                <a:gd name="T25" fmla="*/ 160 h 722"/>
                <a:gd name="T26" fmla="*/ 1122 w 1282"/>
                <a:gd name="T27" fmla="*/ 160 h 722"/>
                <a:gd name="T28" fmla="*/ 1122 w 1282"/>
                <a:gd name="T29" fmla="*/ 722 h 722"/>
                <a:gd name="T30" fmla="*/ 1282 w 1282"/>
                <a:gd name="T31" fmla="*/ 722 h 722"/>
                <a:gd name="T32" fmla="*/ 1282 w 1282"/>
                <a:gd name="T33" fmla="*/ 160 h 722"/>
                <a:gd name="T34" fmla="*/ 1122 w 1282"/>
                <a:gd name="T35" fmla="*/ 0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82" h="722">
                  <a:moveTo>
                    <a:pt x="1122" y="0"/>
                  </a:moveTo>
                  <a:lnTo>
                    <a:pt x="825" y="0"/>
                  </a:lnTo>
                  <a:lnTo>
                    <a:pt x="641" y="184"/>
                  </a:lnTo>
                  <a:lnTo>
                    <a:pt x="457" y="0"/>
                  </a:lnTo>
                  <a:lnTo>
                    <a:pt x="160" y="0"/>
                  </a:lnTo>
                  <a:lnTo>
                    <a:pt x="0" y="160"/>
                  </a:lnTo>
                  <a:lnTo>
                    <a:pt x="0" y="722"/>
                  </a:lnTo>
                  <a:lnTo>
                    <a:pt x="160" y="722"/>
                  </a:lnTo>
                  <a:lnTo>
                    <a:pt x="160" y="160"/>
                  </a:lnTo>
                  <a:lnTo>
                    <a:pt x="401" y="160"/>
                  </a:lnTo>
                  <a:lnTo>
                    <a:pt x="561" y="321"/>
                  </a:lnTo>
                  <a:lnTo>
                    <a:pt x="721" y="321"/>
                  </a:lnTo>
                  <a:lnTo>
                    <a:pt x="882" y="160"/>
                  </a:lnTo>
                  <a:lnTo>
                    <a:pt x="1122" y="160"/>
                  </a:lnTo>
                  <a:lnTo>
                    <a:pt x="1122" y="722"/>
                  </a:lnTo>
                  <a:lnTo>
                    <a:pt x="1282" y="722"/>
                  </a:lnTo>
                  <a:lnTo>
                    <a:pt x="1282" y="160"/>
                  </a:lnTo>
                  <a:lnTo>
                    <a:pt x="11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80" name="Freeform 20">
            <a:extLst>
              <a:ext uri="{FF2B5EF4-FFF2-40B4-BE49-F238E27FC236}">
                <a16:creationId xmlns:a16="http://schemas.microsoft.com/office/drawing/2014/main" id="{88BA8EA3-B413-434F-8161-DE70E3558CA7}"/>
              </a:ext>
            </a:extLst>
          </p:cNvPr>
          <p:cNvSpPr>
            <a:spLocks noEditPoints="1"/>
          </p:cNvSpPr>
          <p:nvPr/>
        </p:nvSpPr>
        <p:spPr bwMode="auto">
          <a:xfrm>
            <a:off x="4316413" y="2016126"/>
            <a:ext cx="385763" cy="82550"/>
          </a:xfrm>
          <a:custGeom>
            <a:avLst/>
            <a:gdLst>
              <a:gd name="T0" fmla="*/ 28 w 1073"/>
              <a:gd name="T1" fmla="*/ 0 h 231"/>
              <a:gd name="T2" fmla="*/ 132 w 1073"/>
              <a:gd name="T3" fmla="*/ 227 h 231"/>
              <a:gd name="T4" fmla="*/ 173 w 1073"/>
              <a:gd name="T5" fmla="*/ 77 h 231"/>
              <a:gd name="T6" fmla="*/ 293 w 1073"/>
              <a:gd name="T7" fmla="*/ 143 h 231"/>
              <a:gd name="T8" fmla="*/ 221 w 1073"/>
              <a:gd name="T9" fmla="*/ 231 h 231"/>
              <a:gd name="T10" fmla="*/ 176 w 1073"/>
              <a:gd name="T11" fmla="*/ 145 h 231"/>
              <a:gd name="T12" fmla="*/ 254 w 1073"/>
              <a:gd name="T13" fmla="*/ 192 h 231"/>
              <a:gd name="T14" fmla="*/ 221 w 1073"/>
              <a:gd name="T15" fmla="*/ 82 h 231"/>
              <a:gd name="T16" fmla="*/ 424 w 1073"/>
              <a:gd name="T17" fmla="*/ 167 h 231"/>
              <a:gd name="T18" fmla="*/ 386 w 1073"/>
              <a:gd name="T19" fmla="*/ 231 h 231"/>
              <a:gd name="T20" fmla="*/ 324 w 1073"/>
              <a:gd name="T21" fmla="*/ 99 h 231"/>
              <a:gd name="T22" fmla="*/ 427 w 1073"/>
              <a:gd name="T23" fmla="*/ 73 h 231"/>
              <a:gd name="T24" fmla="*/ 409 w 1073"/>
              <a:gd name="T25" fmla="*/ 90 h 231"/>
              <a:gd name="T26" fmla="*/ 343 w 1073"/>
              <a:gd name="T27" fmla="*/ 145 h 231"/>
              <a:gd name="T28" fmla="*/ 411 w 1073"/>
              <a:gd name="T29" fmla="*/ 198 h 231"/>
              <a:gd name="T30" fmla="*/ 544 w 1073"/>
              <a:gd name="T31" fmla="*/ 225 h 231"/>
              <a:gd name="T32" fmla="*/ 463 w 1073"/>
              <a:gd name="T33" fmla="*/ 184 h 231"/>
              <a:gd name="T34" fmla="*/ 500 w 1073"/>
              <a:gd name="T35" fmla="*/ 137 h 231"/>
              <a:gd name="T36" fmla="*/ 570 w 1073"/>
              <a:gd name="T37" fmla="*/ 116 h 231"/>
              <a:gd name="T38" fmla="*/ 506 w 1073"/>
              <a:gd name="T39" fmla="*/ 89 h 231"/>
              <a:gd name="T40" fmla="*/ 479 w 1073"/>
              <a:gd name="T41" fmla="*/ 82 h 231"/>
              <a:gd name="T42" fmla="*/ 569 w 1073"/>
              <a:gd name="T43" fmla="*/ 64 h 231"/>
              <a:gd name="T44" fmla="*/ 596 w 1073"/>
              <a:gd name="T45" fmla="*/ 121 h 231"/>
              <a:gd name="T46" fmla="*/ 604 w 1073"/>
              <a:gd name="T47" fmla="*/ 227 h 231"/>
              <a:gd name="T48" fmla="*/ 570 w 1073"/>
              <a:gd name="T49" fmla="*/ 145 h 231"/>
              <a:gd name="T50" fmla="*/ 494 w 1073"/>
              <a:gd name="T51" fmla="*/ 170 h 231"/>
              <a:gd name="T52" fmla="*/ 521 w 1073"/>
              <a:gd name="T53" fmla="*/ 209 h 231"/>
              <a:gd name="T54" fmla="*/ 570 w 1073"/>
              <a:gd name="T55" fmla="*/ 155 h 231"/>
              <a:gd name="T56" fmla="*/ 696 w 1073"/>
              <a:gd name="T57" fmla="*/ 227 h 231"/>
              <a:gd name="T58" fmla="*/ 644 w 1073"/>
              <a:gd name="T59" fmla="*/ 212 h 231"/>
              <a:gd name="T60" fmla="*/ 621 w 1073"/>
              <a:gd name="T61" fmla="*/ 84 h 231"/>
              <a:gd name="T62" fmla="*/ 641 w 1073"/>
              <a:gd name="T63" fmla="*/ 22 h 231"/>
              <a:gd name="T64" fmla="*/ 693 w 1073"/>
              <a:gd name="T65" fmla="*/ 63 h 231"/>
              <a:gd name="T66" fmla="*/ 667 w 1073"/>
              <a:gd name="T67" fmla="*/ 181 h 231"/>
              <a:gd name="T68" fmla="*/ 681 w 1073"/>
              <a:gd name="T69" fmla="*/ 204 h 231"/>
              <a:gd name="T70" fmla="*/ 718 w 1073"/>
              <a:gd name="T71" fmla="*/ 0 h 231"/>
              <a:gd name="T72" fmla="*/ 718 w 1073"/>
              <a:gd name="T73" fmla="*/ 32 h 231"/>
              <a:gd name="T74" fmla="*/ 744 w 1073"/>
              <a:gd name="T75" fmla="*/ 63 h 231"/>
              <a:gd name="T76" fmla="*/ 774 w 1073"/>
              <a:gd name="T77" fmla="*/ 145 h 231"/>
              <a:gd name="T78" fmla="*/ 898 w 1073"/>
              <a:gd name="T79" fmla="*/ 81 h 231"/>
              <a:gd name="T80" fmla="*/ 883 w 1073"/>
              <a:gd name="T81" fmla="*/ 221 h 231"/>
              <a:gd name="T82" fmla="*/ 774 w 1073"/>
              <a:gd name="T83" fmla="*/ 145 h 231"/>
              <a:gd name="T84" fmla="*/ 846 w 1073"/>
              <a:gd name="T85" fmla="*/ 208 h 231"/>
              <a:gd name="T86" fmla="*/ 878 w 1073"/>
              <a:gd name="T87" fmla="*/ 98 h 231"/>
              <a:gd name="T88" fmla="*/ 801 w 1073"/>
              <a:gd name="T89" fmla="*/ 145 h 231"/>
              <a:gd name="T90" fmla="*/ 972 w 1073"/>
              <a:gd name="T91" fmla="*/ 63 h 231"/>
              <a:gd name="T92" fmla="*/ 1046 w 1073"/>
              <a:gd name="T93" fmla="*/ 64 h 231"/>
              <a:gd name="T94" fmla="*/ 1073 w 1073"/>
              <a:gd name="T95" fmla="*/ 126 h 231"/>
              <a:gd name="T96" fmla="*/ 1047 w 1073"/>
              <a:gd name="T97" fmla="*/ 127 h 231"/>
              <a:gd name="T98" fmla="*/ 1015 w 1073"/>
              <a:gd name="T99" fmla="*/ 83 h 231"/>
              <a:gd name="T100" fmla="*/ 975 w 1073"/>
              <a:gd name="T101" fmla="*/ 227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073" h="231">
                <a:moveTo>
                  <a:pt x="0" y="227"/>
                </a:moveTo>
                <a:lnTo>
                  <a:pt x="0" y="0"/>
                </a:lnTo>
                <a:lnTo>
                  <a:pt x="28" y="0"/>
                </a:lnTo>
                <a:lnTo>
                  <a:pt x="28" y="201"/>
                </a:lnTo>
                <a:lnTo>
                  <a:pt x="132" y="201"/>
                </a:lnTo>
                <a:lnTo>
                  <a:pt x="132" y="227"/>
                </a:lnTo>
                <a:lnTo>
                  <a:pt x="0" y="227"/>
                </a:lnTo>
                <a:close/>
                <a:moveTo>
                  <a:pt x="149" y="145"/>
                </a:moveTo>
                <a:cubicBezTo>
                  <a:pt x="149" y="115"/>
                  <a:pt x="157" y="92"/>
                  <a:pt x="173" y="77"/>
                </a:cubicBezTo>
                <a:cubicBezTo>
                  <a:pt x="186" y="65"/>
                  <a:pt x="202" y="59"/>
                  <a:pt x="221" y="59"/>
                </a:cubicBezTo>
                <a:cubicBezTo>
                  <a:pt x="242" y="59"/>
                  <a:pt x="260" y="67"/>
                  <a:pt x="273" y="81"/>
                </a:cubicBezTo>
                <a:cubicBezTo>
                  <a:pt x="286" y="96"/>
                  <a:pt x="293" y="117"/>
                  <a:pt x="293" y="143"/>
                </a:cubicBezTo>
                <a:cubicBezTo>
                  <a:pt x="293" y="164"/>
                  <a:pt x="290" y="180"/>
                  <a:pt x="284" y="193"/>
                </a:cubicBezTo>
                <a:cubicBezTo>
                  <a:pt x="278" y="205"/>
                  <a:pt x="270" y="214"/>
                  <a:pt x="258" y="221"/>
                </a:cubicBezTo>
                <a:cubicBezTo>
                  <a:pt x="247" y="228"/>
                  <a:pt x="235" y="231"/>
                  <a:pt x="221" y="231"/>
                </a:cubicBezTo>
                <a:cubicBezTo>
                  <a:pt x="200" y="231"/>
                  <a:pt x="183" y="224"/>
                  <a:pt x="169" y="209"/>
                </a:cubicBezTo>
                <a:cubicBezTo>
                  <a:pt x="156" y="194"/>
                  <a:pt x="149" y="173"/>
                  <a:pt x="149" y="145"/>
                </a:cubicBezTo>
                <a:close/>
                <a:moveTo>
                  <a:pt x="176" y="145"/>
                </a:moveTo>
                <a:cubicBezTo>
                  <a:pt x="176" y="166"/>
                  <a:pt x="180" y="182"/>
                  <a:pt x="189" y="192"/>
                </a:cubicBezTo>
                <a:cubicBezTo>
                  <a:pt x="198" y="203"/>
                  <a:pt x="208" y="208"/>
                  <a:pt x="221" y="208"/>
                </a:cubicBezTo>
                <a:cubicBezTo>
                  <a:pt x="234" y="208"/>
                  <a:pt x="245" y="203"/>
                  <a:pt x="254" y="192"/>
                </a:cubicBezTo>
                <a:cubicBezTo>
                  <a:pt x="262" y="182"/>
                  <a:pt x="267" y="166"/>
                  <a:pt x="267" y="144"/>
                </a:cubicBezTo>
                <a:cubicBezTo>
                  <a:pt x="267" y="124"/>
                  <a:pt x="262" y="108"/>
                  <a:pt x="254" y="98"/>
                </a:cubicBezTo>
                <a:cubicBezTo>
                  <a:pt x="245" y="88"/>
                  <a:pt x="234" y="82"/>
                  <a:pt x="221" y="82"/>
                </a:cubicBezTo>
                <a:cubicBezTo>
                  <a:pt x="208" y="82"/>
                  <a:pt x="198" y="88"/>
                  <a:pt x="189" y="98"/>
                </a:cubicBezTo>
                <a:cubicBezTo>
                  <a:pt x="180" y="108"/>
                  <a:pt x="176" y="124"/>
                  <a:pt x="176" y="145"/>
                </a:cubicBezTo>
                <a:close/>
                <a:moveTo>
                  <a:pt x="424" y="167"/>
                </a:moveTo>
                <a:lnTo>
                  <a:pt x="449" y="171"/>
                </a:lnTo>
                <a:cubicBezTo>
                  <a:pt x="447" y="190"/>
                  <a:pt x="440" y="204"/>
                  <a:pt x="428" y="215"/>
                </a:cubicBezTo>
                <a:cubicBezTo>
                  <a:pt x="417" y="226"/>
                  <a:pt x="402" y="231"/>
                  <a:pt x="386" y="231"/>
                </a:cubicBezTo>
                <a:cubicBezTo>
                  <a:pt x="365" y="231"/>
                  <a:pt x="348" y="224"/>
                  <a:pt x="335" y="209"/>
                </a:cubicBezTo>
                <a:cubicBezTo>
                  <a:pt x="322" y="194"/>
                  <a:pt x="316" y="173"/>
                  <a:pt x="316" y="146"/>
                </a:cubicBezTo>
                <a:cubicBezTo>
                  <a:pt x="316" y="128"/>
                  <a:pt x="319" y="112"/>
                  <a:pt x="324" y="99"/>
                </a:cubicBezTo>
                <a:cubicBezTo>
                  <a:pt x="330" y="86"/>
                  <a:pt x="338" y="76"/>
                  <a:pt x="349" y="69"/>
                </a:cubicBezTo>
                <a:cubicBezTo>
                  <a:pt x="360" y="62"/>
                  <a:pt x="373" y="59"/>
                  <a:pt x="386" y="59"/>
                </a:cubicBezTo>
                <a:cubicBezTo>
                  <a:pt x="402" y="59"/>
                  <a:pt x="416" y="64"/>
                  <a:pt x="427" y="73"/>
                </a:cubicBezTo>
                <a:cubicBezTo>
                  <a:pt x="437" y="82"/>
                  <a:pt x="444" y="95"/>
                  <a:pt x="447" y="111"/>
                </a:cubicBezTo>
                <a:lnTo>
                  <a:pt x="422" y="115"/>
                </a:lnTo>
                <a:cubicBezTo>
                  <a:pt x="419" y="104"/>
                  <a:pt x="415" y="96"/>
                  <a:pt x="409" y="90"/>
                </a:cubicBezTo>
                <a:cubicBezTo>
                  <a:pt x="403" y="85"/>
                  <a:pt x="396" y="82"/>
                  <a:pt x="387" y="82"/>
                </a:cubicBezTo>
                <a:cubicBezTo>
                  <a:pt x="374" y="82"/>
                  <a:pt x="363" y="87"/>
                  <a:pt x="355" y="97"/>
                </a:cubicBezTo>
                <a:cubicBezTo>
                  <a:pt x="347" y="107"/>
                  <a:pt x="343" y="123"/>
                  <a:pt x="343" y="145"/>
                </a:cubicBezTo>
                <a:cubicBezTo>
                  <a:pt x="343" y="167"/>
                  <a:pt x="347" y="183"/>
                  <a:pt x="354" y="193"/>
                </a:cubicBezTo>
                <a:cubicBezTo>
                  <a:pt x="362" y="203"/>
                  <a:pt x="373" y="208"/>
                  <a:pt x="385" y="208"/>
                </a:cubicBezTo>
                <a:cubicBezTo>
                  <a:pt x="396" y="208"/>
                  <a:pt x="404" y="205"/>
                  <a:pt x="411" y="198"/>
                </a:cubicBezTo>
                <a:cubicBezTo>
                  <a:pt x="418" y="191"/>
                  <a:pt x="422" y="181"/>
                  <a:pt x="424" y="167"/>
                </a:cubicBezTo>
                <a:close/>
                <a:moveTo>
                  <a:pt x="572" y="207"/>
                </a:moveTo>
                <a:cubicBezTo>
                  <a:pt x="562" y="216"/>
                  <a:pt x="553" y="222"/>
                  <a:pt x="544" y="225"/>
                </a:cubicBezTo>
                <a:cubicBezTo>
                  <a:pt x="535" y="229"/>
                  <a:pt x="525" y="231"/>
                  <a:pt x="515" y="231"/>
                </a:cubicBezTo>
                <a:cubicBezTo>
                  <a:pt x="498" y="231"/>
                  <a:pt x="485" y="227"/>
                  <a:pt x="476" y="218"/>
                </a:cubicBezTo>
                <a:cubicBezTo>
                  <a:pt x="467" y="209"/>
                  <a:pt x="463" y="198"/>
                  <a:pt x="463" y="184"/>
                </a:cubicBezTo>
                <a:cubicBezTo>
                  <a:pt x="463" y="176"/>
                  <a:pt x="464" y="169"/>
                  <a:pt x="468" y="162"/>
                </a:cubicBezTo>
                <a:cubicBezTo>
                  <a:pt x="471" y="155"/>
                  <a:pt x="476" y="150"/>
                  <a:pt x="481" y="146"/>
                </a:cubicBezTo>
                <a:cubicBezTo>
                  <a:pt x="487" y="142"/>
                  <a:pt x="493" y="139"/>
                  <a:pt x="500" y="137"/>
                </a:cubicBezTo>
                <a:cubicBezTo>
                  <a:pt x="505" y="135"/>
                  <a:pt x="513" y="134"/>
                  <a:pt x="523" y="133"/>
                </a:cubicBezTo>
                <a:cubicBezTo>
                  <a:pt x="544" y="130"/>
                  <a:pt x="560" y="127"/>
                  <a:pt x="570" y="123"/>
                </a:cubicBezTo>
                <a:cubicBezTo>
                  <a:pt x="570" y="119"/>
                  <a:pt x="570" y="117"/>
                  <a:pt x="570" y="116"/>
                </a:cubicBezTo>
                <a:cubicBezTo>
                  <a:pt x="570" y="104"/>
                  <a:pt x="567" y="96"/>
                  <a:pt x="562" y="92"/>
                </a:cubicBezTo>
                <a:cubicBezTo>
                  <a:pt x="556" y="85"/>
                  <a:pt x="546" y="82"/>
                  <a:pt x="533" y="82"/>
                </a:cubicBezTo>
                <a:cubicBezTo>
                  <a:pt x="520" y="82"/>
                  <a:pt x="511" y="85"/>
                  <a:pt x="506" y="89"/>
                </a:cubicBezTo>
                <a:cubicBezTo>
                  <a:pt x="500" y="94"/>
                  <a:pt x="495" y="102"/>
                  <a:pt x="493" y="114"/>
                </a:cubicBezTo>
                <a:lnTo>
                  <a:pt x="467" y="110"/>
                </a:lnTo>
                <a:cubicBezTo>
                  <a:pt x="469" y="98"/>
                  <a:pt x="473" y="89"/>
                  <a:pt x="479" y="82"/>
                </a:cubicBezTo>
                <a:cubicBezTo>
                  <a:pt x="484" y="74"/>
                  <a:pt x="492" y="69"/>
                  <a:pt x="502" y="65"/>
                </a:cubicBezTo>
                <a:cubicBezTo>
                  <a:pt x="512" y="61"/>
                  <a:pt x="523" y="59"/>
                  <a:pt x="537" y="59"/>
                </a:cubicBezTo>
                <a:cubicBezTo>
                  <a:pt x="550" y="59"/>
                  <a:pt x="560" y="61"/>
                  <a:pt x="569" y="64"/>
                </a:cubicBezTo>
                <a:cubicBezTo>
                  <a:pt x="577" y="67"/>
                  <a:pt x="583" y="72"/>
                  <a:pt x="587" y="77"/>
                </a:cubicBezTo>
                <a:cubicBezTo>
                  <a:pt x="591" y="82"/>
                  <a:pt x="593" y="88"/>
                  <a:pt x="595" y="96"/>
                </a:cubicBezTo>
                <a:cubicBezTo>
                  <a:pt x="596" y="100"/>
                  <a:pt x="596" y="109"/>
                  <a:pt x="596" y="121"/>
                </a:cubicBezTo>
                <a:lnTo>
                  <a:pt x="596" y="158"/>
                </a:lnTo>
                <a:cubicBezTo>
                  <a:pt x="596" y="184"/>
                  <a:pt x="597" y="201"/>
                  <a:pt x="598" y="208"/>
                </a:cubicBezTo>
                <a:cubicBezTo>
                  <a:pt x="599" y="214"/>
                  <a:pt x="601" y="221"/>
                  <a:pt x="604" y="227"/>
                </a:cubicBezTo>
                <a:lnTo>
                  <a:pt x="577" y="227"/>
                </a:lnTo>
                <a:cubicBezTo>
                  <a:pt x="574" y="222"/>
                  <a:pt x="573" y="215"/>
                  <a:pt x="572" y="207"/>
                </a:cubicBezTo>
                <a:close/>
                <a:moveTo>
                  <a:pt x="570" y="145"/>
                </a:moveTo>
                <a:cubicBezTo>
                  <a:pt x="560" y="149"/>
                  <a:pt x="546" y="152"/>
                  <a:pt x="527" y="155"/>
                </a:cubicBezTo>
                <a:cubicBezTo>
                  <a:pt x="516" y="157"/>
                  <a:pt x="509" y="159"/>
                  <a:pt x="504" y="161"/>
                </a:cubicBezTo>
                <a:cubicBezTo>
                  <a:pt x="500" y="163"/>
                  <a:pt x="497" y="166"/>
                  <a:pt x="494" y="170"/>
                </a:cubicBezTo>
                <a:cubicBezTo>
                  <a:pt x="492" y="174"/>
                  <a:pt x="491" y="178"/>
                  <a:pt x="491" y="183"/>
                </a:cubicBezTo>
                <a:cubicBezTo>
                  <a:pt x="491" y="190"/>
                  <a:pt x="493" y="197"/>
                  <a:pt x="498" y="202"/>
                </a:cubicBezTo>
                <a:cubicBezTo>
                  <a:pt x="504" y="207"/>
                  <a:pt x="511" y="209"/>
                  <a:pt x="521" y="209"/>
                </a:cubicBezTo>
                <a:cubicBezTo>
                  <a:pt x="532" y="209"/>
                  <a:pt x="540" y="207"/>
                  <a:pt x="548" y="202"/>
                </a:cubicBezTo>
                <a:cubicBezTo>
                  <a:pt x="556" y="197"/>
                  <a:pt x="562" y="191"/>
                  <a:pt x="565" y="183"/>
                </a:cubicBezTo>
                <a:cubicBezTo>
                  <a:pt x="568" y="177"/>
                  <a:pt x="570" y="167"/>
                  <a:pt x="570" y="155"/>
                </a:cubicBezTo>
                <a:lnTo>
                  <a:pt x="570" y="145"/>
                </a:lnTo>
                <a:close/>
                <a:moveTo>
                  <a:pt x="693" y="202"/>
                </a:moveTo>
                <a:lnTo>
                  <a:pt x="696" y="227"/>
                </a:lnTo>
                <a:cubicBezTo>
                  <a:pt x="689" y="229"/>
                  <a:pt x="682" y="230"/>
                  <a:pt x="677" y="230"/>
                </a:cubicBezTo>
                <a:cubicBezTo>
                  <a:pt x="667" y="230"/>
                  <a:pt x="660" y="228"/>
                  <a:pt x="655" y="225"/>
                </a:cubicBezTo>
                <a:cubicBezTo>
                  <a:pt x="649" y="222"/>
                  <a:pt x="646" y="217"/>
                  <a:pt x="644" y="212"/>
                </a:cubicBezTo>
                <a:cubicBezTo>
                  <a:pt x="642" y="207"/>
                  <a:pt x="641" y="196"/>
                  <a:pt x="641" y="179"/>
                </a:cubicBezTo>
                <a:lnTo>
                  <a:pt x="641" y="84"/>
                </a:lnTo>
                <a:lnTo>
                  <a:pt x="621" y="84"/>
                </a:lnTo>
                <a:lnTo>
                  <a:pt x="621" y="63"/>
                </a:lnTo>
                <a:lnTo>
                  <a:pt x="641" y="63"/>
                </a:lnTo>
                <a:lnTo>
                  <a:pt x="641" y="22"/>
                </a:lnTo>
                <a:lnTo>
                  <a:pt x="667" y="5"/>
                </a:lnTo>
                <a:lnTo>
                  <a:pt x="667" y="63"/>
                </a:lnTo>
                <a:lnTo>
                  <a:pt x="693" y="63"/>
                </a:lnTo>
                <a:lnTo>
                  <a:pt x="693" y="84"/>
                </a:lnTo>
                <a:lnTo>
                  <a:pt x="667" y="84"/>
                </a:lnTo>
                <a:lnTo>
                  <a:pt x="667" y="181"/>
                </a:lnTo>
                <a:cubicBezTo>
                  <a:pt x="667" y="189"/>
                  <a:pt x="667" y="194"/>
                  <a:pt x="668" y="196"/>
                </a:cubicBezTo>
                <a:cubicBezTo>
                  <a:pt x="669" y="198"/>
                  <a:pt x="670" y="200"/>
                  <a:pt x="672" y="202"/>
                </a:cubicBezTo>
                <a:cubicBezTo>
                  <a:pt x="674" y="203"/>
                  <a:pt x="677" y="204"/>
                  <a:pt x="681" y="204"/>
                </a:cubicBezTo>
                <a:cubicBezTo>
                  <a:pt x="684" y="204"/>
                  <a:pt x="688" y="203"/>
                  <a:pt x="693" y="202"/>
                </a:cubicBezTo>
                <a:close/>
                <a:moveTo>
                  <a:pt x="718" y="32"/>
                </a:moveTo>
                <a:lnTo>
                  <a:pt x="718" y="0"/>
                </a:lnTo>
                <a:lnTo>
                  <a:pt x="744" y="0"/>
                </a:lnTo>
                <a:lnTo>
                  <a:pt x="744" y="32"/>
                </a:lnTo>
                <a:lnTo>
                  <a:pt x="718" y="32"/>
                </a:lnTo>
                <a:close/>
                <a:moveTo>
                  <a:pt x="718" y="227"/>
                </a:moveTo>
                <a:lnTo>
                  <a:pt x="718" y="63"/>
                </a:lnTo>
                <a:lnTo>
                  <a:pt x="744" y="63"/>
                </a:lnTo>
                <a:lnTo>
                  <a:pt x="744" y="227"/>
                </a:lnTo>
                <a:lnTo>
                  <a:pt x="718" y="227"/>
                </a:lnTo>
                <a:close/>
                <a:moveTo>
                  <a:pt x="774" y="145"/>
                </a:moveTo>
                <a:cubicBezTo>
                  <a:pt x="774" y="115"/>
                  <a:pt x="782" y="92"/>
                  <a:pt x="798" y="77"/>
                </a:cubicBezTo>
                <a:cubicBezTo>
                  <a:pt x="811" y="65"/>
                  <a:pt x="827" y="59"/>
                  <a:pt x="846" y="59"/>
                </a:cubicBezTo>
                <a:cubicBezTo>
                  <a:pt x="867" y="59"/>
                  <a:pt x="885" y="67"/>
                  <a:pt x="898" y="81"/>
                </a:cubicBezTo>
                <a:cubicBezTo>
                  <a:pt x="911" y="96"/>
                  <a:pt x="918" y="117"/>
                  <a:pt x="918" y="143"/>
                </a:cubicBezTo>
                <a:cubicBezTo>
                  <a:pt x="918" y="164"/>
                  <a:pt x="915" y="180"/>
                  <a:pt x="909" y="193"/>
                </a:cubicBezTo>
                <a:cubicBezTo>
                  <a:pt x="903" y="205"/>
                  <a:pt x="895" y="214"/>
                  <a:pt x="883" y="221"/>
                </a:cubicBezTo>
                <a:cubicBezTo>
                  <a:pt x="872" y="228"/>
                  <a:pt x="860" y="231"/>
                  <a:pt x="846" y="231"/>
                </a:cubicBezTo>
                <a:cubicBezTo>
                  <a:pt x="825" y="231"/>
                  <a:pt x="807" y="224"/>
                  <a:pt x="794" y="209"/>
                </a:cubicBezTo>
                <a:cubicBezTo>
                  <a:pt x="781" y="194"/>
                  <a:pt x="774" y="173"/>
                  <a:pt x="774" y="145"/>
                </a:cubicBezTo>
                <a:close/>
                <a:moveTo>
                  <a:pt x="801" y="145"/>
                </a:moveTo>
                <a:cubicBezTo>
                  <a:pt x="801" y="166"/>
                  <a:pt x="805" y="182"/>
                  <a:pt x="814" y="192"/>
                </a:cubicBezTo>
                <a:cubicBezTo>
                  <a:pt x="822" y="203"/>
                  <a:pt x="833" y="208"/>
                  <a:pt x="846" y="208"/>
                </a:cubicBezTo>
                <a:cubicBezTo>
                  <a:pt x="859" y="208"/>
                  <a:pt x="870" y="203"/>
                  <a:pt x="879" y="192"/>
                </a:cubicBezTo>
                <a:cubicBezTo>
                  <a:pt x="887" y="182"/>
                  <a:pt x="891" y="166"/>
                  <a:pt x="891" y="144"/>
                </a:cubicBezTo>
                <a:cubicBezTo>
                  <a:pt x="891" y="124"/>
                  <a:pt x="887" y="108"/>
                  <a:pt x="878" y="98"/>
                </a:cubicBezTo>
                <a:cubicBezTo>
                  <a:pt x="870" y="88"/>
                  <a:pt x="859" y="82"/>
                  <a:pt x="846" y="82"/>
                </a:cubicBezTo>
                <a:cubicBezTo>
                  <a:pt x="833" y="82"/>
                  <a:pt x="822" y="88"/>
                  <a:pt x="814" y="98"/>
                </a:cubicBezTo>
                <a:cubicBezTo>
                  <a:pt x="805" y="108"/>
                  <a:pt x="801" y="124"/>
                  <a:pt x="801" y="145"/>
                </a:cubicBezTo>
                <a:close/>
                <a:moveTo>
                  <a:pt x="949" y="227"/>
                </a:moveTo>
                <a:lnTo>
                  <a:pt x="949" y="63"/>
                </a:lnTo>
                <a:lnTo>
                  <a:pt x="972" y="63"/>
                </a:lnTo>
                <a:lnTo>
                  <a:pt x="972" y="86"/>
                </a:lnTo>
                <a:cubicBezTo>
                  <a:pt x="983" y="68"/>
                  <a:pt x="999" y="59"/>
                  <a:pt x="1021" y="59"/>
                </a:cubicBezTo>
                <a:cubicBezTo>
                  <a:pt x="1030" y="59"/>
                  <a:pt x="1038" y="61"/>
                  <a:pt x="1046" y="64"/>
                </a:cubicBezTo>
                <a:cubicBezTo>
                  <a:pt x="1054" y="68"/>
                  <a:pt x="1060" y="73"/>
                  <a:pt x="1064" y="79"/>
                </a:cubicBezTo>
                <a:cubicBezTo>
                  <a:pt x="1067" y="84"/>
                  <a:pt x="1070" y="91"/>
                  <a:pt x="1072" y="99"/>
                </a:cubicBezTo>
                <a:cubicBezTo>
                  <a:pt x="1073" y="104"/>
                  <a:pt x="1073" y="113"/>
                  <a:pt x="1073" y="126"/>
                </a:cubicBezTo>
                <a:lnTo>
                  <a:pt x="1073" y="227"/>
                </a:lnTo>
                <a:lnTo>
                  <a:pt x="1047" y="227"/>
                </a:lnTo>
                <a:lnTo>
                  <a:pt x="1047" y="127"/>
                </a:lnTo>
                <a:cubicBezTo>
                  <a:pt x="1047" y="116"/>
                  <a:pt x="1046" y="107"/>
                  <a:pt x="1044" y="102"/>
                </a:cubicBezTo>
                <a:cubicBezTo>
                  <a:pt x="1042" y="96"/>
                  <a:pt x="1038" y="92"/>
                  <a:pt x="1033" y="88"/>
                </a:cubicBezTo>
                <a:cubicBezTo>
                  <a:pt x="1028" y="85"/>
                  <a:pt x="1022" y="83"/>
                  <a:pt x="1015" y="83"/>
                </a:cubicBezTo>
                <a:cubicBezTo>
                  <a:pt x="1004" y="83"/>
                  <a:pt x="995" y="87"/>
                  <a:pt x="987" y="95"/>
                </a:cubicBezTo>
                <a:cubicBezTo>
                  <a:pt x="979" y="102"/>
                  <a:pt x="975" y="116"/>
                  <a:pt x="975" y="138"/>
                </a:cubicBezTo>
                <a:lnTo>
                  <a:pt x="975" y="227"/>
                </a:lnTo>
                <a:lnTo>
                  <a:pt x="949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87" name="Group 386">
            <a:extLst>
              <a:ext uri="{FF2B5EF4-FFF2-40B4-BE49-F238E27FC236}">
                <a16:creationId xmlns:a16="http://schemas.microsoft.com/office/drawing/2014/main" id="{95A2C919-5E18-475D-AA58-A72E96E6AE73}"/>
              </a:ext>
            </a:extLst>
          </p:cNvPr>
          <p:cNvGrpSpPr/>
          <p:nvPr/>
        </p:nvGrpSpPr>
        <p:grpSpPr>
          <a:xfrm>
            <a:off x="4308476" y="1431926"/>
            <a:ext cx="404813" cy="519113"/>
            <a:chOff x="4308476" y="1431926"/>
            <a:chExt cx="404813" cy="519113"/>
          </a:xfrm>
          <a:solidFill>
            <a:schemeClr val="accent1"/>
          </a:solidFill>
        </p:grpSpPr>
        <p:sp>
          <p:nvSpPr>
            <p:cNvPr id="190" name="Freeform 30">
              <a:extLst>
                <a:ext uri="{FF2B5EF4-FFF2-40B4-BE49-F238E27FC236}">
                  <a16:creationId xmlns:a16="http://schemas.microsoft.com/office/drawing/2014/main" id="{D839CB7B-CDFF-495C-8A9F-B46B7CE7C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8476" y="1431926"/>
              <a:ext cx="381000" cy="519113"/>
            </a:xfrm>
            <a:custGeom>
              <a:avLst/>
              <a:gdLst>
                <a:gd name="T0" fmla="*/ 754 w 1057"/>
                <a:gd name="T1" fmla="*/ 0 h 1444"/>
                <a:gd name="T2" fmla="*/ 367 w 1057"/>
                <a:gd name="T3" fmla="*/ 0 h 1444"/>
                <a:gd name="T4" fmla="*/ 0 w 1057"/>
                <a:gd name="T5" fmla="*/ 368 h 1444"/>
                <a:gd name="T6" fmla="*/ 0 w 1057"/>
                <a:gd name="T7" fmla="*/ 774 h 1444"/>
                <a:gd name="T8" fmla="*/ 465 w 1057"/>
                <a:gd name="T9" fmla="*/ 1444 h 1444"/>
                <a:gd name="T10" fmla="*/ 662 w 1057"/>
                <a:gd name="T11" fmla="*/ 1444 h 1444"/>
                <a:gd name="T12" fmla="*/ 563 w 1057"/>
                <a:gd name="T13" fmla="*/ 1304 h 1444"/>
                <a:gd name="T14" fmla="*/ 160 w 1057"/>
                <a:gd name="T15" fmla="*/ 724 h 1444"/>
                <a:gd name="T16" fmla="*/ 160 w 1057"/>
                <a:gd name="T17" fmla="*/ 435 h 1444"/>
                <a:gd name="T18" fmla="*/ 434 w 1057"/>
                <a:gd name="T19" fmla="*/ 161 h 1444"/>
                <a:gd name="T20" fmla="*/ 688 w 1057"/>
                <a:gd name="T21" fmla="*/ 161 h 1444"/>
                <a:gd name="T22" fmla="*/ 964 w 1057"/>
                <a:gd name="T23" fmla="*/ 437 h 1444"/>
                <a:gd name="T24" fmla="*/ 1057 w 1057"/>
                <a:gd name="T25" fmla="*/ 303 h 1444"/>
                <a:gd name="T26" fmla="*/ 754 w 1057"/>
                <a:gd name="T27" fmla="*/ 0 h 1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57" h="1444">
                  <a:moveTo>
                    <a:pt x="754" y="0"/>
                  </a:moveTo>
                  <a:lnTo>
                    <a:pt x="367" y="0"/>
                  </a:lnTo>
                  <a:lnTo>
                    <a:pt x="0" y="368"/>
                  </a:lnTo>
                  <a:lnTo>
                    <a:pt x="0" y="774"/>
                  </a:lnTo>
                  <a:lnTo>
                    <a:pt x="465" y="1444"/>
                  </a:lnTo>
                  <a:lnTo>
                    <a:pt x="662" y="1444"/>
                  </a:lnTo>
                  <a:lnTo>
                    <a:pt x="563" y="1304"/>
                  </a:lnTo>
                  <a:lnTo>
                    <a:pt x="160" y="724"/>
                  </a:lnTo>
                  <a:lnTo>
                    <a:pt x="160" y="435"/>
                  </a:lnTo>
                  <a:lnTo>
                    <a:pt x="434" y="161"/>
                  </a:lnTo>
                  <a:lnTo>
                    <a:pt x="688" y="161"/>
                  </a:lnTo>
                  <a:lnTo>
                    <a:pt x="964" y="437"/>
                  </a:lnTo>
                  <a:lnTo>
                    <a:pt x="1057" y="303"/>
                  </a:lnTo>
                  <a:lnTo>
                    <a:pt x="7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1" name="Freeform 31">
              <a:extLst>
                <a:ext uri="{FF2B5EF4-FFF2-40B4-BE49-F238E27FC236}">
                  <a16:creationId xmlns:a16="http://schemas.microsoft.com/office/drawing/2014/main" id="{D8A5E876-6F8E-477E-A5DA-548E7C5D3C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676" y="1608138"/>
              <a:ext cx="201613" cy="342900"/>
            </a:xfrm>
            <a:custGeom>
              <a:avLst/>
              <a:gdLst>
                <a:gd name="T0" fmla="*/ 99 w 559"/>
                <a:gd name="T1" fmla="*/ 953 h 953"/>
                <a:gd name="T2" fmla="*/ 559 w 559"/>
                <a:gd name="T3" fmla="*/ 283 h 953"/>
                <a:gd name="T4" fmla="*/ 559 w 559"/>
                <a:gd name="T5" fmla="*/ 0 h 953"/>
                <a:gd name="T6" fmla="*/ 0 w 559"/>
                <a:gd name="T7" fmla="*/ 813 h 953"/>
                <a:gd name="T8" fmla="*/ 99 w 559"/>
                <a:gd name="T9" fmla="*/ 953 h 9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9" h="953">
                  <a:moveTo>
                    <a:pt x="99" y="953"/>
                  </a:moveTo>
                  <a:lnTo>
                    <a:pt x="559" y="283"/>
                  </a:lnTo>
                  <a:lnTo>
                    <a:pt x="559" y="0"/>
                  </a:lnTo>
                  <a:lnTo>
                    <a:pt x="0" y="813"/>
                  </a:lnTo>
                  <a:lnTo>
                    <a:pt x="99" y="9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2" name="Freeform 32">
              <a:extLst>
                <a:ext uri="{FF2B5EF4-FFF2-40B4-BE49-F238E27FC236}">
                  <a16:creationId xmlns:a16="http://schemas.microsoft.com/office/drawing/2014/main" id="{1390A906-6426-4FF5-A947-E54801BCD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676" y="1752601"/>
              <a:ext cx="128588" cy="198438"/>
            </a:xfrm>
            <a:custGeom>
              <a:avLst/>
              <a:gdLst>
                <a:gd name="T0" fmla="*/ 358 w 358"/>
                <a:gd name="T1" fmla="*/ 174 h 551"/>
                <a:gd name="T2" fmla="*/ 283 w 358"/>
                <a:gd name="T3" fmla="*/ 0 h 551"/>
                <a:gd name="T4" fmla="*/ 0 w 358"/>
                <a:gd name="T5" fmla="*/ 411 h 551"/>
                <a:gd name="T6" fmla="*/ 99 w 358"/>
                <a:gd name="T7" fmla="*/ 551 h 551"/>
                <a:gd name="T8" fmla="*/ 358 w 358"/>
                <a:gd name="T9" fmla="*/ 174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8" h="551">
                  <a:moveTo>
                    <a:pt x="358" y="174"/>
                  </a:moveTo>
                  <a:lnTo>
                    <a:pt x="283" y="0"/>
                  </a:lnTo>
                  <a:lnTo>
                    <a:pt x="0" y="411"/>
                  </a:lnTo>
                  <a:lnTo>
                    <a:pt x="99" y="551"/>
                  </a:lnTo>
                  <a:lnTo>
                    <a:pt x="358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3" name="Oval 33">
              <a:extLst>
                <a:ext uri="{FF2B5EF4-FFF2-40B4-BE49-F238E27FC236}">
                  <a16:creationId xmlns:a16="http://schemas.microsoft.com/office/drawing/2014/main" id="{2C3C05D4-760D-4DE5-A512-882FA7029B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1988" y="1595438"/>
              <a:ext cx="77788" cy="762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83" name="Group 382">
            <a:extLst>
              <a:ext uri="{FF2B5EF4-FFF2-40B4-BE49-F238E27FC236}">
                <a16:creationId xmlns:a16="http://schemas.microsoft.com/office/drawing/2014/main" id="{90FF93E2-0F1B-4856-983E-FC0F42218316}"/>
              </a:ext>
            </a:extLst>
          </p:cNvPr>
          <p:cNvGrpSpPr/>
          <p:nvPr/>
        </p:nvGrpSpPr>
        <p:grpSpPr>
          <a:xfrm>
            <a:off x="5033963" y="1431926"/>
            <a:ext cx="479426" cy="519112"/>
            <a:chOff x="5033963" y="1431926"/>
            <a:chExt cx="479426" cy="519112"/>
          </a:xfrm>
          <a:solidFill>
            <a:schemeClr val="accent1"/>
          </a:solidFill>
        </p:grpSpPr>
        <p:sp>
          <p:nvSpPr>
            <p:cNvPr id="194" name="Freeform 34">
              <a:extLst>
                <a:ext uri="{FF2B5EF4-FFF2-40B4-BE49-F238E27FC236}">
                  <a16:creationId xmlns:a16="http://schemas.microsoft.com/office/drawing/2014/main" id="{EBC1E0E3-E3E3-492A-835F-CDD914CCD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1751" y="1431926"/>
              <a:ext cx="401638" cy="434975"/>
            </a:xfrm>
            <a:custGeom>
              <a:avLst/>
              <a:gdLst>
                <a:gd name="T0" fmla="*/ 81 w 1111"/>
                <a:gd name="T1" fmla="*/ 233 h 1211"/>
                <a:gd name="T2" fmla="*/ 81 w 1111"/>
                <a:gd name="T3" fmla="*/ 233 h 1211"/>
                <a:gd name="T4" fmla="*/ 0 w 1111"/>
                <a:gd name="T5" fmla="*/ 372 h 1211"/>
                <a:gd name="T6" fmla="*/ 145 w 1111"/>
                <a:gd name="T7" fmla="*/ 455 h 1211"/>
                <a:gd name="T8" fmla="*/ 366 w 1111"/>
                <a:gd name="T9" fmla="*/ 327 h 1211"/>
                <a:gd name="T10" fmla="*/ 366 w 1111"/>
                <a:gd name="T11" fmla="*/ 161 h 1211"/>
                <a:gd name="T12" fmla="*/ 527 w 1111"/>
                <a:gd name="T13" fmla="*/ 161 h 1211"/>
                <a:gd name="T14" fmla="*/ 527 w 1111"/>
                <a:gd name="T15" fmla="*/ 327 h 1211"/>
                <a:gd name="T16" fmla="*/ 748 w 1111"/>
                <a:gd name="T17" fmla="*/ 455 h 1211"/>
                <a:gd name="T18" fmla="*/ 892 w 1111"/>
                <a:gd name="T19" fmla="*/ 372 h 1211"/>
                <a:gd name="T20" fmla="*/ 973 w 1111"/>
                <a:gd name="T21" fmla="*/ 511 h 1211"/>
                <a:gd name="T22" fmla="*/ 828 w 1111"/>
                <a:gd name="T23" fmla="*/ 594 h 1211"/>
                <a:gd name="T24" fmla="*/ 828 w 1111"/>
                <a:gd name="T25" fmla="*/ 850 h 1211"/>
                <a:gd name="T26" fmla="*/ 973 w 1111"/>
                <a:gd name="T27" fmla="*/ 933 h 1211"/>
                <a:gd name="T28" fmla="*/ 892 w 1111"/>
                <a:gd name="T29" fmla="*/ 1072 h 1211"/>
                <a:gd name="T30" fmla="*/ 748 w 1111"/>
                <a:gd name="T31" fmla="*/ 989 h 1211"/>
                <a:gd name="T32" fmla="*/ 587 w 1111"/>
                <a:gd name="T33" fmla="*/ 1082 h 1211"/>
                <a:gd name="T34" fmla="*/ 812 w 1111"/>
                <a:gd name="T35" fmla="*/ 1211 h 1211"/>
                <a:gd name="T36" fmla="*/ 1031 w 1111"/>
                <a:gd name="T37" fmla="*/ 1152 h 1211"/>
                <a:gd name="T38" fmla="*/ 1111 w 1111"/>
                <a:gd name="T39" fmla="*/ 1013 h 1211"/>
                <a:gd name="T40" fmla="*/ 1111 w 1111"/>
                <a:gd name="T41" fmla="*/ 1013 h 1211"/>
                <a:gd name="T42" fmla="*/ 1053 w 1111"/>
                <a:gd name="T43" fmla="*/ 794 h 1211"/>
                <a:gd name="T44" fmla="*/ 989 w 1111"/>
                <a:gd name="T45" fmla="*/ 757 h 1211"/>
                <a:gd name="T46" fmla="*/ 989 w 1111"/>
                <a:gd name="T47" fmla="*/ 687 h 1211"/>
                <a:gd name="T48" fmla="*/ 1053 w 1111"/>
                <a:gd name="T49" fmla="*/ 650 h 1211"/>
                <a:gd name="T50" fmla="*/ 1111 w 1111"/>
                <a:gd name="T51" fmla="*/ 431 h 1211"/>
                <a:gd name="T52" fmla="*/ 1111 w 1111"/>
                <a:gd name="T53" fmla="*/ 431 h 1211"/>
                <a:gd name="T54" fmla="*/ 1031 w 1111"/>
                <a:gd name="T55" fmla="*/ 292 h 1211"/>
                <a:gd name="T56" fmla="*/ 812 w 1111"/>
                <a:gd name="T57" fmla="*/ 233 h 1211"/>
                <a:gd name="T58" fmla="*/ 748 w 1111"/>
                <a:gd name="T59" fmla="*/ 270 h 1211"/>
                <a:gd name="T60" fmla="*/ 687 w 1111"/>
                <a:gd name="T61" fmla="*/ 235 h 1211"/>
                <a:gd name="T62" fmla="*/ 687 w 1111"/>
                <a:gd name="T63" fmla="*/ 161 h 1211"/>
                <a:gd name="T64" fmla="*/ 527 w 1111"/>
                <a:gd name="T65" fmla="*/ 0 h 1211"/>
                <a:gd name="T66" fmla="*/ 366 w 1111"/>
                <a:gd name="T67" fmla="*/ 0 h 1211"/>
                <a:gd name="T68" fmla="*/ 206 w 1111"/>
                <a:gd name="T69" fmla="*/ 161 h 1211"/>
                <a:gd name="T70" fmla="*/ 206 w 1111"/>
                <a:gd name="T71" fmla="*/ 235 h 1211"/>
                <a:gd name="T72" fmla="*/ 145 w 1111"/>
                <a:gd name="T73" fmla="*/ 270 h 1211"/>
                <a:gd name="T74" fmla="*/ 81 w 1111"/>
                <a:gd name="T75" fmla="*/ 233 h 1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11" h="1211">
                  <a:moveTo>
                    <a:pt x="81" y="233"/>
                  </a:moveTo>
                  <a:lnTo>
                    <a:pt x="81" y="233"/>
                  </a:lnTo>
                  <a:lnTo>
                    <a:pt x="0" y="372"/>
                  </a:lnTo>
                  <a:lnTo>
                    <a:pt x="145" y="455"/>
                  </a:lnTo>
                  <a:lnTo>
                    <a:pt x="366" y="327"/>
                  </a:lnTo>
                  <a:lnTo>
                    <a:pt x="366" y="161"/>
                  </a:lnTo>
                  <a:lnTo>
                    <a:pt x="527" y="161"/>
                  </a:lnTo>
                  <a:lnTo>
                    <a:pt x="527" y="327"/>
                  </a:lnTo>
                  <a:lnTo>
                    <a:pt x="748" y="455"/>
                  </a:lnTo>
                  <a:lnTo>
                    <a:pt x="892" y="372"/>
                  </a:lnTo>
                  <a:lnTo>
                    <a:pt x="973" y="511"/>
                  </a:lnTo>
                  <a:lnTo>
                    <a:pt x="828" y="594"/>
                  </a:lnTo>
                  <a:lnTo>
                    <a:pt x="828" y="850"/>
                  </a:lnTo>
                  <a:lnTo>
                    <a:pt x="973" y="933"/>
                  </a:lnTo>
                  <a:lnTo>
                    <a:pt x="892" y="1072"/>
                  </a:lnTo>
                  <a:lnTo>
                    <a:pt x="748" y="989"/>
                  </a:lnTo>
                  <a:lnTo>
                    <a:pt x="587" y="1082"/>
                  </a:lnTo>
                  <a:lnTo>
                    <a:pt x="812" y="1211"/>
                  </a:lnTo>
                  <a:lnTo>
                    <a:pt x="1031" y="1152"/>
                  </a:lnTo>
                  <a:lnTo>
                    <a:pt x="1111" y="1013"/>
                  </a:lnTo>
                  <a:lnTo>
                    <a:pt x="1111" y="1013"/>
                  </a:lnTo>
                  <a:lnTo>
                    <a:pt x="1053" y="794"/>
                  </a:lnTo>
                  <a:lnTo>
                    <a:pt x="989" y="757"/>
                  </a:lnTo>
                  <a:lnTo>
                    <a:pt x="989" y="687"/>
                  </a:lnTo>
                  <a:lnTo>
                    <a:pt x="1053" y="650"/>
                  </a:lnTo>
                  <a:lnTo>
                    <a:pt x="1111" y="431"/>
                  </a:lnTo>
                  <a:lnTo>
                    <a:pt x="1111" y="431"/>
                  </a:lnTo>
                  <a:lnTo>
                    <a:pt x="1031" y="292"/>
                  </a:lnTo>
                  <a:lnTo>
                    <a:pt x="812" y="233"/>
                  </a:lnTo>
                  <a:lnTo>
                    <a:pt x="748" y="270"/>
                  </a:lnTo>
                  <a:lnTo>
                    <a:pt x="687" y="235"/>
                  </a:lnTo>
                  <a:lnTo>
                    <a:pt x="687" y="161"/>
                  </a:lnTo>
                  <a:lnTo>
                    <a:pt x="527" y="0"/>
                  </a:lnTo>
                  <a:lnTo>
                    <a:pt x="366" y="0"/>
                  </a:lnTo>
                  <a:lnTo>
                    <a:pt x="206" y="161"/>
                  </a:lnTo>
                  <a:lnTo>
                    <a:pt x="206" y="235"/>
                  </a:lnTo>
                  <a:lnTo>
                    <a:pt x="145" y="270"/>
                  </a:lnTo>
                  <a:lnTo>
                    <a:pt x="81" y="2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5" name="Freeform 35">
              <a:extLst>
                <a:ext uri="{FF2B5EF4-FFF2-40B4-BE49-F238E27FC236}">
                  <a16:creationId xmlns:a16="http://schemas.microsoft.com/office/drawing/2014/main" id="{00B2D16B-EDE8-4DC7-A143-780082E11C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3963" y="1514476"/>
              <a:ext cx="107950" cy="101600"/>
            </a:xfrm>
            <a:custGeom>
              <a:avLst/>
              <a:gdLst>
                <a:gd name="T0" fmla="*/ 139 w 300"/>
                <a:gd name="T1" fmla="*/ 278 h 278"/>
                <a:gd name="T2" fmla="*/ 300 w 300"/>
                <a:gd name="T3" fmla="*/ 0 h 278"/>
                <a:gd name="T4" fmla="*/ 81 w 300"/>
                <a:gd name="T5" fmla="*/ 59 h 278"/>
                <a:gd name="T6" fmla="*/ 0 w 300"/>
                <a:gd name="T7" fmla="*/ 198 h 278"/>
                <a:gd name="T8" fmla="*/ 139 w 300"/>
                <a:gd name="T9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278">
                  <a:moveTo>
                    <a:pt x="139" y="278"/>
                  </a:moveTo>
                  <a:lnTo>
                    <a:pt x="300" y="0"/>
                  </a:lnTo>
                  <a:lnTo>
                    <a:pt x="81" y="59"/>
                  </a:lnTo>
                  <a:lnTo>
                    <a:pt x="0" y="198"/>
                  </a:lnTo>
                  <a:lnTo>
                    <a:pt x="139" y="2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6" name="Freeform 36">
              <a:extLst>
                <a:ext uri="{FF2B5EF4-FFF2-40B4-BE49-F238E27FC236}">
                  <a16:creationId xmlns:a16="http://schemas.microsoft.com/office/drawing/2014/main" id="{E2301A3C-0F46-43B9-B109-34345F7FFB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3963" y="1514476"/>
              <a:ext cx="107950" cy="101600"/>
            </a:xfrm>
            <a:custGeom>
              <a:avLst/>
              <a:gdLst>
                <a:gd name="T0" fmla="*/ 0 w 300"/>
                <a:gd name="T1" fmla="*/ 198 h 278"/>
                <a:gd name="T2" fmla="*/ 0 w 300"/>
                <a:gd name="T3" fmla="*/ 198 h 278"/>
                <a:gd name="T4" fmla="*/ 81 w 300"/>
                <a:gd name="T5" fmla="*/ 59 h 278"/>
                <a:gd name="T6" fmla="*/ 300 w 300"/>
                <a:gd name="T7" fmla="*/ 0 h 278"/>
                <a:gd name="T8" fmla="*/ 139 w 300"/>
                <a:gd name="T9" fmla="*/ 278 h 278"/>
                <a:gd name="T10" fmla="*/ 0 w 300"/>
                <a:gd name="T11" fmla="*/ 19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0" h="278">
                  <a:moveTo>
                    <a:pt x="0" y="198"/>
                  </a:moveTo>
                  <a:lnTo>
                    <a:pt x="0" y="198"/>
                  </a:lnTo>
                  <a:lnTo>
                    <a:pt x="81" y="59"/>
                  </a:lnTo>
                  <a:lnTo>
                    <a:pt x="300" y="0"/>
                  </a:lnTo>
                  <a:lnTo>
                    <a:pt x="139" y="278"/>
                  </a:lnTo>
                  <a:lnTo>
                    <a:pt x="0" y="1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7" name="Freeform 37">
              <a:extLst>
                <a:ext uri="{FF2B5EF4-FFF2-40B4-BE49-F238E27FC236}">
                  <a16:creationId xmlns:a16="http://schemas.microsoft.com/office/drawing/2014/main" id="{BC46517C-1E9D-40EA-975A-D50BD70EF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3963" y="1585913"/>
              <a:ext cx="325438" cy="365125"/>
            </a:xfrm>
            <a:custGeom>
              <a:avLst/>
              <a:gdLst>
                <a:gd name="T0" fmla="*/ 585 w 906"/>
                <a:gd name="T1" fmla="*/ 852 h 1013"/>
                <a:gd name="T2" fmla="*/ 585 w 906"/>
                <a:gd name="T3" fmla="*/ 852 h 1013"/>
                <a:gd name="T4" fmla="*/ 585 w 906"/>
                <a:gd name="T5" fmla="*/ 686 h 1013"/>
                <a:gd name="T6" fmla="*/ 364 w 906"/>
                <a:gd name="T7" fmla="*/ 558 h 1013"/>
                <a:gd name="T8" fmla="*/ 219 w 906"/>
                <a:gd name="T9" fmla="*/ 641 h 1013"/>
                <a:gd name="T10" fmla="*/ 139 w 906"/>
                <a:gd name="T11" fmla="*/ 502 h 1013"/>
                <a:gd name="T12" fmla="*/ 284 w 906"/>
                <a:gd name="T13" fmla="*/ 419 h 1013"/>
                <a:gd name="T14" fmla="*/ 284 w 906"/>
                <a:gd name="T15" fmla="*/ 163 h 1013"/>
                <a:gd name="T16" fmla="*/ 0 w 906"/>
                <a:gd name="T17" fmla="*/ 0 h 1013"/>
                <a:gd name="T18" fmla="*/ 59 w 906"/>
                <a:gd name="T19" fmla="*/ 219 h 1013"/>
                <a:gd name="T20" fmla="*/ 123 w 906"/>
                <a:gd name="T21" fmla="*/ 256 h 1013"/>
                <a:gd name="T22" fmla="*/ 123 w 906"/>
                <a:gd name="T23" fmla="*/ 326 h 1013"/>
                <a:gd name="T24" fmla="*/ 59 w 906"/>
                <a:gd name="T25" fmla="*/ 363 h 1013"/>
                <a:gd name="T26" fmla="*/ 0 w 906"/>
                <a:gd name="T27" fmla="*/ 582 h 1013"/>
                <a:gd name="T28" fmla="*/ 0 w 906"/>
                <a:gd name="T29" fmla="*/ 582 h 1013"/>
                <a:gd name="T30" fmla="*/ 81 w 906"/>
                <a:gd name="T31" fmla="*/ 721 h 1013"/>
                <a:gd name="T32" fmla="*/ 300 w 906"/>
                <a:gd name="T33" fmla="*/ 780 h 1013"/>
                <a:gd name="T34" fmla="*/ 300 w 906"/>
                <a:gd name="T35" fmla="*/ 780 h 1013"/>
                <a:gd name="T36" fmla="*/ 364 w 906"/>
                <a:gd name="T37" fmla="*/ 743 h 1013"/>
                <a:gd name="T38" fmla="*/ 425 w 906"/>
                <a:gd name="T39" fmla="*/ 778 h 1013"/>
                <a:gd name="T40" fmla="*/ 425 w 906"/>
                <a:gd name="T41" fmla="*/ 852 h 1013"/>
                <a:gd name="T42" fmla="*/ 585 w 906"/>
                <a:gd name="T43" fmla="*/ 1013 h 1013"/>
                <a:gd name="T44" fmla="*/ 746 w 906"/>
                <a:gd name="T45" fmla="*/ 1013 h 1013"/>
                <a:gd name="T46" fmla="*/ 906 w 906"/>
                <a:gd name="T47" fmla="*/ 852 h 1013"/>
                <a:gd name="T48" fmla="*/ 585 w 906"/>
                <a:gd name="T49" fmla="*/ 852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06" h="1013">
                  <a:moveTo>
                    <a:pt x="585" y="852"/>
                  </a:moveTo>
                  <a:lnTo>
                    <a:pt x="585" y="852"/>
                  </a:lnTo>
                  <a:lnTo>
                    <a:pt x="585" y="686"/>
                  </a:lnTo>
                  <a:lnTo>
                    <a:pt x="364" y="558"/>
                  </a:lnTo>
                  <a:lnTo>
                    <a:pt x="219" y="641"/>
                  </a:lnTo>
                  <a:lnTo>
                    <a:pt x="139" y="502"/>
                  </a:lnTo>
                  <a:lnTo>
                    <a:pt x="284" y="419"/>
                  </a:lnTo>
                  <a:lnTo>
                    <a:pt x="284" y="163"/>
                  </a:lnTo>
                  <a:lnTo>
                    <a:pt x="0" y="0"/>
                  </a:lnTo>
                  <a:lnTo>
                    <a:pt x="59" y="219"/>
                  </a:lnTo>
                  <a:lnTo>
                    <a:pt x="123" y="256"/>
                  </a:lnTo>
                  <a:lnTo>
                    <a:pt x="123" y="326"/>
                  </a:lnTo>
                  <a:lnTo>
                    <a:pt x="59" y="363"/>
                  </a:lnTo>
                  <a:lnTo>
                    <a:pt x="0" y="582"/>
                  </a:lnTo>
                  <a:lnTo>
                    <a:pt x="0" y="582"/>
                  </a:lnTo>
                  <a:lnTo>
                    <a:pt x="81" y="721"/>
                  </a:lnTo>
                  <a:lnTo>
                    <a:pt x="300" y="780"/>
                  </a:lnTo>
                  <a:lnTo>
                    <a:pt x="300" y="780"/>
                  </a:lnTo>
                  <a:lnTo>
                    <a:pt x="364" y="743"/>
                  </a:lnTo>
                  <a:lnTo>
                    <a:pt x="425" y="778"/>
                  </a:lnTo>
                  <a:lnTo>
                    <a:pt x="425" y="852"/>
                  </a:lnTo>
                  <a:lnTo>
                    <a:pt x="585" y="1013"/>
                  </a:lnTo>
                  <a:lnTo>
                    <a:pt x="746" y="1013"/>
                  </a:lnTo>
                  <a:lnTo>
                    <a:pt x="906" y="852"/>
                  </a:lnTo>
                  <a:lnTo>
                    <a:pt x="585" y="8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8" name="Oval 38">
              <a:extLst>
                <a:ext uri="{FF2B5EF4-FFF2-40B4-BE49-F238E27FC236}">
                  <a16:creationId xmlns:a16="http://schemas.microsoft.com/office/drawing/2014/main" id="{A703DE96-BBFF-4478-B3A2-A967E10C53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5576" y="1652588"/>
              <a:ext cx="76200" cy="777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82" name="Group 381">
            <a:extLst>
              <a:ext uri="{FF2B5EF4-FFF2-40B4-BE49-F238E27FC236}">
                <a16:creationId xmlns:a16="http://schemas.microsoft.com/office/drawing/2014/main" id="{4C0D9635-B215-4459-ADCD-59C1371EFA92}"/>
              </a:ext>
            </a:extLst>
          </p:cNvPr>
          <p:cNvGrpSpPr/>
          <p:nvPr/>
        </p:nvGrpSpPr>
        <p:grpSpPr>
          <a:xfrm>
            <a:off x="5805488" y="1460501"/>
            <a:ext cx="461963" cy="461963"/>
            <a:chOff x="5805488" y="1460501"/>
            <a:chExt cx="461963" cy="461963"/>
          </a:xfrm>
          <a:solidFill>
            <a:schemeClr val="accent1"/>
          </a:solidFill>
        </p:grpSpPr>
        <p:sp>
          <p:nvSpPr>
            <p:cNvPr id="199" name="Freeform 39">
              <a:extLst>
                <a:ext uri="{FF2B5EF4-FFF2-40B4-BE49-F238E27FC236}">
                  <a16:creationId xmlns:a16="http://schemas.microsoft.com/office/drawing/2014/main" id="{01076AD4-019E-4564-9086-1B484BDE33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1713" y="1506538"/>
              <a:ext cx="184150" cy="184150"/>
            </a:xfrm>
            <a:custGeom>
              <a:avLst/>
              <a:gdLst>
                <a:gd name="T0" fmla="*/ 226 w 513"/>
                <a:gd name="T1" fmla="*/ 514 h 514"/>
                <a:gd name="T2" fmla="*/ 513 w 513"/>
                <a:gd name="T3" fmla="*/ 227 h 514"/>
                <a:gd name="T4" fmla="*/ 513 w 513"/>
                <a:gd name="T5" fmla="*/ 0 h 514"/>
                <a:gd name="T6" fmla="*/ 0 w 513"/>
                <a:gd name="T7" fmla="*/ 514 h 514"/>
                <a:gd name="T8" fmla="*/ 226 w 513"/>
                <a:gd name="T9" fmla="*/ 51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4">
                  <a:moveTo>
                    <a:pt x="226" y="514"/>
                  </a:moveTo>
                  <a:lnTo>
                    <a:pt x="513" y="227"/>
                  </a:lnTo>
                  <a:lnTo>
                    <a:pt x="513" y="0"/>
                  </a:lnTo>
                  <a:lnTo>
                    <a:pt x="0" y="514"/>
                  </a:lnTo>
                  <a:lnTo>
                    <a:pt x="226" y="5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0" name="Freeform 40">
              <a:extLst>
                <a:ext uri="{FF2B5EF4-FFF2-40B4-BE49-F238E27FC236}">
                  <a16:creationId xmlns:a16="http://schemas.microsoft.com/office/drawing/2014/main" id="{5AF34860-30A2-49A1-AAE1-065BA48DF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7101" y="1576388"/>
              <a:ext cx="155575" cy="114300"/>
            </a:xfrm>
            <a:custGeom>
              <a:avLst/>
              <a:gdLst>
                <a:gd name="T0" fmla="*/ 113 w 434"/>
                <a:gd name="T1" fmla="*/ 0 h 321"/>
                <a:gd name="T2" fmla="*/ 0 w 434"/>
                <a:gd name="T3" fmla="*/ 114 h 321"/>
                <a:gd name="T4" fmla="*/ 208 w 434"/>
                <a:gd name="T5" fmla="*/ 321 h 321"/>
                <a:gd name="T6" fmla="*/ 434 w 434"/>
                <a:gd name="T7" fmla="*/ 321 h 321"/>
                <a:gd name="T8" fmla="*/ 113 w 434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4" h="321">
                  <a:moveTo>
                    <a:pt x="113" y="0"/>
                  </a:moveTo>
                  <a:lnTo>
                    <a:pt x="0" y="114"/>
                  </a:lnTo>
                  <a:lnTo>
                    <a:pt x="208" y="321"/>
                  </a:lnTo>
                  <a:lnTo>
                    <a:pt x="434" y="321"/>
                  </a:lnTo>
                  <a:lnTo>
                    <a:pt x="11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1" name="Freeform 41">
              <a:extLst>
                <a:ext uri="{FF2B5EF4-FFF2-40B4-BE49-F238E27FC236}">
                  <a16:creationId xmlns:a16="http://schemas.microsoft.com/office/drawing/2014/main" id="{A2CF19A7-7250-4274-BEB0-0831495C8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5488" y="1460501"/>
              <a:ext cx="461963" cy="461963"/>
            </a:xfrm>
            <a:custGeom>
              <a:avLst/>
              <a:gdLst>
                <a:gd name="T0" fmla="*/ 160 w 1283"/>
                <a:gd name="T1" fmla="*/ 1122 h 1282"/>
                <a:gd name="T2" fmla="*/ 160 w 1283"/>
                <a:gd name="T3" fmla="*/ 835 h 1282"/>
                <a:gd name="T4" fmla="*/ 674 w 1283"/>
                <a:gd name="T5" fmla="*/ 320 h 1282"/>
                <a:gd name="T6" fmla="*/ 448 w 1283"/>
                <a:gd name="T7" fmla="*/ 320 h 1282"/>
                <a:gd name="T8" fmla="*/ 160 w 1283"/>
                <a:gd name="T9" fmla="*/ 608 h 1282"/>
                <a:gd name="T10" fmla="*/ 160 w 1283"/>
                <a:gd name="T11" fmla="*/ 0 h 1282"/>
                <a:gd name="T12" fmla="*/ 0 w 1283"/>
                <a:gd name="T13" fmla="*/ 0 h 1282"/>
                <a:gd name="T14" fmla="*/ 0 w 1283"/>
                <a:gd name="T15" fmla="*/ 1282 h 1282"/>
                <a:gd name="T16" fmla="*/ 1283 w 1283"/>
                <a:gd name="T17" fmla="*/ 1282 h 1282"/>
                <a:gd name="T18" fmla="*/ 1283 w 1283"/>
                <a:gd name="T19" fmla="*/ 1122 h 1282"/>
                <a:gd name="T20" fmla="*/ 160 w 1283"/>
                <a:gd name="T21" fmla="*/ 1122 h 1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3" h="1282">
                  <a:moveTo>
                    <a:pt x="160" y="1122"/>
                  </a:moveTo>
                  <a:lnTo>
                    <a:pt x="160" y="835"/>
                  </a:lnTo>
                  <a:lnTo>
                    <a:pt x="674" y="320"/>
                  </a:lnTo>
                  <a:lnTo>
                    <a:pt x="448" y="320"/>
                  </a:lnTo>
                  <a:lnTo>
                    <a:pt x="160" y="608"/>
                  </a:lnTo>
                  <a:lnTo>
                    <a:pt x="160" y="0"/>
                  </a:lnTo>
                  <a:lnTo>
                    <a:pt x="0" y="0"/>
                  </a:lnTo>
                  <a:lnTo>
                    <a:pt x="0" y="1282"/>
                  </a:lnTo>
                  <a:lnTo>
                    <a:pt x="1283" y="1282"/>
                  </a:lnTo>
                  <a:lnTo>
                    <a:pt x="1283" y="1122"/>
                  </a:lnTo>
                  <a:lnTo>
                    <a:pt x="160" y="1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81" name="Group 380">
            <a:extLst>
              <a:ext uri="{FF2B5EF4-FFF2-40B4-BE49-F238E27FC236}">
                <a16:creationId xmlns:a16="http://schemas.microsoft.com/office/drawing/2014/main" id="{26F375D1-1A83-4465-A667-F91659524197}"/>
              </a:ext>
            </a:extLst>
          </p:cNvPr>
          <p:cNvGrpSpPr/>
          <p:nvPr/>
        </p:nvGrpSpPr>
        <p:grpSpPr>
          <a:xfrm>
            <a:off x="6592888" y="1431926"/>
            <a:ext cx="411163" cy="519112"/>
            <a:chOff x="6592888" y="1431926"/>
            <a:chExt cx="411163" cy="519112"/>
          </a:xfrm>
          <a:solidFill>
            <a:schemeClr val="accent1"/>
          </a:solidFill>
        </p:grpSpPr>
        <p:sp>
          <p:nvSpPr>
            <p:cNvPr id="202" name="Freeform 42">
              <a:extLst>
                <a:ext uri="{FF2B5EF4-FFF2-40B4-BE49-F238E27FC236}">
                  <a16:creationId xmlns:a16="http://schemas.microsoft.com/office/drawing/2014/main" id="{A24E0824-195A-42C7-90CE-E9542E091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7838" y="1617663"/>
              <a:ext cx="176213" cy="217488"/>
            </a:xfrm>
            <a:custGeom>
              <a:avLst/>
              <a:gdLst>
                <a:gd name="T0" fmla="*/ 378 w 492"/>
                <a:gd name="T1" fmla="*/ 0 h 605"/>
                <a:gd name="T2" fmla="*/ 0 w 492"/>
                <a:gd name="T3" fmla="*/ 378 h 605"/>
                <a:gd name="T4" fmla="*/ 0 w 492"/>
                <a:gd name="T5" fmla="*/ 605 h 605"/>
                <a:gd name="T6" fmla="*/ 492 w 492"/>
                <a:gd name="T7" fmla="*/ 113 h 605"/>
                <a:gd name="T8" fmla="*/ 378 w 492"/>
                <a:gd name="T9" fmla="*/ 0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2" h="605">
                  <a:moveTo>
                    <a:pt x="378" y="0"/>
                  </a:moveTo>
                  <a:lnTo>
                    <a:pt x="0" y="378"/>
                  </a:lnTo>
                  <a:lnTo>
                    <a:pt x="0" y="605"/>
                  </a:lnTo>
                  <a:lnTo>
                    <a:pt x="492" y="113"/>
                  </a:lnTo>
                  <a:lnTo>
                    <a:pt x="37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3" name="Freeform 43">
              <a:extLst>
                <a:ext uri="{FF2B5EF4-FFF2-40B4-BE49-F238E27FC236}">
                  <a16:creationId xmlns:a16="http://schemas.microsoft.com/office/drawing/2014/main" id="{59F3AAC9-2C7C-4675-A93A-24F1ECE25D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7838" y="1622426"/>
              <a:ext cx="131763" cy="212725"/>
            </a:xfrm>
            <a:custGeom>
              <a:avLst/>
              <a:gdLst>
                <a:gd name="T0" fmla="*/ 0 w 367"/>
                <a:gd name="T1" fmla="*/ 594 h 594"/>
                <a:gd name="T2" fmla="*/ 367 w 367"/>
                <a:gd name="T3" fmla="*/ 227 h 594"/>
                <a:gd name="T4" fmla="*/ 367 w 367"/>
                <a:gd name="T5" fmla="*/ 0 h 594"/>
                <a:gd name="T6" fmla="*/ 0 w 367"/>
                <a:gd name="T7" fmla="*/ 367 h 594"/>
                <a:gd name="T8" fmla="*/ 0 w 367"/>
                <a:gd name="T9" fmla="*/ 594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" h="594">
                  <a:moveTo>
                    <a:pt x="0" y="594"/>
                  </a:moveTo>
                  <a:lnTo>
                    <a:pt x="367" y="227"/>
                  </a:lnTo>
                  <a:lnTo>
                    <a:pt x="367" y="0"/>
                  </a:lnTo>
                  <a:lnTo>
                    <a:pt x="0" y="367"/>
                  </a:lnTo>
                  <a:lnTo>
                    <a:pt x="0" y="5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4" name="Freeform 44">
              <a:extLst>
                <a:ext uri="{FF2B5EF4-FFF2-40B4-BE49-F238E27FC236}">
                  <a16:creationId xmlns:a16="http://schemas.microsoft.com/office/drawing/2014/main" id="{00A4B669-9594-4956-95E5-72B5E34FB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7838" y="1622426"/>
              <a:ext cx="131763" cy="212725"/>
            </a:xfrm>
            <a:custGeom>
              <a:avLst/>
              <a:gdLst>
                <a:gd name="T0" fmla="*/ 0 w 367"/>
                <a:gd name="T1" fmla="*/ 594 h 594"/>
                <a:gd name="T2" fmla="*/ 0 w 367"/>
                <a:gd name="T3" fmla="*/ 594 h 594"/>
                <a:gd name="T4" fmla="*/ 367 w 367"/>
                <a:gd name="T5" fmla="*/ 227 h 594"/>
                <a:gd name="T6" fmla="*/ 367 w 367"/>
                <a:gd name="T7" fmla="*/ 0 h 594"/>
                <a:gd name="T8" fmla="*/ 0 w 367"/>
                <a:gd name="T9" fmla="*/ 367 h 594"/>
                <a:gd name="T10" fmla="*/ 0 w 367"/>
                <a:gd name="T11" fmla="*/ 594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7" h="594">
                  <a:moveTo>
                    <a:pt x="0" y="594"/>
                  </a:moveTo>
                  <a:lnTo>
                    <a:pt x="0" y="594"/>
                  </a:lnTo>
                  <a:lnTo>
                    <a:pt x="367" y="227"/>
                  </a:lnTo>
                  <a:lnTo>
                    <a:pt x="367" y="0"/>
                  </a:lnTo>
                  <a:lnTo>
                    <a:pt x="0" y="367"/>
                  </a:lnTo>
                  <a:lnTo>
                    <a:pt x="0" y="5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5" name="Freeform 45">
              <a:extLst>
                <a:ext uri="{FF2B5EF4-FFF2-40B4-BE49-F238E27FC236}">
                  <a16:creationId xmlns:a16="http://schemas.microsoft.com/office/drawing/2014/main" id="{B22A9297-9C43-4020-B995-E3CBCCEC4A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2888" y="1431926"/>
              <a:ext cx="234950" cy="403225"/>
            </a:xfrm>
            <a:custGeom>
              <a:avLst/>
              <a:gdLst>
                <a:gd name="T0" fmla="*/ 492 w 652"/>
                <a:gd name="T1" fmla="*/ 1123 h 1123"/>
                <a:gd name="T2" fmla="*/ 492 w 652"/>
                <a:gd name="T3" fmla="*/ 1123 h 1123"/>
                <a:gd name="T4" fmla="*/ 652 w 652"/>
                <a:gd name="T5" fmla="*/ 1123 h 1123"/>
                <a:gd name="T6" fmla="*/ 652 w 652"/>
                <a:gd name="T7" fmla="*/ 0 h 1123"/>
                <a:gd name="T8" fmla="*/ 492 w 652"/>
                <a:gd name="T9" fmla="*/ 0 h 1123"/>
                <a:gd name="T10" fmla="*/ 492 w 652"/>
                <a:gd name="T11" fmla="*/ 896 h 1123"/>
                <a:gd name="T12" fmla="*/ 113 w 652"/>
                <a:gd name="T13" fmla="*/ 518 h 1123"/>
                <a:gd name="T14" fmla="*/ 0 w 652"/>
                <a:gd name="T15" fmla="*/ 631 h 1123"/>
                <a:gd name="T16" fmla="*/ 492 w 652"/>
                <a:gd name="T17" fmla="*/ 1123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2" h="1123">
                  <a:moveTo>
                    <a:pt x="492" y="1123"/>
                  </a:moveTo>
                  <a:lnTo>
                    <a:pt x="492" y="1123"/>
                  </a:lnTo>
                  <a:lnTo>
                    <a:pt x="652" y="1123"/>
                  </a:lnTo>
                  <a:lnTo>
                    <a:pt x="652" y="0"/>
                  </a:lnTo>
                  <a:lnTo>
                    <a:pt x="492" y="0"/>
                  </a:lnTo>
                  <a:lnTo>
                    <a:pt x="492" y="896"/>
                  </a:lnTo>
                  <a:lnTo>
                    <a:pt x="113" y="518"/>
                  </a:lnTo>
                  <a:lnTo>
                    <a:pt x="0" y="631"/>
                  </a:lnTo>
                  <a:lnTo>
                    <a:pt x="492" y="1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6" name="Rectangle 46">
              <a:extLst>
                <a:ext uri="{FF2B5EF4-FFF2-40B4-BE49-F238E27FC236}">
                  <a16:creationId xmlns:a16="http://schemas.microsoft.com/office/drawing/2014/main" id="{1BEF825D-B69E-4A69-B32E-4F2641000C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96063" y="1893888"/>
              <a:ext cx="404813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80" name="Group 379">
            <a:extLst>
              <a:ext uri="{FF2B5EF4-FFF2-40B4-BE49-F238E27FC236}">
                <a16:creationId xmlns:a16="http://schemas.microsoft.com/office/drawing/2014/main" id="{7FECB689-1597-4A7C-AC05-3D612457A523}"/>
              </a:ext>
            </a:extLst>
          </p:cNvPr>
          <p:cNvGrpSpPr/>
          <p:nvPr/>
        </p:nvGrpSpPr>
        <p:grpSpPr>
          <a:xfrm>
            <a:off x="7329488" y="1489076"/>
            <a:ext cx="461963" cy="404813"/>
            <a:chOff x="7329488" y="1489076"/>
            <a:chExt cx="461963" cy="404813"/>
          </a:xfrm>
          <a:solidFill>
            <a:schemeClr val="accent1"/>
          </a:solidFill>
        </p:grpSpPr>
        <p:sp>
          <p:nvSpPr>
            <p:cNvPr id="207" name="Rectangle 47">
              <a:extLst>
                <a:ext uri="{FF2B5EF4-FFF2-40B4-BE49-F238E27FC236}">
                  <a16:creationId xmlns:a16="http://schemas.microsoft.com/office/drawing/2014/main" id="{B5B778DD-3B4B-4011-854A-A2411DEF18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9488" y="1489076"/>
              <a:ext cx="461963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8" name="Freeform 48">
              <a:extLst>
                <a:ext uri="{FF2B5EF4-FFF2-40B4-BE49-F238E27FC236}">
                  <a16:creationId xmlns:a16="http://schemas.microsoft.com/office/drawing/2014/main" id="{0B759726-A826-4458-B0EB-6C10F00A2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9488" y="1662113"/>
              <a:ext cx="0" cy="58738"/>
            </a:xfrm>
            <a:custGeom>
              <a:avLst/>
              <a:gdLst>
                <a:gd name="T0" fmla="*/ 0 h 160"/>
                <a:gd name="T1" fmla="*/ 160 h 160"/>
                <a:gd name="T2" fmla="*/ 0 h 16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60">
                  <a:moveTo>
                    <a:pt x="0" y="0"/>
                  </a:moveTo>
                  <a:lnTo>
                    <a:pt x="0" y="16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9" name="Rectangle 49">
              <a:extLst>
                <a:ext uri="{FF2B5EF4-FFF2-40B4-BE49-F238E27FC236}">
                  <a16:creationId xmlns:a16="http://schemas.microsoft.com/office/drawing/2014/main" id="{20B169C1-613F-407B-8761-F724838A22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9488" y="1835151"/>
              <a:ext cx="461963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10" name="Rectangle 50">
              <a:extLst>
                <a:ext uri="{FF2B5EF4-FFF2-40B4-BE49-F238E27FC236}">
                  <a16:creationId xmlns:a16="http://schemas.microsoft.com/office/drawing/2014/main" id="{FEEA05E4-1883-4AB0-95D8-969E4C010A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02526" y="1662113"/>
              <a:ext cx="288925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11" name="Rectangle 51">
              <a:extLst>
                <a:ext uri="{FF2B5EF4-FFF2-40B4-BE49-F238E27FC236}">
                  <a16:creationId xmlns:a16="http://schemas.microsoft.com/office/drawing/2014/main" id="{CAC19AC9-F026-433E-9AC7-A3C5B39A1F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9488" y="1662113"/>
              <a:ext cx="173038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78" name="Group 377">
            <a:extLst>
              <a:ext uri="{FF2B5EF4-FFF2-40B4-BE49-F238E27FC236}">
                <a16:creationId xmlns:a16="http://schemas.microsoft.com/office/drawing/2014/main" id="{F8B18AB5-6043-4C7D-A678-6508D5F5B031}"/>
              </a:ext>
            </a:extLst>
          </p:cNvPr>
          <p:cNvGrpSpPr/>
          <p:nvPr/>
        </p:nvGrpSpPr>
        <p:grpSpPr>
          <a:xfrm>
            <a:off x="8855076" y="1485901"/>
            <a:ext cx="461963" cy="411163"/>
            <a:chOff x="8855076" y="1485901"/>
            <a:chExt cx="461963" cy="411163"/>
          </a:xfrm>
          <a:solidFill>
            <a:schemeClr val="accent1"/>
          </a:solidFill>
        </p:grpSpPr>
        <p:sp>
          <p:nvSpPr>
            <p:cNvPr id="212" name="Freeform 52">
              <a:extLst>
                <a:ext uri="{FF2B5EF4-FFF2-40B4-BE49-F238E27FC236}">
                  <a16:creationId xmlns:a16="http://schemas.microsoft.com/office/drawing/2014/main" id="{463C66BE-7BC6-41F0-AE9E-86D1D584FB0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7963" y="1720851"/>
              <a:ext cx="219075" cy="176213"/>
            </a:xfrm>
            <a:custGeom>
              <a:avLst/>
              <a:gdLst>
                <a:gd name="T0" fmla="*/ 384 w 605"/>
                <a:gd name="T1" fmla="*/ 0 h 492"/>
                <a:gd name="T2" fmla="*/ 0 w 605"/>
                <a:gd name="T3" fmla="*/ 379 h 492"/>
                <a:gd name="T4" fmla="*/ 113 w 605"/>
                <a:gd name="T5" fmla="*/ 492 h 492"/>
                <a:gd name="T6" fmla="*/ 605 w 605"/>
                <a:gd name="T7" fmla="*/ 0 h 492"/>
                <a:gd name="T8" fmla="*/ 384 w 605"/>
                <a:gd name="T9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5" h="492">
                  <a:moveTo>
                    <a:pt x="384" y="0"/>
                  </a:moveTo>
                  <a:lnTo>
                    <a:pt x="0" y="379"/>
                  </a:lnTo>
                  <a:lnTo>
                    <a:pt x="113" y="492"/>
                  </a:lnTo>
                  <a:lnTo>
                    <a:pt x="605" y="0"/>
                  </a:lnTo>
                  <a:lnTo>
                    <a:pt x="38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13" name="Freeform 53">
              <a:extLst>
                <a:ext uri="{FF2B5EF4-FFF2-40B4-BE49-F238E27FC236}">
                  <a16:creationId xmlns:a16="http://schemas.microsoft.com/office/drawing/2014/main" id="{A4FE1E1E-3908-401D-9A29-0802A8279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2726" y="1720851"/>
              <a:ext cx="214313" cy="131763"/>
            </a:xfrm>
            <a:custGeom>
              <a:avLst/>
              <a:gdLst>
                <a:gd name="T0" fmla="*/ 0 w 593"/>
                <a:gd name="T1" fmla="*/ 367 h 367"/>
                <a:gd name="T2" fmla="*/ 226 w 593"/>
                <a:gd name="T3" fmla="*/ 367 h 367"/>
                <a:gd name="T4" fmla="*/ 593 w 593"/>
                <a:gd name="T5" fmla="*/ 0 h 367"/>
                <a:gd name="T6" fmla="*/ 372 w 593"/>
                <a:gd name="T7" fmla="*/ 0 h 367"/>
                <a:gd name="T8" fmla="*/ 0 w 593"/>
                <a:gd name="T9" fmla="*/ 3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3" h="367">
                  <a:moveTo>
                    <a:pt x="0" y="367"/>
                  </a:moveTo>
                  <a:lnTo>
                    <a:pt x="226" y="367"/>
                  </a:lnTo>
                  <a:lnTo>
                    <a:pt x="593" y="0"/>
                  </a:lnTo>
                  <a:lnTo>
                    <a:pt x="372" y="0"/>
                  </a:lnTo>
                  <a:lnTo>
                    <a:pt x="0" y="3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14" name="Freeform 54">
              <a:extLst>
                <a:ext uri="{FF2B5EF4-FFF2-40B4-BE49-F238E27FC236}">
                  <a16:creationId xmlns:a16="http://schemas.microsoft.com/office/drawing/2014/main" id="{35AF409C-80D6-4EAF-A391-FA3A6BEEB6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5076" y="1485901"/>
              <a:ext cx="461963" cy="234950"/>
            </a:xfrm>
            <a:custGeom>
              <a:avLst/>
              <a:gdLst>
                <a:gd name="T0" fmla="*/ 1283 w 1283"/>
                <a:gd name="T1" fmla="*/ 652 h 652"/>
                <a:gd name="T2" fmla="*/ 1283 w 1283"/>
                <a:gd name="T3" fmla="*/ 492 h 652"/>
                <a:gd name="T4" fmla="*/ 791 w 1283"/>
                <a:gd name="T5" fmla="*/ 0 h 652"/>
                <a:gd name="T6" fmla="*/ 678 w 1283"/>
                <a:gd name="T7" fmla="*/ 114 h 652"/>
                <a:gd name="T8" fmla="*/ 1062 w 1283"/>
                <a:gd name="T9" fmla="*/ 492 h 652"/>
                <a:gd name="T10" fmla="*/ 0 w 1283"/>
                <a:gd name="T11" fmla="*/ 492 h 652"/>
                <a:gd name="T12" fmla="*/ 0 w 1283"/>
                <a:gd name="T13" fmla="*/ 652 h 652"/>
                <a:gd name="T14" fmla="*/ 1283 w 1283"/>
                <a:gd name="T15" fmla="*/ 65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3" h="652">
                  <a:moveTo>
                    <a:pt x="1283" y="652"/>
                  </a:moveTo>
                  <a:lnTo>
                    <a:pt x="1283" y="492"/>
                  </a:lnTo>
                  <a:lnTo>
                    <a:pt x="791" y="0"/>
                  </a:lnTo>
                  <a:lnTo>
                    <a:pt x="678" y="114"/>
                  </a:lnTo>
                  <a:lnTo>
                    <a:pt x="1062" y="492"/>
                  </a:lnTo>
                  <a:lnTo>
                    <a:pt x="0" y="492"/>
                  </a:lnTo>
                  <a:lnTo>
                    <a:pt x="0" y="652"/>
                  </a:lnTo>
                  <a:lnTo>
                    <a:pt x="1283" y="6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215" name="Freeform 55">
            <a:extLst>
              <a:ext uri="{FF2B5EF4-FFF2-40B4-BE49-F238E27FC236}">
                <a16:creationId xmlns:a16="http://schemas.microsoft.com/office/drawing/2014/main" id="{2AAE48C7-1161-4FBC-AD29-872FCAF13DC7}"/>
              </a:ext>
            </a:extLst>
          </p:cNvPr>
          <p:cNvSpPr>
            <a:spLocks noEditPoints="1"/>
          </p:cNvSpPr>
          <p:nvPr/>
        </p:nvSpPr>
        <p:spPr bwMode="auto">
          <a:xfrm>
            <a:off x="9678988" y="6081713"/>
            <a:ext cx="369888" cy="107950"/>
          </a:xfrm>
          <a:custGeom>
            <a:avLst/>
            <a:gdLst>
              <a:gd name="T0" fmla="*/ 167 w 1026"/>
              <a:gd name="T1" fmla="*/ 135 h 298"/>
              <a:gd name="T2" fmla="*/ 84 w 1026"/>
              <a:gd name="T3" fmla="*/ 235 h 298"/>
              <a:gd name="T4" fmla="*/ 0 w 1026"/>
              <a:gd name="T5" fmla="*/ 135 h 298"/>
              <a:gd name="T6" fmla="*/ 29 w 1026"/>
              <a:gd name="T7" fmla="*/ 135 h 298"/>
              <a:gd name="T8" fmla="*/ 82 w 1026"/>
              <a:gd name="T9" fmla="*/ 208 h 298"/>
              <a:gd name="T10" fmla="*/ 139 w 1026"/>
              <a:gd name="T11" fmla="*/ 4 h 298"/>
              <a:gd name="T12" fmla="*/ 239 w 1026"/>
              <a:gd name="T13" fmla="*/ 184 h 298"/>
              <a:gd name="T14" fmla="*/ 321 w 1026"/>
              <a:gd name="T15" fmla="*/ 203 h 298"/>
              <a:gd name="T16" fmla="*/ 340 w 1026"/>
              <a:gd name="T17" fmla="*/ 151 h 298"/>
              <a:gd name="T18" fmla="*/ 242 w 1026"/>
              <a:gd name="T19" fmla="*/ 112 h 298"/>
              <a:gd name="T20" fmla="*/ 221 w 1026"/>
              <a:gd name="T21" fmla="*/ 31 h 298"/>
              <a:gd name="T22" fmla="*/ 328 w 1026"/>
              <a:gd name="T23" fmla="*/ 8 h 298"/>
              <a:gd name="T24" fmla="*/ 339 w 1026"/>
              <a:gd name="T25" fmla="*/ 70 h 298"/>
              <a:gd name="T26" fmla="*/ 251 w 1026"/>
              <a:gd name="T27" fmla="*/ 37 h 298"/>
              <a:gd name="T28" fmla="*/ 290 w 1026"/>
              <a:gd name="T29" fmla="*/ 97 h 298"/>
              <a:gd name="T30" fmla="*/ 373 w 1026"/>
              <a:gd name="T31" fmla="*/ 167 h 298"/>
              <a:gd name="T32" fmla="*/ 294 w 1026"/>
              <a:gd name="T33" fmla="*/ 235 h 298"/>
              <a:gd name="T34" fmla="*/ 204 w 1026"/>
              <a:gd name="T35" fmla="*/ 158 h 298"/>
              <a:gd name="T36" fmla="*/ 637 w 1026"/>
              <a:gd name="T37" fmla="*/ 4 h 298"/>
              <a:gd name="T38" fmla="*/ 523 w 1026"/>
              <a:gd name="T39" fmla="*/ 101 h 298"/>
              <a:gd name="T40" fmla="*/ 523 w 1026"/>
              <a:gd name="T41" fmla="*/ 128 h 298"/>
              <a:gd name="T42" fmla="*/ 670 w 1026"/>
              <a:gd name="T43" fmla="*/ 231 h 298"/>
              <a:gd name="T44" fmla="*/ 696 w 1026"/>
              <a:gd name="T45" fmla="*/ 231 h 298"/>
              <a:gd name="T46" fmla="*/ 808 w 1026"/>
              <a:gd name="T47" fmla="*/ 229 h 298"/>
              <a:gd name="T48" fmla="*/ 727 w 1026"/>
              <a:gd name="T49" fmla="*/ 188 h 298"/>
              <a:gd name="T50" fmla="*/ 765 w 1026"/>
              <a:gd name="T51" fmla="*/ 141 h 298"/>
              <a:gd name="T52" fmla="*/ 834 w 1026"/>
              <a:gd name="T53" fmla="*/ 120 h 298"/>
              <a:gd name="T54" fmla="*/ 770 w 1026"/>
              <a:gd name="T55" fmla="*/ 93 h 298"/>
              <a:gd name="T56" fmla="*/ 743 w 1026"/>
              <a:gd name="T57" fmla="*/ 85 h 298"/>
              <a:gd name="T58" fmla="*/ 833 w 1026"/>
              <a:gd name="T59" fmla="*/ 68 h 298"/>
              <a:gd name="T60" fmla="*/ 861 w 1026"/>
              <a:gd name="T61" fmla="*/ 125 h 298"/>
              <a:gd name="T62" fmla="*/ 869 w 1026"/>
              <a:gd name="T63" fmla="*/ 231 h 298"/>
              <a:gd name="T64" fmla="*/ 834 w 1026"/>
              <a:gd name="T65" fmla="*/ 149 h 298"/>
              <a:gd name="T66" fmla="*/ 759 w 1026"/>
              <a:gd name="T67" fmla="*/ 174 h 298"/>
              <a:gd name="T68" fmla="*/ 786 w 1026"/>
              <a:gd name="T69" fmla="*/ 213 h 298"/>
              <a:gd name="T70" fmla="*/ 834 w 1026"/>
              <a:gd name="T71" fmla="*/ 159 h 298"/>
              <a:gd name="T72" fmla="*/ 921 w 1026"/>
              <a:gd name="T73" fmla="*/ 249 h 298"/>
              <a:gd name="T74" fmla="*/ 984 w 1026"/>
              <a:gd name="T75" fmla="*/ 267 h 298"/>
              <a:gd name="T76" fmla="*/ 957 w 1026"/>
              <a:gd name="T77" fmla="*/ 231 h 298"/>
              <a:gd name="T78" fmla="*/ 898 w 1026"/>
              <a:gd name="T79" fmla="*/ 105 h 298"/>
              <a:gd name="T80" fmla="*/ 1002 w 1026"/>
              <a:gd name="T81" fmla="*/ 87 h 298"/>
              <a:gd name="T82" fmla="*/ 1026 w 1026"/>
              <a:gd name="T83" fmla="*/ 209 h 298"/>
              <a:gd name="T84" fmla="*/ 956 w 1026"/>
              <a:gd name="T85" fmla="*/ 298 h 298"/>
              <a:gd name="T86" fmla="*/ 917 w 1026"/>
              <a:gd name="T87" fmla="*/ 146 h 298"/>
              <a:gd name="T88" fmla="*/ 989 w 1026"/>
              <a:gd name="T89" fmla="*/ 193 h 298"/>
              <a:gd name="T90" fmla="*/ 959 w 1026"/>
              <a:gd name="T91" fmla="*/ 86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26" h="298">
                <a:moveTo>
                  <a:pt x="139" y="4"/>
                </a:moveTo>
                <a:lnTo>
                  <a:pt x="167" y="4"/>
                </a:lnTo>
                <a:lnTo>
                  <a:pt x="167" y="135"/>
                </a:lnTo>
                <a:cubicBezTo>
                  <a:pt x="167" y="158"/>
                  <a:pt x="164" y="176"/>
                  <a:pt x="159" y="190"/>
                </a:cubicBezTo>
                <a:cubicBezTo>
                  <a:pt x="155" y="203"/>
                  <a:pt x="146" y="214"/>
                  <a:pt x="133" y="222"/>
                </a:cubicBezTo>
                <a:cubicBezTo>
                  <a:pt x="121" y="231"/>
                  <a:pt x="104" y="235"/>
                  <a:pt x="84" y="235"/>
                </a:cubicBezTo>
                <a:cubicBezTo>
                  <a:pt x="64" y="235"/>
                  <a:pt x="48" y="231"/>
                  <a:pt x="35" y="224"/>
                </a:cubicBezTo>
                <a:cubicBezTo>
                  <a:pt x="23" y="217"/>
                  <a:pt x="14" y="206"/>
                  <a:pt x="8" y="192"/>
                </a:cubicBezTo>
                <a:cubicBezTo>
                  <a:pt x="3" y="178"/>
                  <a:pt x="0" y="159"/>
                  <a:pt x="0" y="135"/>
                </a:cubicBezTo>
                <a:lnTo>
                  <a:pt x="0" y="4"/>
                </a:lnTo>
                <a:lnTo>
                  <a:pt x="29" y="4"/>
                </a:lnTo>
                <a:lnTo>
                  <a:pt x="29" y="135"/>
                </a:lnTo>
                <a:cubicBezTo>
                  <a:pt x="29" y="155"/>
                  <a:pt x="30" y="170"/>
                  <a:pt x="34" y="179"/>
                </a:cubicBezTo>
                <a:cubicBezTo>
                  <a:pt x="37" y="188"/>
                  <a:pt x="43" y="195"/>
                  <a:pt x="51" y="200"/>
                </a:cubicBezTo>
                <a:cubicBezTo>
                  <a:pt x="59" y="206"/>
                  <a:pt x="70" y="208"/>
                  <a:pt x="82" y="208"/>
                </a:cubicBezTo>
                <a:cubicBezTo>
                  <a:pt x="102" y="208"/>
                  <a:pt x="117" y="203"/>
                  <a:pt x="125" y="193"/>
                </a:cubicBezTo>
                <a:cubicBezTo>
                  <a:pt x="134" y="183"/>
                  <a:pt x="139" y="164"/>
                  <a:pt x="139" y="135"/>
                </a:cubicBezTo>
                <a:lnTo>
                  <a:pt x="139" y="4"/>
                </a:lnTo>
                <a:close/>
                <a:moveTo>
                  <a:pt x="204" y="158"/>
                </a:moveTo>
                <a:lnTo>
                  <a:pt x="231" y="156"/>
                </a:lnTo>
                <a:cubicBezTo>
                  <a:pt x="232" y="167"/>
                  <a:pt x="235" y="177"/>
                  <a:pt x="239" y="184"/>
                </a:cubicBezTo>
                <a:cubicBezTo>
                  <a:pt x="244" y="191"/>
                  <a:pt x="251" y="197"/>
                  <a:pt x="261" y="202"/>
                </a:cubicBezTo>
                <a:cubicBezTo>
                  <a:pt x="270" y="206"/>
                  <a:pt x="281" y="208"/>
                  <a:pt x="293" y="208"/>
                </a:cubicBezTo>
                <a:cubicBezTo>
                  <a:pt x="304" y="208"/>
                  <a:pt x="313" y="207"/>
                  <a:pt x="321" y="203"/>
                </a:cubicBezTo>
                <a:cubicBezTo>
                  <a:pt x="330" y="200"/>
                  <a:pt x="336" y="195"/>
                  <a:pt x="340" y="189"/>
                </a:cubicBezTo>
                <a:cubicBezTo>
                  <a:pt x="344" y="183"/>
                  <a:pt x="346" y="177"/>
                  <a:pt x="346" y="170"/>
                </a:cubicBezTo>
                <a:cubicBezTo>
                  <a:pt x="346" y="163"/>
                  <a:pt x="344" y="156"/>
                  <a:pt x="340" y="151"/>
                </a:cubicBezTo>
                <a:cubicBezTo>
                  <a:pt x="336" y="146"/>
                  <a:pt x="330" y="141"/>
                  <a:pt x="321" y="138"/>
                </a:cubicBezTo>
                <a:cubicBezTo>
                  <a:pt x="315" y="135"/>
                  <a:pt x="303" y="132"/>
                  <a:pt x="283" y="127"/>
                </a:cubicBezTo>
                <a:cubicBezTo>
                  <a:pt x="264" y="122"/>
                  <a:pt x="250" y="117"/>
                  <a:pt x="242" y="112"/>
                </a:cubicBezTo>
                <a:cubicBezTo>
                  <a:pt x="232" y="107"/>
                  <a:pt x="225" y="100"/>
                  <a:pt x="220" y="91"/>
                </a:cubicBezTo>
                <a:cubicBezTo>
                  <a:pt x="215" y="83"/>
                  <a:pt x="212" y="73"/>
                  <a:pt x="212" y="63"/>
                </a:cubicBezTo>
                <a:cubicBezTo>
                  <a:pt x="212" y="51"/>
                  <a:pt x="215" y="41"/>
                  <a:pt x="221" y="31"/>
                </a:cubicBezTo>
                <a:cubicBezTo>
                  <a:pt x="227" y="21"/>
                  <a:pt x="236" y="13"/>
                  <a:pt x="248" y="8"/>
                </a:cubicBezTo>
                <a:cubicBezTo>
                  <a:pt x="260" y="3"/>
                  <a:pt x="273" y="0"/>
                  <a:pt x="287" y="0"/>
                </a:cubicBezTo>
                <a:cubicBezTo>
                  <a:pt x="302" y="0"/>
                  <a:pt x="316" y="3"/>
                  <a:pt x="328" y="8"/>
                </a:cubicBezTo>
                <a:cubicBezTo>
                  <a:pt x="340" y="14"/>
                  <a:pt x="350" y="22"/>
                  <a:pt x="356" y="32"/>
                </a:cubicBezTo>
                <a:cubicBezTo>
                  <a:pt x="362" y="43"/>
                  <a:pt x="366" y="55"/>
                  <a:pt x="366" y="68"/>
                </a:cubicBezTo>
                <a:lnTo>
                  <a:pt x="339" y="70"/>
                </a:lnTo>
                <a:cubicBezTo>
                  <a:pt x="338" y="56"/>
                  <a:pt x="333" y="45"/>
                  <a:pt x="325" y="38"/>
                </a:cubicBezTo>
                <a:cubicBezTo>
                  <a:pt x="316" y="30"/>
                  <a:pt x="304" y="27"/>
                  <a:pt x="288" y="27"/>
                </a:cubicBezTo>
                <a:cubicBezTo>
                  <a:pt x="271" y="27"/>
                  <a:pt x="259" y="30"/>
                  <a:pt x="251" y="37"/>
                </a:cubicBezTo>
                <a:cubicBezTo>
                  <a:pt x="243" y="43"/>
                  <a:pt x="239" y="52"/>
                  <a:pt x="239" y="61"/>
                </a:cubicBezTo>
                <a:cubicBezTo>
                  <a:pt x="239" y="69"/>
                  <a:pt x="242" y="76"/>
                  <a:pt x="247" y="81"/>
                </a:cubicBezTo>
                <a:cubicBezTo>
                  <a:pt x="253" y="86"/>
                  <a:pt x="267" y="92"/>
                  <a:pt x="290" y="97"/>
                </a:cubicBezTo>
                <a:cubicBezTo>
                  <a:pt x="312" y="103"/>
                  <a:pt x="328" y="108"/>
                  <a:pt x="337" y="112"/>
                </a:cubicBezTo>
                <a:cubicBezTo>
                  <a:pt x="349" y="118"/>
                  <a:pt x="358" y="126"/>
                  <a:pt x="364" y="135"/>
                </a:cubicBezTo>
                <a:cubicBezTo>
                  <a:pt x="370" y="144"/>
                  <a:pt x="373" y="155"/>
                  <a:pt x="373" y="167"/>
                </a:cubicBezTo>
                <a:cubicBezTo>
                  <a:pt x="373" y="179"/>
                  <a:pt x="369" y="191"/>
                  <a:pt x="363" y="201"/>
                </a:cubicBezTo>
                <a:cubicBezTo>
                  <a:pt x="356" y="212"/>
                  <a:pt x="347" y="220"/>
                  <a:pt x="335" y="226"/>
                </a:cubicBezTo>
                <a:cubicBezTo>
                  <a:pt x="323" y="232"/>
                  <a:pt x="310" y="235"/>
                  <a:pt x="294" y="235"/>
                </a:cubicBezTo>
                <a:cubicBezTo>
                  <a:pt x="275" y="235"/>
                  <a:pt x="259" y="232"/>
                  <a:pt x="246" y="226"/>
                </a:cubicBezTo>
                <a:cubicBezTo>
                  <a:pt x="233" y="220"/>
                  <a:pt x="223" y="211"/>
                  <a:pt x="216" y="199"/>
                </a:cubicBezTo>
                <a:cubicBezTo>
                  <a:pt x="209" y="187"/>
                  <a:pt x="205" y="173"/>
                  <a:pt x="204" y="158"/>
                </a:cubicBezTo>
                <a:close/>
                <a:moveTo>
                  <a:pt x="494" y="231"/>
                </a:moveTo>
                <a:lnTo>
                  <a:pt x="494" y="4"/>
                </a:lnTo>
                <a:lnTo>
                  <a:pt x="637" y="4"/>
                </a:lnTo>
                <a:lnTo>
                  <a:pt x="637" y="31"/>
                </a:lnTo>
                <a:lnTo>
                  <a:pt x="523" y="31"/>
                </a:lnTo>
                <a:lnTo>
                  <a:pt x="523" y="101"/>
                </a:lnTo>
                <a:lnTo>
                  <a:pt x="622" y="101"/>
                </a:lnTo>
                <a:lnTo>
                  <a:pt x="622" y="128"/>
                </a:lnTo>
                <a:lnTo>
                  <a:pt x="523" y="128"/>
                </a:lnTo>
                <a:lnTo>
                  <a:pt x="523" y="231"/>
                </a:lnTo>
                <a:lnTo>
                  <a:pt x="494" y="231"/>
                </a:lnTo>
                <a:close/>
                <a:moveTo>
                  <a:pt x="670" y="231"/>
                </a:moveTo>
                <a:lnTo>
                  <a:pt x="670" y="4"/>
                </a:lnTo>
                <a:lnTo>
                  <a:pt x="696" y="4"/>
                </a:lnTo>
                <a:lnTo>
                  <a:pt x="696" y="231"/>
                </a:lnTo>
                <a:lnTo>
                  <a:pt x="670" y="231"/>
                </a:lnTo>
                <a:close/>
                <a:moveTo>
                  <a:pt x="836" y="211"/>
                </a:moveTo>
                <a:cubicBezTo>
                  <a:pt x="827" y="219"/>
                  <a:pt x="817" y="226"/>
                  <a:pt x="808" y="229"/>
                </a:cubicBezTo>
                <a:cubicBezTo>
                  <a:pt x="800" y="233"/>
                  <a:pt x="790" y="235"/>
                  <a:pt x="780" y="235"/>
                </a:cubicBezTo>
                <a:cubicBezTo>
                  <a:pt x="763" y="235"/>
                  <a:pt x="750" y="230"/>
                  <a:pt x="741" y="222"/>
                </a:cubicBezTo>
                <a:cubicBezTo>
                  <a:pt x="732" y="213"/>
                  <a:pt x="727" y="202"/>
                  <a:pt x="727" y="188"/>
                </a:cubicBezTo>
                <a:cubicBezTo>
                  <a:pt x="727" y="180"/>
                  <a:pt x="729" y="172"/>
                  <a:pt x="732" y="166"/>
                </a:cubicBezTo>
                <a:cubicBezTo>
                  <a:pt x="736" y="159"/>
                  <a:pt x="740" y="154"/>
                  <a:pt x="746" y="150"/>
                </a:cubicBezTo>
                <a:cubicBezTo>
                  <a:pt x="751" y="146"/>
                  <a:pt x="758" y="143"/>
                  <a:pt x="765" y="141"/>
                </a:cubicBezTo>
                <a:cubicBezTo>
                  <a:pt x="770" y="139"/>
                  <a:pt x="777" y="138"/>
                  <a:pt x="788" y="136"/>
                </a:cubicBezTo>
                <a:cubicBezTo>
                  <a:pt x="809" y="134"/>
                  <a:pt x="824" y="131"/>
                  <a:pt x="834" y="127"/>
                </a:cubicBezTo>
                <a:cubicBezTo>
                  <a:pt x="834" y="123"/>
                  <a:pt x="834" y="121"/>
                  <a:pt x="834" y="120"/>
                </a:cubicBezTo>
                <a:cubicBezTo>
                  <a:pt x="834" y="108"/>
                  <a:pt x="832" y="100"/>
                  <a:pt x="827" y="96"/>
                </a:cubicBezTo>
                <a:cubicBezTo>
                  <a:pt x="820" y="89"/>
                  <a:pt x="810" y="86"/>
                  <a:pt x="797" y="86"/>
                </a:cubicBezTo>
                <a:cubicBezTo>
                  <a:pt x="785" y="86"/>
                  <a:pt x="776" y="89"/>
                  <a:pt x="770" y="93"/>
                </a:cubicBezTo>
                <a:cubicBezTo>
                  <a:pt x="764" y="98"/>
                  <a:pt x="760" y="106"/>
                  <a:pt x="757" y="118"/>
                </a:cubicBezTo>
                <a:lnTo>
                  <a:pt x="732" y="114"/>
                </a:lnTo>
                <a:cubicBezTo>
                  <a:pt x="734" y="102"/>
                  <a:pt x="738" y="93"/>
                  <a:pt x="743" y="85"/>
                </a:cubicBezTo>
                <a:cubicBezTo>
                  <a:pt x="748" y="78"/>
                  <a:pt x="756" y="73"/>
                  <a:pt x="766" y="69"/>
                </a:cubicBezTo>
                <a:cubicBezTo>
                  <a:pt x="776" y="65"/>
                  <a:pt x="788" y="63"/>
                  <a:pt x="801" y="63"/>
                </a:cubicBezTo>
                <a:cubicBezTo>
                  <a:pt x="814" y="63"/>
                  <a:pt x="825" y="65"/>
                  <a:pt x="833" y="68"/>
                </a:cubicBezTo>
                <a:cubicBezTo>
                  <a:pt x="841" y="71"/>
                  <a:pt x="847" y="75"/>
                  <a:pt x="851" y="80"/>
                </a:cubicBezTo>
                <a:cubicBezTo>
                  <a:pt x="855" y="86"/>
                  <a:pt x="858" y="92"/>
                  <a:pt x="859" y="100"/>
                </a:cubicBezTo>
                <a:cubicBezTo>
                  <a:pt x="860" y="104"/>
                  <a:pt x="861" y="113"/>
                  <a:pt x="861" y="125"/>
                </a:cubicBezTo>
                <a:lnTo>
                  <a:pt x="861" y="162"/>
                </a:lnTo>
                <a:cubicBezTo>
                  <a:pt x="861" y="188"/>
                  <a:pt x="861" y="204"/>
                  <a:pt x="862" y="211"/>
                </a:cubicBezTo>
                <a:cubicBezTo>
                  <a:pt x="863" y="218"/>
                  <a:pt x="865" y="225"/>
                  <a:pt x="869" y="231"/>
                </a:cubicBezTo>
                <a:lnTo>
                  <a:pt x="841" y="231"/>
                </a:lnTo>
                <a:cubicBezTo>
                  <a:pt x="839" y="225"/>
                  <a:pt x="837" y="219"/>
                  <a:pt x="836" y="211"/>
                </a:cubicBezTo>
                <a:close/>
                <a:moveTo>
                  <a:pt x="834" y="149"/>
                </a:moveTo>
                <a:cubicBezTo>
                  <a:pt x="825" y="153"/>
                  <a:pt x="811" y="156"/>
                  <a:pt x="792" y="159"/>
                </a:cubicBezTo>
                <a:cubicBezTo>
                  <a:pt x="781" y="161"/>
                  <a:pt x="773" y="163"/>
                  <a:pt x="769" y="165"/>
                </a:cubicBezTo>
                <a:cubicBezTo>
                  <a:pt x="764" y="167"/>
                  <a:pt x="761" y="170"/>
                  <a:pt x="759" y="174"/>
                </a:cubicBezTo>
                <a:cubicBezTo>
                  <a:pt x="756" y="178"/>
                  <a:pt x="755" y="182"/>
                  <a:pt x="755" y="187"/>
                </a:cubicBezTo>
                <a:cubicBezTo>
                  <a:pt x="755" y="194"/>
                  <a:pt x="758" y="201"/>
                  <a:pt x="763" y="205"/>
                </a:cubicBezTo>
                <a:cubicBezTo>
                  <a:pt x="768" y="210"/>
                  <a:pt x="776" y="213"/>
                  <a:pt x="786" y="213"/>
                </a:cubicBezTo>
                <a:cubicBezTo>
                  <a:pt x="796" y="213"/>
                  <a:pt x="805" y="211"/>
                  <a:pt x="813" y="206"/>
                </a:cubicBezTo>
                <a:cubicBezTo>
                  <a:pt x="821" y="201"/>
                  <a:pt x="826" y="195"/>
                  <a:pt x="830" y="187"/>
                </a:cubicBezTo>
                <a:cubicBezTo>
                  <a:pt x="833" y="180"/>
                  <a:pt x="834" y="171"/>
                  <a:pt x="834" y="159"/>
                </a:cubicBezTo>
                <a:lnTo>
                  <a:pt x="834" y="149"/>
                </a:lnTo>
                <a:close/>
                <a:moveTo>
                  <a:pt x="896" y="245"/>
                </a:moveTo>
                <a:lnTo>
                  <a:pt x="921" y="249"/>
                </a:lnTo>
                <a:cubicBezTo>
                  <a:pt x="922" y="257"/>
                  <a:pt x="925" y="263"/>
                  <a:pt x="930" y="267"/>
                </a:cubicBezTo>
                <a:cubicBezTo>
                  <a:pt x="936" y="272"/>
                  <a:pt x="945" y="275"/>
                  <a:pt x="956" y="275"/>
                </a:cubicBezTo>
                <a:cubicBezTo>
                  <a:pt x="968" y="275"/>
                  <a:pt x="978" y="272"/>
                  <a:pt x="984" y="267"/>
                </a:cubicBezTo>
                <a:cubicBezTo>
                  <a:pt x="991" y="262"/>
                  <a:pt x="995" y="255"/>
                  <a:pt x="997" y="245"/>
                </a:cubicBezTo>
                <a:cubicBezTo>
                  <a:pt x="999" y="240"/>
                  <a:pt x="999" y="228"/>
                  <a:pt x="999" y="210"/>
                </a:cubicBezTo>
                <a:cubicBezTo>
                  <a:pt x="988" y="224"/>
                  <a:pt x="974" y="231"/>
                  <a:pt x="957" y="231"/>
                </a:cubicBezTo>
                <a:cubicBezTo>
                  <a:pt x="936" y="231"/>
                  <a:pt x="919" y="223"/>
                  <a:pt x="908" y="207"/>
                </a:cubicBezTo>
                <a:cubicBezTo>
                  <a:pt x="896" y="190"/>
                  <a:pt x="890" y="171"/>
                  <a:pt x="890" y="148"/>
                </a:cubicBezTo>
                <a:cubicBezTo>
                  <a:pt x="890" y="132"/>
                  <a:pt x="893" y="118"/>
                  <a:pt x="898" y="105"/>
                </a:cubicBezTo>
                <a:cubicBezTo>
                  <a:pt x="904" y="91"/>
                  <a:pt x="911" y="81"/>
                  <a:pt x="921" y="74"/>
                </a:cubicBezTo>
                <a:cubicBezTo>
                  <a:pt x="932" y="67"/>
                  <a:pt x="943" y="63"/>
                  <a:pt x="957" y="63"/>
                </a:cubicBezTo>
                <a:cubicBezTo>
                  <a:pt x="975" y="63"/>
                  <a:pt x="990" y="71"/>
                  <a:pt x="1002" y="87"/>
                </a:cubicBezTo>
                <a:lnTo>
                  <a:pt x="1002" y="67"/>
                </a:lnTo>
                <a:lnTo>
                  <a:pt x="1026" y="67"/>
                </a:lnTo>
                <a:lnTo>
                  <a:pt x="1026" y="209"/>
                </a:lnTo>
                <a:cubicBezTo>
                  <a:pt x="1026" y="234"/>
                  <a:pt x="1023" y="253"/>
                  <a:pt x="1018" y="263"/>
                </a:cubicBezTo>
                <a:cubicBezTo>
                  <a:pt x="1014" y="274"/>
                  <a:pt x="1006" y="282"/>
                  <a:pt x="995" y="289"/>
                </a:cubicBezTo>
                <a:cubicBezTo>
                  <a:pt x="985" y="295"/>
                  <a:pt x="972" y="298"/>
                  <a:pt x="956" y="298"/>
                </a:cubicBezTo>
                <a:cubicBezTo>
                  <a:pt x="938" y="298"/>
                  <a:pt x="923" y="294"/>
                  <a:pt x="912" y="285"/>
                </a:cubicBezTo>
                <a:cubicBezTo>
                  <a:pt x="901" y="276"/>
                  <a:pt x="895" y="263"/>
                  <a:pt x="896" y="245"/>
                </a:cubicBezTo>
                <a:close/>
                <a:moveTo>
                  <a:pt x="917" y="146"/>
                </a:moveTo>
                <a:cubicBezTo>
                  <a:pt x="917" y="168"/>
                  <a:pt x="921" y="183"/>
                  <a:pt x="929" y="193"/>
                </a:cubicBezTo>
                <a:cubicBezTo>
                  <a:pt x="937" y="203"/>
                  <a:pt x="947" y="208"/>
                  <a:pt x="959" y="208"/>
                </a:cubicBezTo>
                <a:cubicBezTo>
                  <a:pt x="971" y="208"/>
                  <a:pt x="981" y="203"/>
                  <a:pt x="989" y="193"/>
                </a:cubicBezTo>
                <a:cubicBezTo>
                  <a:pt x="997" y="184"/>
                  <a:pt x="1001" y="168"/>
                  <a:pt x="1001" y="147"/>
                </a:cubicBezTo>
                <a:cubicBezTo>
                  <a:pt x="1001" y="127"/>
                  <a:pt x="997" y="112"/>
                  <a:pt x="989" y="101"/>
                </a:cubicBezTo>
                <a:cubicBezTo>
                  <a:pt x="981" y="91"/>
                  <a:pt x="971" y="86"/>
                  <a:pt x="959" y="86"/>
                </a:cubicBezTo>
                <a:cubicBezTo>
                  <a:pt x="947" y="86"/>
                  <a:pt x="937" y="91"/>
                  <a:pt x="929" y="101"/>
                </a:cubicBezTo>
                <a:cubicBezTo>
                  <a:pt x="921" y="111"/>
                  <a:pt x="917" y="126"/>
                  <a:pt x="917" y="1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16" name="Freeform 56">
            <a:extLst>
              <a:ext uri="{FF2B5EF4-FFF2-40B4-BE49-F238E27FC236}">
                <a16:creationId xmlns:a16="http://schemas.microsoft.com/office/drawing/2014/main" id="{07CEE7CC-9B21-4C54-87E4-1C33AD9B4232}"/>
              </a:ext>
            </a:extLst>
          </p:cNvPr>
          <p:cNvSpPr>
            <a:spLocks noEditPoints="1"/>
          </p:cNvSpPr>
          <p:nvPr/>
        </p:nvSpPr>
        <p:spPr bwMode="auto">
          <a:xfrm>
            <a:off x="1177926" y="6083301"/>
            <a:ext cx="638175" cy="230188"/>
          </a:xfrm>
          <a:custGeom>
            <a:avLst/>
            <a:gdLst>
              <a:gd name="T0" fmla="*/ 175 w 1771"/>
              <a:gd name="T1" fmla="*/ 112 h 636"/>
              <a:gd name="T2" fmla="*/ 260 w 1771"/>
              <a:gd name="T3" fmla="*/ 573 h 636"/>
              <a:gd name="T4" fmla="*/ 405 w 1771"/>
              <a:gd name="T5" fmla="*/ 460 h 636"/>
              <a:gd name="T6" fmla="*/ 382 w 1771"/>
              <a:gd name="T7" fmla="*/ 442 h 636"/>
              <a:gd name="T8" fmla="*/ 454 w 1771"/>
              <a:gd name="T9" fmla="*/ 573 h 636"/>
              <a:gd name="T10" fmla="*/ 528 w 1771"/>
              <a:gd name="T11" fmla="*/ 439 h 636"/>
              <a:gd name="T12" fmla="*/ 553 w 1771"/>
              <a:gd name="T13" fmla="*/ 377 h 636"/>
              <a:gd name="T14" fmla="*/ 579 w 1771"/>
              <a:gd name="T15" fmla="*/ 408 h 636"/>
              <a:gd name="T16" fmla="*/ 691 w 1771"/>
              <a:gd name="T17" fmla="*/ 404 h 636"/>
              <a:gd name="T18" fmla="*/ 717 w 1771"/>
              <a:gd name="T19" fmla="*/ 472 h 636"/>
              <a:gd name="T20" fmla="*/ 619 w 1771"/>
              <a:gd name="T21" fmla="*/ 573 h 636"/>
              <a:gd name="T22" fmla="*/ 784 w 1771"/>
              <a:gd name="T23" fmla="*/ 444 h 636"/>
              <a:gd name="T24" fmla="*/ 846 w 1771"/>
              <a:gd name="T25" fmla="*/ 427 h 636"/>
              <a:gd name="T26" fmla="*/ 931 w 1771"/>
              <a:gd name="T27" fmla="*/ 377 h 636"/>
              <a:gd name="T28" fmla="*/ 957 w 1771"/>
              <a:gd name="T29" fmla="*/ 408 h 636"/>
              <a:gd name="T30" fmla="*/ 1039 w 1771"/>
              <a:gd name="T31" fmla="*/ 411 h 636"/>
              <a:gd name="T32" fmla="*/ 1063 w 1771"/>
              <a:gd name="T33" fmla="*/ 576 h 636"/>
              <a:gd name="T34" fmla="*/ 1061 w 1771"/>
              <a:gd name="T35" fmla="*/ 553 h 636"/>
              <a:gd name="T36" fmla="*/ 1161 w 1771"/>
              <a:gd name="T37" fmla="*/ 573 h 636"/>
              <a:gd name="T38" fmla="*/ 1335 w 1771"/>
              <a:gd name="T39" fmla="*/ 562 h 636"/>
              <a:gd name="T40" fmla="*/ 1360 w 1771"/>
              <a:gd name="T41" fmla="*/ 490 h 636"/>
              <a:gd name="T42" fmla="*/ 1247 w 1771"/>
              <a:gd name="T43" fmla="*/ 474 h 636"/>
              <a:gd name="T44" fmla="*/ 1408 w 1771"/>
              <a:gd name="T45" fmla="*/ 519 h 636"/>
              <a:gd name="T46" fmla="*/ 1410 w 1771"/>
              <a:gd name="T47" fmla="*/ 489 h 636"/>
              <a:gd name="T48" fmla="*/ 1475 w 1771"/>
              <a:gd name="T49" fmla="*/ 410 h 636"/>
              <a:gd name="T50" fmla="*/ 1412 w 1771"/>
              <a:gd name="T51" fmla="*/ 448 h 636"/>
              <a:gd name="T52" fmla="*/ 1503 w 1771"/>
              <a:gd name="T53" fmla="*/ 550 h 636"/>
              <a:gd name="T54" fmla="*/ 1316 w 1771"/>
              <a:gd name="T55" fmla="*/ 215 h 636"/>
              <a:gd name="T56" fmla="*/ 1261 w 1771"/>
              <a:gd name="T57" fmla="*/ 0 h 636"/>
              <a:gd name="T58" fmla="*/ 1197 w 1771"/>
              <a:gd name="T59" fmla="*/ 72 h 636"/>
              <a:gd name="T60" fmla="*/ 1370 w 1771"/>
              <a:gd name="T61" fmla="*/ 149 h 636"/>
              <a:gd name="T62" fmla="*/ 1442 w 1771"/>
              <a:gd name="T63" fmla="*/ 235 h 636"/>
              <a:gd name="T64" fmla="*/ 1487 w 1771"/>
              <a:gd name="T65" fmla="*/ 148 h 636"/>
              <a:gd name="T66" fmla="*/ 1567 w 1771"/>
              <a:gd name="T67" fmla="*/ 66 h 636"/>
              <a:gd name="T68" fmla="*/ 1584 w 1771"/>
              <a:gd name="T69" fmla="*/ 97 h 636"/>
              <a:gd name="T70" fmla="*/ 1746 w 1771"/>
              <a:gd name="T71" fmla="*/ 221 h 636"/>
              <a:gd name="T72" fmla="*/ 1771 w 1771"/>
              <a:gd name="T73" fmla="*/ 148 h 636"/>
              <a:gd name="T74" fmla="*/ 1658 w 1771"/>
              <a:gd name="T75" fmla="*/ 133 h 636"/>
              <a:gd name="T76" fmla="*/ 73 w 1771"/>
              <a:gd name="T77" fmla="*/ 201 h 636"/>
              <a:gd name="T78" fmla="*/ 73 w 1771"/>
              <a:gd name="T79" fmla="*/ 27 h 636"/>
              <a:gd name="T80" fmla="*/ 221 w 1771"/>
              <a:gd name="T81" fmla="*/ 209 h 636"/>
              <a:gd name="T82" fmla="*/ 228 w 1771"/>
              <a:gd name="T83" fmla="*/ 152 h 636"/>
              <a:gd name="T84" fmla="*/ 306 w 1771"/>
              <a:gd name="T85" fmla="*/ 98 h 636"/>
              <a:gd name="T86" fmla="*/ 418 w 1771"/>
              <a:gd name="T87" fmla="*/ 161 h 636"/>
              <a:gd name="T88" fmla="*/ 622 w 1771"/>
              <a:gd name="T89" fmla="*/ 174 h 636"/>
              <a:gd name="T90" fmla="*/ 580 w 1771"/>
              <a:gd name="T91" fmla="*/ 59 h 636"/>
              <a:gd name="T92" fmla="*/ 606 w 1771"/>
              <a:gd name="T93" fmla="*/ 200 h 636"/>
              <a:gd name="T94" fmla="*/ 536 w 1771"/>
              <a:gd name="T95" fmla="*/ 129 h 636"/>
              <a:gd name="T96" fmla="*/ 761 w 1771"/>
              <a:gd name="T97" fmla="*/ 77 h 636"/>
              <a:gd name="T98" fmla="*/ 757 w 1771"/>
              <a:gd name="T99" fmla="*/ 209 h 636"/>
              <a:gd name="T100" fmla="*/ 842 w 1771"/>
              <a:gd name="T101" fmla="*/ 98 h 636"/>
              <a:gd name="T102" fmla="*/ 935 w 1771"/>
              <a:gd name="T103" fmla="*/ 84 h 636"/>
              <a:gd name="T104" fmla="*/ 1012 w 1771"/>
              <a:gd name="T105" fmla="*/ 220 h 636"/>
              <a:gd name="T106" fmla="*/ 947 w 1771"/>
              <a:gd name="T107" fmla="*/ 193 h 636"/>
              <a:gd name="T108" fmla="*/ 935 w 1771"/>
              <a:gd name="T109" fmla="*/ 146 h 6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71" h="636">
                <a:moveTo>
                  <a:pt x="0" y="227"/>
                </a:moveTo>
                <a:lnTo>
                  <a:pt x="0" y="0"/>
                </a:lnTo>
                <a:lnTo>
                  <a:pt x="73" y="0"/>
                </a:lnTo>
                <a:cubicBezTo>
                  <a:pt x="89" y="0"/>
                  <a:pt x="102" y="1"/>
                  <a:pt x="111" y="3"/>
                </a:cubicBezTo>
                <a:cubicBezTo>
                  <a:pt x="123" y="6"/>
                  <a:pt x="133" y="12"/>
                  <a:pt x="142" y="19"/>
                </a:cubicBezTo>
                <a:cubicBezTo>
                  <a:pt x="153" y="30"/>
                  <a:pt x="161" y="43"/>
                  <a:pt x="167" y="58"/>
                </a:cubicBezTo>
                <a:cubicBezTo>
                  <a:pt x="172" y="74"/>
                  <a:pt x="175" y="92"/>
                  <a:pt x="175" y="112"/>
                </a:cubicBezTo>
                <a:cubicBezTo>
                  <a:pt x="175" y="130"/>
                  <a:pt x="173" y="145"/>
                  <a:pt x="170" y="158"/>
                </a:cubicBezTo>
                <a:cubicBezTo>
                  <a:pt x="166" y="172"/>
                  <a:pt x="161" y="183"/>
                  <a:pt x="155" y="191"/>
                </a:cubicBezTo>
                <a:cubicBezTo>
                  <a:pt x="149" y="200"/>
                  <a:pt x="143" y="207"/>
                  <a:pt x="136" y="212"/>
                </a:cubicBezTo>
                <a:cubicBezTo>
                  <a:pt x="129" y="217"/>
                  <a:pt x="120" y="221"/>
                  <a:pt x="111" y="223"/>
                </a:cubicBezTo>
                <a:cubicBezTo>
                  <a:pt x="101" y="226"/>
                  <a:pt x="89" y="227"/>
                  <a:pt x="76" y="227"/>
                </a:cubicBezTo>
                <a:lnTo>
                  <a:pt x="0" y="227"/>
                </a:lnTo>
                <a:close/>
                <a:moveTo>
                  <a:pt x="260" y="573"/>
                </a:moveTo>
                <a:lnTo>
                  <a:pt x="260" y="345"/>
                </a:lnTo>
                <a:lnTo>
                  <a:pt x="340" y="345"/>
                </a:lnTo>
                <a:cubicBezTo>
                  <a:pt x="354" y="345"/>
                  <a:pt x="365" y="346"/>
                  <a:pt x="373" y="347"/>
                </a:cubicBezTo>
                <a:cubicBezTo>
                  <a:pt x="383" y="349"/>
                  <a:pt x="392" y="353"/>
                  <a:pt x="399" y="358"/>
                </a:cubicBezTo>
                <a:cubicBezTo>
                  <a:pt x="406" y="363"/>
                  <a:pt x="412" y="370"/>
                  <a:pt x="416" y="380"/>
                </a:cubicBezTo>
                <a:cubicBezTo>
                  <a:pt x="420" y="389"/>
                  <a:pt x="422" y="400"/>
                  <a:pt x="422" y="411"/>
                </a:cubicBezTo>
                <a:cubicBezTo>
                  <a:pt x="422" y="430"/>
                  <a:pt x="417" y="446"/>
                  <a:pt x="405" y="460"/>
                </a:cubicBezTo>
                <a:cubicBezTo>
                  <a:pt x="394" y="473"/>
                  <a:pt x="373" y="480"/>
                  <a:pt x="343" y="480"/>
                </a:cubicBezTo>
                <a:lnTo>
                  <a:pt x="289" y="480"/>
                </a:lnTo>
                <a:lnTo>
                  <a:pt x="289" y="573"/>
                </a:lnTo>
                <a:lnTo>
                  <a:pt x="260" y="573"/>
                </a:lnTo>
                <a:close/>
                <a:moveTo>
                  <a:pt x="289" y="453"/>
                </a:moveTo>
                <a:lnTo>
                  <a:pt x="343" y="453"/>
                </a:lnTo>
                <a:cubicBezTo>
                  <a:pt x="361" y="453"/>
                  <a:pt x="374" y="450"/>
                  <a:pt x="382" y="442"/>
                </a:cubicBezTo>
                <a:cubicBezTo>
                  <a:pt x="389" y="435"/>
                  <a:pt x="393" y="425"/>
                  <a:pt x="393" y="412"/>
                </a:cubicBezTo>
                <a:cubicBezTo>
                  <a:pt x="393" y="402"/>
                  <a:pt x="391" y="394"/>
                  <a:pt x="387" y="387"/>
                </a:cubicBezTo>
                <a:cubicBezTo>
                  <a:pt x="382" y="381"/>
                  <a:pt x="376" y="376"/>
                  <a:pt x="369" y="374"/>
                </a:cubicBezTo>
                <a:cubicBezTo>
                  <a:pt x="364" y="373"/>
                  <a:pt x="355" y="372"/>
                  <a:pt x="343" y="372"/>
                </a:cubicBezTo>
                <a:lnTo>
                  <a:pt x="289" y="372"/>
                </a:lnTo>
                <a:lnTo>
                  <a:pt x="289" y="453"/>
                </a:lnTo>
                <a:close/>
                <a:moveTo>
                  <a:pt x="454" y="573"/>
                </a:moveTo>
                <a:lnTo>
                  <a:pt x="454" y="408"/>
                </a:lnTo>
                <a:lnTo>
                  <a:pt x="478" y="408"/>
                </a:lnTo>
                <a:lnTo>
                  <a:pt x="478" y="433"/>
                </a:lnTo>
                <a:cubicBezTo>
                  <a:pt x="483" y="421"/>
                  <a:pt x="489" y="414"/>
                  <a:pt x="494" y="410"/>
                </a:cubicBezTo>
                <a:cubicBezTo>
                  <a:pt x="499" y="406"/>
                  <a:pt x="505" y="404"/>
                  <a:pt x="511" y="404"/>
                </a:cubicBezTo>
                <a:cubicBezTo>
                  <a:pt x="520" y="404"/>
                  <a:pt x="529" y="407"/>
                  <a:pt x="538" y="413"/>
                </a:cubicBezTo>
                <a:lnTo>
                  <a:pt x="528" y="439"/>
                </a:lnTo>
                <a:cubicBezTo>
                  <a:pt x="522" y="435"/>
                  <a:pt x="516" y="433"/>
                  <a:pt x="509" y="433"/>
                </a:cubicBezTo>
                <a:cubicBezTo>
                  <a:pt x="504" y="433"/>
                  <a:pt x="499" y="435"/>
                  <a:pt x="494" y="439"/>
                </a:cubicBezTo>
                <a:cubicBezTo>
                  <a:pt x="490" y="442"/>
                  <a:pt x="486" y="447"/>
                  <a:pt x="485" y="454"/>
                </a:cubicBezTo>
                <a:cubicBezTo>
                  <a:pt x="482" y="464"/>
                  <a:pt x="480" y="475"/>
                  <a:pt x="480" y="486"/>
                </a:cubicBezTo>
                <a:lnTo>
                  <a:pt x="480" y="573"/>
                </a:lnTo>
                <a:lnTo>
                  <a:pt x="454" y="573"/>
                </a:lnTo>
                <a:close/>
                <a:moveTo>
                  <a:pt x="553" y="377"/>
                </a:moveTo>
                <a:lnTo>
                  <a:pt x="553" y="345"/>
                </a:lnTo>
                <a:lnTo>
                  <a:pt x="579" y="345"/>
                </a:lnTo>
                <a:lnTo>
                  <a:pt x="579" y="377"/>
                </a:lnTo>
                <a:lnTo>
                  <a:pt x="553" y="377"/>
                </a:lnTo>
                <a:close/>
                <a:moveTo>
                  <a:pt x="553" y="573"/>
                </a:moveTo>
                <a:lnTo>
                  <a:pt x="553" y="408"/>
                </a:lnTo>
                <a:lnTo>
                  <a:pt x="579" y="408"/>
                </a:lnTo>
                <a:lnTo>
                  <a:pt x="579" y="573"/>
                </a:lnTo>
                <a:lnTo>
                  <a:pt x="553" y="573"/>
                </a:lnTo>
                <a:close/>
                <a:moveTo>
                  <a:pt x="619" y="573"/>
                </a:moveTo>
                <a:lnTo>
                  <a:pt x="619" y="408"/>
                </a:lnTo>
                <a:lnTo>
                  <a:pt x="642" y="408"/>
                </a:lnTo>
                <a:lnTo>
                  <a:pt x="642" y="431"/>
                </a:lnTo>
                <a:cubicBezTo>
                  <a:pt x="653" y="413"/>
                  <a:pt x="670" y="404"/>
                  <a:pt x="691" y="404"/>
                </a:cubicBezTo>
                <a:cubicBezTo>
                  <a:pt x="700" y="404"/>
                  <a:pt x="709" y="406"/>
                  <a:pt x="716" y="410"/>
                </a:cubicBezTo>
                <a:cubicBezTo>
                  <a:pt x="724" y="413"/>
                  <a:pt x="730" y="418"/>
                  <a:pt x="734" y="424"/>
                </a:cubicBezTo>
                <a:cubicBezTo>
                  <a:pt x="738" y="429"/>
                  <a:pt x="740" y="436"/>
                  <a:pt x="742" y="444"/>
                </a:cubicBezTo>
                <a:cubicBezTo>
                  <a:pt x="743" y="449"/>
                  <a:pt x="743" y="458"/>
                  <a:pt x="743" y="471"/>
                </a:cubicBezTo>
                <a:lnTo>
                  <a:pt x="743" y="573"/>
                </a:lnTo>
                <a:lnTo>
                  <a:pt x="717" y="573"/>
                </a:lnTo>
                <a:lnTo>
                  <a:pt x="717" y="472"/>
                </a:lnTo>
                <a:cubicBezTo>
                  <a:pt x="717" y="461"/>
                  <a:pt x="716" y="452"/>
                  <a:pt x="714" y="447"/>
                </a:cubicBezTo>
                <a:cubicBezTo>
                  <a:pt x="712" y="441"/>
                  <a:pt x="709" y="437"/>
                  <a:pt x="703" y="433"/>
                </a:cubicBezTo>
                <a:cubicBezTo>
                  <a:pt x="698" y="430"/>
                  <a:pt x="692" y="428"/>
                  <a:pt x="685" y="428"/>
                </a:cubicBezTo>
                <a:cubicBezTo>
                  <a:pt x="674" y="428"/>
                  <a:pt x="665" y="432"/>
                  <a:pt x="657" y="440"/>
                </a:cubicBezTo>
                <a:cubicBezTo>
                  <a:pt x="649" y="447"/>
                  <a:pt x="645" y="462"/>
                  <a:pt x="645" y="483"/>
                </a:cubicBezTo>
                <a:lnTo>
                  <a:pt x="645" y="573"/>
                </a:lnTo>
                <a:lnTo>
                  <a:pt x="619" y="573"/>
                </a:lnTo>
                <a:close/>
                <a:moveTo>
                  <a:pt x="883" y="512"/>
                </a:moveTo>
                <a:lnTo>
                  <a:pt x="909" y="516"/>
                </a:lnTo>
                <a:cubicBezTo>
                  <a:pt x="906" y="535"/>
                  <a:pt x="899" y="549"/>
                  <a:pt x="888" y="560"/>
                </a:cubicBezTo>
                <a:cubicBezTo>
                  <a:pt x="876" y="571"/>
                  <a:pt x="862" y="576"/>
                  <a:pt x="845" y="576"/>
                </a:cubicBezTo>
                <a:cubicBezTo>
                  <a:pt x="824" y="576"/>
                  <a:pt x="807" y="569"/>
                  <a:pt x="795" y="554"/>
                </a:cubicBezTo>
                <a:cubicBezTo>
                  <a:pt x="782" y="539"/>
                  <a:pt x="776" y="518"/>
                  <a:pt x="776" y="491"/>
                </a:cubicBezTo>
                <a:cubicBezTo>
                  <a:pt x="776" y="473"/>
                  <a:pt x="778" y="457"/>
                  <a:pt x="784" y="444"/>
                </a:cubicBezTo>
                <a:cubicBezTo>
                  <a:pt x="789" y="431"/>
                  <a:pt x="798" y="421"/>
                  <a:pt x="809" y="414"/>
                </a:cubicBezTo>
                <a:cubicBezTo>
                  <a:pt x="820" y="408"/>
                  <a:pt x="832" y="404"/>
                  <a:pt x="845" y="404"/>
                </a:cubicBezTo>
                <a:cubicBezTo>
                  <a:pt x="862" y="404"/>
                  <a:pt x="876" y="409"/>
                  <a:pt x="886" y="418"/>
                </a:cubicBezTo>
                <a:cubicBezTo>
                  <a:pt x="897" y="427"/>
                  <a:pt x="904" y="440"/>
                  <a:pt x="907" y="456"/>
                </a:cubicBezTo>
                <a:lnTo>
                  <a:pt x="881" y="460"/>
                </a:lnTo>
                <a:cubicBezTo>
                  <a:pt x="879" y="449"/>
                  <a:pt x="875" y="441"/>
                  <a:pt x="869" y="435"/>
                </a:cubicBezTo>
                <a:cubicBezTo>
                  <a:pt x="862" y="430"/>
                  <a:pt x="855" y="427"/>
                  <a:pt x="846" y="427"/>
                </a:cubicBezTo>
                <a:cubicBezTo>
                  <a:pt x="833" y="427"/>
                  <a:pt x="823" y="432"/>
                  <a:pt x="814" y="442"/>
                </a:cubicBezTo>
                <a:cubicBezTo>
                  <a:pt x="806" y="452"/>
                  <a:pt x="802" y="468"/>
                  <a:pt x="802" y="490"/>
                </a:cubicBezTo>
                <a:cubicBezTo>
                  <a:pt x="802" y="512"/>
                  <a:pt x="806" y="528"/>
                  <a:pt x="814" y="538"/>
                </a:cubicBezTo>
                <a:cubicBezTo>
                  <a:pt x="822" y="548"/>
                  <a:pt x="832" y="553"/>
                  <a:pt x="845" y="553"/>
                </a:cubicBezTo>
                <a:cubicBezTo>
                  <a:pt x="855" y="553"/>
                  <a:pt x="864" y="550"/>
                  <a:pt x="870" y="543"/>
                </a:cubicBezTo>
                <a:cubicBezTo>
                  <a:pt x="877" y="536"/>
                  <a:pt x="882" y="526"/>
                  <a:pt x="883" y="512"/>
                </a:cubicBezTo>
                <a:close/>
                <a:moveTo>
                  <a:pt x="931" y="377"/>
                </a:moveTo>
                <a:lnTo>
                  <a:pt x="931" y="345"/>
                </a:lnTo>
                <a:lnTo>
                  <a:pt x="957" y="345"/>
                </a:lnTo>
                <a:lnTo>
                  <a:pt x="957" y="377"/>
                </a:lnTo>
                <a:lnTo>
                  <a:pt x="931" y="377"/>
                </a:lnTo>
                <a:close/>
                <a:moveTo>
                  <a:pt x="931" y="573"/>
                </a:moveTo>
                <a:lnTo>
                  <a:pt x="931" y="408"/>
                </a:lnTo>
                <a:lnTo>
                  <a:pt x="957" y="408"/>
                </a:lnTo>
                <a:lnTo>
                  <a:pt x="957" y="573"/>
                </a:lnTo>
                <a:lnTo>
                  <a:pt x="931" y="573"/>
                </a:lnTo>
                <a:close/>
                <a:moveTo>
                  <a:pt x="997" y="636"/>
                </a:moveTo>
                <a:lnTo>
                  <a:pt x="997" y="408"/>
                </a:lnTo>
                <a:lnTo>
                  <a:pt x="1020" y="408"/>
                </a:lnTo>
                <a:lnTo>
                  <a:pt x="1020" y="429"/>
                </a:lnTo>
                <a:cubicBezTo>
                  <a:pt x="1026" y="421"/>
                  <a:pt x="1032" y="415"/>
                  <a:pt x="1039" y="411"/>
                </a:cubicBezTo>
                <a:cubicBezTo>
                  <a:pt x="1046" y="406"/>
                  <a:pt x="1055" y="404"/>
                  <a:pt x="1065" y="404"/>
                </a:cubicBezTo>
                <a:cubicBezTo>
                  <a:pt x="1078" y="404"/>
                  <a:pt x="1090" y="408"/>
                  <a:pt x="1100" y="415"/>
                </a:cubicBezTo>
                <a:cubicBezTo>
                  <a:pt x="1110" y="422"/>
                  <a:pt x="1117" y="432"/>
                  <a:pt x="1122" y="446"/>
                </a:cubicBezTo>
                <a:cubicBezTo>
                  <a:pt x="1127" y="459"/>
                  <a:pt x="1130" y="473"/>
                  <a:pt x="1130" y="489"/>
                </a:cubicBezTo>
                <a:cubicBezTo>
                  <a:pt x="1130" y="506"/>
                  <a:pt x="1127" y="521"/>
                  <a:pt x="1122" y="534"/>
                </a:cubicBezTo>
                <a:cubicBezTo>
                  <a:pt x="1116" y="548"/>
                  <a:pt x="1108" y="558"/>
                  <a:pt x="1097" y="565"/>
                </a:cubicBezTo>
                <a:cubicBezTo>
                  <a:pt x="1086" y="572"/>
                  <a:pt x="1075" y="576"/>
                  <a:pt x="1063" y="576"/>
                </a:cubicBezTo>
                <a:cubicBezTo>
                  <a:pt x="1054" y="576"/>
                  <a:pt x="1047" y="574"/>
                  <a:pt x="1040" y="570"/>
                </a:cubicBezTo>
                <a:cubicBezTo>
                  <a:pt x="1033" y="566"/>
                  <a:pt x="1027" y="561"/>
                  <a:pt x="1023" y="555"/>
                </a:cubicBezTo>
                <a:lnTo>
                  <a:pt x="1023" y="636"/>
                </a:lnTo>
                <a:lnTo>
                  <a:pt x="997" y="636"/>
                </a:lnTo>
                <a:close/>
                <a:moveTo>
                  <a:pt x="1020" y="491"/>
                </a:moveTo>
                <a:cubicBezTo>
                  <a:pt x="1020" y="512"/>
                  <a:pt x="1024" y="528"/>
                  <a:pt x="1032" y="538"/>
                </a:cubicBezTo>
                <a:cubicBezTo>
                  <a:pt x="1040" y="548"/>
                  <a:pt x="1050" y="553"/>
                  <a:pt x="1061" y="553"/>
                </a:cubicBezTo>
                <a:cubicBezTo>
                  <a:pt x="1073" y="553"/>
                  <a:pt x="1083" y="548"/>
                  <a:pt x="1091" y="537"/>
                </a:cubicBezTo>
                <a:cubicBezTo>
                  <a:pt x="1099" y="527"/>
                  <a:pt x="1103" y="511"/>
                  <a:pt x="1103" y="489"/>
                </a:cubicBezTo>
                <a:cubicBezTo>
                  <a:pt x="1103" y="468"/>
                  <a:pt x="1099" y="452"/>
                  <a:pt x="1091" y="442"/>
                </a:cubicBezTo>
                <a:cubicBezTo>
                  <a:pt x="1083" y="431"/>
                  <a:pt x="1074" y="426"/>
                  <a:pt x="1063" y="426"/>
                </a:cubicBezTo>
                <a:cubicBezTo>
                  <a:pt x="1052" y="426"/>
                  <a:pt x="1042" y="432"/>
                  <a:pt x="1033" y="443"/>
                </a:cubicBezTo>
                <a:cubicBezTo>
                  <a:pt x="1025" y="454"/>
                  <a:pt x="1020" y="470"/>
                  <a:pt x="1020" y="491"/>
                </a:cubicBezTo>
                <a:close/>
                <a:moveTo>
                  <a:pt x="1161" y="573"/>
                </a:moveTo>
                <a:lnTo>
                  <a:pt x="1161" y="345"/>
                </a:lnTo>
                <a:lnTo>
                  <a:pt x="1187" y="345"/>
                </a:lnTo>
                <a:lnTo>
                  <a:pt x="1187" y="573"/>
                </a:lnTo>
                <a:lnTo>
                  <a:pt x="1161" y="573"/>
                </a:lnTo>
                <a:close/>
                <a:moveTo>
                  <a:pt x="1332" y="519"/>
                </a:moveTo>
                <a:lnTo>
                  <a:pt x="1359" y="523"/>
                </a:lnTo>
                <a:cubicBezTo>
                  <a:pt x="1355" y="540"/>
                  <a:pt x="1347" y="553"/>
                  <a:pt x="1335" y="562"/>
                </a:cubicBezTo>
                <a:cubicBezTo>
                  <a:pt x="1324" y="571"/>
                  <a:pt x="1309" y="576"/>
                  <a:pt x="1291" y="576"/>
                </a:cubicBezTo>
                <a:cubicBezTo>
                  <a:pt x="1269" y="576"/>
                  <a:pt x="1251" y="569"/>
                  <a:pt x="1238" y="554"/>
                </a:cubicBezTo>
                <a:cubicBezTo>
                  <a:pt x="1225" y="539"/>
                  <a:pt x="1218" y="518"/>
                  <a:pt x="1218" y="491"/>
                </a:cubicBezTo>
                <a:cubicBezTo>
                  <a:pt x="1218" y="464"/>
                  <a:pt x="1225" y="442"/>
                  <a:pt x="1238" y="427"/>
                </a:cubicBezTo>
                <a:cubicBezTo>
                  <a:pt x="1252" y="412"/>
                  <a:pt x="1269" y="404"/>
                  <a:pt x="1290" y="404"/>
                </a:cubicBezTo>
                <a:cubicBezTo>
                  <a:pt x="1310" y="404"/>
                  <a:pt x="1327" y="412"/>
                  <a:pt x="1340" y="427"/>
                </a:cubicBezTo>
                <a:cubicBezTo>
                  <a:pt x="1353" y="442"/>
                  <a:pt x="1360" y="463"/>
                  <a:pt x="1360" y="490"/>
                </a:cubicBezTo>
                <a:cubicBezTo>
                  <a:pt x="1360" y="491"/>
                  <a:pt x="1360" y="494"/>
                  <a:pt x="1359" y="497"/>
                </a:cubicBezTo>
                <a:lnTo>
                  <a:pt x="1245" y="497"/>
                </a:lnTo>
                <a:cubicBezTo>
                  <a:pt x="1246" y="515"/>
                  <a:pt x="1251" y="529"/>
                  <a:pt x="1259" y="539"/>
                </a:cubicBezTo>
                <a:cubicBezTo>
                  <a:pt x="1268" y="548"/>
                  <a:pt x="1279" y="553"/>
                  <a:pt x="1291" y="553"/>
                </a:cubicBezTo>
                <a:cubicBezTo>
                  <a:pt x="1301" y="553"/>
                  <a:pt x="1309" y="550"/>
                  <a:pt x="1316" y="545"/>
                </a:cubicBezTo>
                <a:cubicBezTo>
                  <a:pt x="1323" y="540"/>
                  <a:pt x="1328" y="531"/>
                  <a:pt x="1332" y="519"/>
                </a:cubicBezTo>
                <a:close/>
                <a:moveTo>
                  <a:pt x="1247" y="474"/>
                </a:moveTo>
                <a:lnTo>
                  <a:pt x="1332" y="474"/>
                </a:lnTo>
                <a:cubicBezTo>
                  <a:pt x="1331" y="461"/>
                  <a:pt x="1328" y="450"/>
                  <a:pt x="1322" y="443"/>
                </a:cubicBezTo>
                <a:cubicBezTo>
                  <a:pt x="1314" y="432"/>
                  <a:pt x="1303" y="427"/>
                  <a:pt x="1290" y="427"/>
                </a:cubicBezTo>
                <a:cubicBezTo>
                  <a:pt x="1278" y="427"/>
                  <a:pt x="1268" y="431"/>
                  <a:pt x="1260" y="440"/>
                </a:cubicBezTo>
                <a:cubicBezTo>
                  <a:pt x="1252" y="449"/>
                  <a:pt x="1247" y="460"/>
                  <a:pt x="1247" y="474"/>
                </a:cubicBezTo>
                <a:close/>
                <a:moveTo>
                  <a:pt x="1383" y="523"/>
                </a:moveTo>
                <a:lnTo>
                  <a:pt x="1408" y="519"/>
                </a:lnTo>
                <a:cubicBezTo>
                  <a:pt x="1410" y="530"/>
                  <a:pt x="1414" y="538"/>
                  <a:pt x="1421" y="544"/>
                </a:cubicBezTo>
                <a:cubicBezTo>
                  <a:pt x="1427" y="550"/>
                  <a:pt x="1436" y="553"/>
                  <a:pt x="1448" y="553"/>
                </a:cubicBezTo>
                <a:cubicBezTo>
                  <a:pt x="1460" y="553"/>
                  <a:pt x="1469" y="551"/>
                  <a:pt x="1475" y="545"/>
                </a:cubicBezTo>
                <a:cubicBezTo>
                  <a:pt x="1481" y="540"/>
                  <a:pt x="1484" y="534"/>
                  <a:pt x="1484" y="527"/>
                </a:cubicBezTo>
                <a:cubicBezTo>
                  <a:pt x="1484" y="521"/>
                  <a:pt x="1481" y="516"/>
                  <a:pt x="1476" y="512"/>
                </a:cubicBezTo>
                <a:cubicBezTo>
                  <a:pt x="1472" y="510"/>
                  <a:pt x="1463" y="506"/>
                  <a:pt x="1449" y="503"/>
                </a:cubicBezTo>
                <a:cubicBezTo>
                  <a:pt x="1430" y="497"/>
                  <a:pt x="1417" y="493"/>
                  <a:pt x="1410" y="489"/>
                </a:cubicBezTo>
                <a:cubicBezTo>
                  <a:pt x="1402" y="485"/>
                  <a:pt x="1397" y="480"/>
                  <a:pt x="1393" y="474"/>
                </a:cubicBezTo>
                <a:cubicBezTo>
                  <a:pt x="1389" y="467"/>
                  <a:pt x="1387" y="460"/>
                  <a:pt x="1387" y="452"/>
                </a:cubicBezTo>
                <a:cubicBezTo>
                  <a:pt x="1387" y="444"/>
                  <a:pt x="1389" y="437"/>
                  <a:pt x="1392" y="431"/>
                </a:cubicBezTo>
                <a:cubicBezTo>
                  <a:pt x="1395" y="425"/>
                  <a:pt x="1399" y="420"/>
                  <a:pt x="1405" y="416"/>
                </a:cubicBezTo>
                <a:cubicBezTo>
                  <a:pt x="1409" y="412"/>
                  <a:pt x="1414" y="410"/>
                  <a:pt x="1421" y="408"/>
                </a:cubicBezTo>
                <a:cubicBezTo>
                  <a:pt x="1428" y="405"/>
                  <a:pt x="1436" y="404"/>
                  <a:pt x="1444" y="404"/>
                </a:cubicBezTo>
                <a:cubicBezTo>
                  <a:pt x="1456" y="404"/>
                  <a:pt x="1466" y="406"/>
                  <a:pt x="1475" y="410"/>
                </a:cubicBezTo>
                <a:cubicBezTo>
                  <a:pt x="1484" y="414"/>
                  <a:pt x="1491" y="419"/>
                  <a:pt x="1495" y="425"/>
                </a:cubicBezTo>
                <a:cubicBezTo>
                  <a:pt x="1500" y="431"/>
                  <a:pt x="1503" y="440"/>
                  <a:pt x="1504" y="451"/>
                </a:cubicBezTo>
                <a:lnTo>
                  <a:pt x="1479" y="454"/>
                </a:lnTo>
                <a:cubicBezTo>
                  <a:pt x="1478" y="446"/>
                  <a:pt x="1474" y="439"/>
                  <a:pt x="1469" y="434"/>
                </a:cubicBezTo>
                <a:cubicBezTo>
                  <a:pt x="1463" y="429"/>
                  <a:pt x="1456" y="427"/>
                  <a:pt x="1445" y="427"/>
                </a:cubicBezTo>
                <a:cubicBezTo>
                  <a:pt x="1434" y="427"/>
                  <a:pt x="1425" y="429"/>
                  <a:pt x="1420" y="433"/>
                </a:cubicBezTo>
                <a:cubicBezTo>
                  <a:pt x="1415" y="438"/>
                  <a:pt x="1412" y="443"/>
                  <a:pt x="1412" y="448"/>
                </a:cubicBezTo>
                <a:cubicBezTo>
                  <a:pt x="1412" y="452"/>
                  <a:pt x="1413" y="455"/>
                  <a:pt x="1415" y="458"/>
                </a:cubicBezTo>
                <a:cubicBezTo>
                  <a:pt x="1418" y="461"/>
                  <a:pt x="1421" y="464"/>
                  <a:pt x="1425" y="466"/>
                </a:cubicBezTo>
                <a:cubicBezTo>
                  <a:pt x="1428" y="467"/>
                  <a:pt x="1436" y="469"/>
                  <a:pt x="1448" y="473"/>
                </a:cubicBezTo>
                <a:cubicBezTo>
                  <a:pt x="1467" y="478"/>
                  <a:pt x="1479" y="482"/>
                  <a:pt x="1487" y="486"/>
                </a:cubicBezTo>
                <a:cubicBezTo>
                  <a:pt x="1494" y="489"/>
                  <a:pt x="1500" y="494"/>
                  <a:pt x="1504" y="500"/>
                </a:cubicBezTo>
                <a:cubicBezTo>
                  <a:pt x="1508" y="507"/>
                  <a:pt x="1510" y="515"/>
                  <a:pt x="1510" y="524"/>
                </a:cubicBezTo>
                <a:cubicBezTo>
                  <a:pt x="1510" y="533"/>
                  <a:pt x="1508" y="542"/>
                  <a:pt x="1503" y="550"/>
                </a:cubicBezTo>
                <a:cubicBezTo>
                  <a:pt x="1498" y="558"/>
                  <a:pt x="1490" y="565"/>
                  <a:pt x="1481" y="569"/>
                </a:cubicBezTo>
                <a:cubicBezTo>
                  <a:pt x="1471" y="574"/>
                  <a:pt x="1460" y="576"/>
                  <a:pt x="1448" y="576"/>
                </a:cubicBezTo>
                <a:cubicBezTo>
                  <a:pt x="1428" y="576"/>
                  <a:pt x="1413" y="572"/>
                  <a:pt x="1403" y="563"/>
                </a:cubicBezTo>
                <a:cubicBezTo>
                  <a:pt x="1392" y="554"/>
                  <a:pt x="1386" y="541"/>
                  <a:pt x="1383" y="523"/>
                </a:cubicBezTo>
                <a:close/>
                <a:moveTo>
                  <a:pt x="1320" y="151"/>
                </a:moveTo>
                <a:lnTo>
                  <a:pt x="1348" y="159"/>
                </a:lnTo>
                <a:cubicBezTo>
                  <a:pt x="1342" y="184"/>
                  <a:pt x="1332" y="202"/>
                  <a:pt x="1316" y="215"/>
                </a:cubicBezTo>
                <a:cubicBezTo>
                  <a:pt x="1301" y="228"/>
                  <a:pt x="1283" y="235"/>
                  <a:pt x="1261" y="235"/>
                </a:cubicBezTo>
                <a:cubicBezTo>
                  <a:pt x="1238" y="235"/>
                  <a:pt x="1219" y="230"/>
                  <a:pt x="1205" y="220"/>
                </a:cubicBezTo>
                <a:cubicBezTo>
                  <a:pt x="1191" y="210"/>
                  <a:pt x="1180" y="196"/>
                  <a:pt x="1172" y="177"/>
                </a:cubicBezTo>
                <a:cubicBezTo>
                  <a:pt x="1165" y="158"/>
                  <a:pt x="1161" y="137"/>
                  <a:pt x="1161" y="116"/>
                </a:cubicBezTo>
                <a:cubicBezTo>
                  <a:pt x="1161" y="92"/>
                  <a:pt x="1165" y="71"/>
                  <a:pt x="1174" y="54"/>
                </a:cubicBezTo>
                <a:cubicBezTo>
                  <a:pt x="1182" y="36"/>
                  <a:pt x="1194" y="23"/>
                  <a:pt x="1210" y="14"/>
                </a:cubicBezTo>
                <a:cubicBezTo>
                  <a:pt x="1225" y="5"/>
                  <a:pt x="1242" y="0"/>
                  <a:pt x="1261" y="0"/>
                </a:cubicBezTo>
                <a:cubicBezTo>
                  <a:pt x="1282" y="0"/>
                  <a:pt x="1300" y="6"/>
                  <a:pt x="1314" y="17"/>
                </a:cubicBezTo>
                <a:cubicBezTo>
                  <a:pt x="1329" y="29"/>
                  <a:pt x="1339" y="45"/>
                  <a:pt x="1345" y="66"/>
                </a:cubicBezTo>
                <a:lnTo>
                  <a:pt x="1317" y="73"/>
                </a:lnTo>
                <a:cubicBezTo>
                  <a:pt x="1312" y="57"/>
                  <a:pt x="1305" y="45"/>
                  <a:pt x="1296" y="37"/>
                </a:cubicBezTo>
                <a:cubicBezTo>
                  <a:pt x="1286" y="29"/>
                  <a:pt x="1275" y="26"/>
                  <a:pt x="1260" y="26"/>
                </a:cubicBezTo>
                <a:cubicBezTo>
                  <a:pt x="1244" y="26"/>
                  <a:pt x="1231" y="30"/>
                  <a:pt x="1220" y="38"/>
                </a:cubicBezTo>
                <a:cubicBezTo>
                  <a:pt x="1209" y="47"/>
                  <a:pt x="1201" y="58"/>
                  <a:pt x="1197" y="72"/>
                </a:cubicBezTo>
                <a:cubicBezTo>
                  <a:pt x="1192" y="86"/>
                  <a:pt x="1190" y="101"/>
                  <a:pt x="1190" y="116"/>
                </a:cubicBezTo>
                <a:cubicBezTo>
                  <a:pt x="1190" y="135"/>
                  <a:pt x="1193" y="152"/>
                  <a:pt x="1198" y="166"/>
                </a:cubicBezTo>
                <a:cubicBezTo>
                  <a:pt x="1203" y="181"/>
                  <a:pt x="1211" y="191"/>
                  <a:pt x="1222" y="199"/>
                </a:cubicBezTo>
                <a:cubicBezTo>
                  <a:pt x="1233" y="206"/>
                  <a:pt x="1245" y="209"/>
                  <a:pt x="1258" y="209"/>
                </a:cubicBezTo>
                <a:cubicBezTo>
                  <a:pt x="1274" y="209"/>
                  <a:pt x="1287" y="204"/>
                  <a:pt x="1298" y="195"/>
                </a:cubicBezTo>
                <a:cubicBezTo>
                  <a:pt x="1309" y="185"/>
                  <a:pt x="1316" y="171"/>
                  <a:pt x="1320" y="151"/>
                </a:cubicBezTo>
                <a:close/>
                <a:moveTo>
                  <a:pt x="1370" y="149"/>
                </a:moveTo>
                <a:cubicBezTo>
                  <a:pt x="1370" y="118"/>
                  <a:pt x="1378" y="96"/>
                  <a:pt x="1393" y="81"/>
                </a:cubicBezTo>
                <a:cubicBezTo>
                  <a:pt x="1407" y="69"/>
                  <a:pt x="1423" y="63"/>
                  <a:pt x="1442" y="63"/>
                </a:cubicBezTo>
                <a:cubicBezTo>
                  <a:pt x="1463" y="63"/>
                  <a:pt x="1480" y="70"/>
                  <a:pt x="1493" y="85"/>
                </a:cubicBezTo>
                <a:cubicBezTo>
                  <a:pt x="1507" y="100"/>
                  <a:pt x="1513" y="120"/>
                  <a:pt x="1513" y="146"/>
                </a:cubicBezTo>
                <a:cubicBezTo>
                  <a:pt x="1513" y="168"/>
                  <a:pt x="1511" y="184"/>
                  <a:pt x="1505" y="196"/>
                </a:cubicBezTo>
                <a:cubicBezTo>
                  <a:pt x="1499" y="208"/>
                  <a:pt x="1490" y="218"/>
                  <a:pt x="1479" y="225"/>
                </a:cubicBezTo>
                <a:cubicBezTo>
                  <a:pt x="1467" y="231"/>
                  <a:pt x="1455" y="235"/>
                  <a:pt x="1442" y="235"/>
                </a:cubicBezTo>
                <a:cubicBezTo>
                  <a:pt x="1420" y="235"/>
                  <a:pt x="1403" y="227"/>
                  <a:pt x="1390" y="212"/>
                </a:cubicBezTo>
                <a:cubicBezTo>
                  <a:pt x="1376" y="198"/>
                  <a:pt x="1370" y="176"/>
                  <a:pt x="1370" y="149"/>
                </a:cubicBezTo>
                <a:close/>
                <a:moveTo>
                  <a:pt x="1396" y="149"/>
                </a:moveTo>
                <a:cubicBezTo>
                  <a:pt x="1396" y="170"/>
                  <a:pt x="1401" y="186"/>
                  <a:pt x="1409" y="196"/>
                </a:cubicBezTo>
                <a:cubicBezTo>
                  <a:pt x="1418" y="206"/>
                  <a:pt x="1429" y="212"/>
                  <a:pt x="1442" y="212"/>
                </a:cubicBezTo>
                <a:cubicBezTo>
                  <a:pt x="1455" y="212"/>
                  <a:pt x="1465" y="206"/>
                  <a:pt x="1474" y="196"/>
                </a:cubicBezTo>
                <a:cubicBezTo>
                  <a:pt x="1483" y="185"/>
                  <a:pt x="1487" y="169"/>
                  <a:pt x="1487" y="148"/>
                </a:cubicBezTo>
                <a:cubicBezTo>
                  <a:pt x="1487" y="128"/>
                  <a:pt x="1483" y="112"/>
                  <a:pt x="1474" y="102"/>
                </a:cubicBezTo>
                <a:cubicBezTo>
                  <a:pt x="1465" y="91"/>
                  <a:pt x="1455" y="86"/>
                  <a:pt x="1442" y="86"/>
                </a:cubicBezTo>
                <a:cubicBezTo>
                  <a:pt x="1429" y="86"/>
                  <a:pt x="1418" y="91"/>
                  <a:pt x="1409" y="102"/>
                </a:cubicBezTo>
                <a:cubicBezTo>
                  <a:pt x="1401" y="112"/>
                  <a:pt x="1396" y="128"/>
                  <a:pt x="1396" y="149"/>
                </a:cubicBezTo>
                <a:close/>
                <a:moveTo>
                  <a:pt x="1544" y="231"/>
                </a:moveTo>
                <a:lnTo>
                  <a:pt x="1544" y="66"/>
                </a:lnTo>
                <a:lnTo>
                  <a:pt x="1567" y="66"/>
                </a:lnTo>
                <a:lnTo>
                  <a:pt x="1567" y="92"/>
                </a:lnTo>
                <a:cubicBezTo>
                  <a:pt x="1573" y="80"/>
                  <a:pt x="1579" y="72"/>
                  <a:pt x="1584" y="68"/>
                </a:cubicBezTo>
                <a:cubicBezTo>
                  <a:pt x="1589" y="65"/>
                  <a:pt x="1594" y="63"/>
                  <a:pt x="1600" y="63"/>
                </a:cubicBezTo>
                <a:cubicBezTo>
                  <a:pt x="1609" y="63"/>
                  <a:pt x="1618" y="66"/>
                  <a:pt x="1627" y="72"/>
                </a:cubicBezTo>
                <a:lnTo>
                  <a:pt x="1618" y="97"/>
                </a:lnTo>
                <a:cubicBezTo>
                  <a:pt x="1612" y="94"/>
                  <a:pt x="1605" y="92"/>
                  <a:pt x="1599" y="92"/>
                </a:cubicBezTo>
                <a:cubicBezTo>
                  <a:pt x="1593" y="92"/>
                  <a:pt x="1588" y="94"/>
                  <a:pt x="1584" y="97"/>
                </a:cubicBezTo>
                <a:cubicBezTo>
                  <a:pt x="1579" y="101"/>
                  <a:pt x="1576" y="106"/>
                  <a:pt x="1574" y="112"/>
                </a:cubicBezTo>
                <a:cubicBezTo>
                  <a:pt x="1571" y="122"/>
                  <a:pt x="1570" y="133"/>
                  <a:pt x="1570" y="145"/>
                </a:cubicBezTo>
                <a:lnTo>
                  <a:pt x="1570" y="231"/>
                </a:lnTo>
                <a:lnTo>
                  <a:pt x="1544" y="231"/>
                </a:lnTo>
                <a:close/>
                <a:moveTo>
                  <a:pt x="1743" y="178"/>
                </a:moveTo>
                <a:lnTo>
                  <a:pt x="1770" y="182"/>
                </a:lnTo>
                <a:cubicBezTo>
                  <a:pt x="1765" y="198"/>
                  <a:pt x="1758" y="211"/>
                  <a:pt x="1746" y="221"/>
                </a:cubicBezTo>
                <a:cubicBezTo>
                  <a:pt x="1735" y="230"/>
                  <a:pt x="1720" y="235"/>
                  <a:pt x="1702" y="235"/>
                </a:cubicBezTo>
                <a:cubicBezTo>
                  <a:pt x="1680" y="235"/>
                  <a:pt x="1662" y="227"/>
                  <a:pt x="1649" y="212"/>
                </a:cubicBezTo>
                <a:cubicBezTo>
                  <a:pt x="1636" y="198"/>
                  <a:pt x="1629" y="177"/>
                  <a:pt x="1629" y="150"/>
                </a:cubicBezTo>
                <a:cubicBezTo>
                  <a:pt x="1629" y="122"/>
                  <a:pt x="1636" y="101"/>
                  <a:pt x="1649" y="86"/>
                </a:cubicBezTo>
                <a:cubicBezTo>
                  <a:pt x="1663" y="70"/>
                  <a:pt x="1680" y="63"/>
                  <a:pt x="1701" y="63"/>
                </a:cubicBezTo>
                <a:cubicBezTo>
                  <a:pt x="1721" y="63"/>
                  <a:pt x="1738" y="70"/>
                  <a:pt x="1751" y="85"/>
                </a:cubicBezTo>
                <a:cubicBezTo>
                  <a:pt x="1764" y="100"/>
                  <a:pt x="1771" y="121"/>
                  <a:pt x="1771" y="148"/>
                </a:cubicBezTo>
                <a:cubicBezTo>
                  <a:pt x="1771" y="150"/>
                  <a:pt x="1771" y="153"/>
                  <a:pt x="1770" y="156"/>
                </a:cubicBezTo>
                <a:lnTo>
                  <a:pt x="1656" y="156"/>
                </a:lnTo>
                <a:cubicBezTo>
                  <a:pt x="1657" y="174"/>
                  <a:pt x="1662" y="188"/>
                  <a:pt x="1670" y="197"/>
                </a:cubicBezTo>
                <a:cubicBezTo>
                  <a:pt x="1679" y="207"/>
                  <a:pt x="1690" y="212"/>
                  <a:pt x="1702" y="212"/>
                </a:cubicBezTo>
                <a:cubicBezTo>
                  <a:pt x="1712" y="212"/>
                  <a:pt x="1720" y="209"/>
                  <a:pt x="1727" y="204"/>
                </a:cubicBezTo>
                <a:cubicBezTo>
                  <a:pt x="1734" y="198"/>
                  <a:pt x="1739" y="190"/>
                  <a:pt x="1743" y="178"/>
                </a:cubicBezTo>
                <a:close/>
                <a:moveTo>
                  <a:pt x="1658" y="133"/>
                </a:moveTo>
                <a:lnTo>
                  <a:pt x="1743" y="133"/>
                </a:lnTo>
                <a:cubicBezTo>
                  <a:pt x="1742" y="119"/>
                  <a:pt x="1739" y="109"/>
                  <a:pt x="1733" y="102"/>
                </a:cubicBezTo>
                <a:cubicBezTo>
                  <a:pt x="1725" y="91"/>
                  <a:pt x="1714" y="86"/>
                  <a:pt x="1701" y="86"/>
                </a:cubicBezTo>
                <a:cubicBezTo>
                  <a:pt x="1689" y="86"/>
                  <a:pt x="1679" y="90"/>
                  <a:pt x="1671" y="99"/>
                </a:cubicBezTo>
                <a:cubicBezTo>
                  <a:pt x="1663" y="107"/>
                  <a:pt x="1658" y="119"/>
                  <a:pt x="1658" y="133"/>
                </a:cubicBezTo>
                <a:close/>
                <a:moveTo>
                  <a:pt x="28" y="201"/>
                </a:moveTo>
                <a:lnTo>
                  <a:pt x="73" y="201"/>
                </a:lnTo>
                <a:cubicBezTo>
                  <a:pt x="87" y="201"/>
                  <a:pt x="98" y="199"/>
                  <a:pt x="106" y="196"/>
                </a:cubicBezTo>
                <a:cubicBezTo>
                  <a:pt x="114" y="194"/>
                  <a:pt x="120" y="190"/>
                  <a:pt x="125" y="185"/>
                </a:cubicBezTo>
                <a:cubicBezTo>
                  <a:pt x="132" y="178"/>
                  <a:pt x="137" y="168"/>
                  <a:pt x="141" y="156"/>
                </a:cubicBezTo>
                <a:cubicBezTo>
                  <a:pt x="144" y="144"/>
                  <a:pt x="146" y="129"/>
                  <a:pt x="146" y="112"/>
                </a:cubicBezTo>
                <a:cubicBezTo>
                  <a:pt x="146" y="88"/>
                  <a:pt x="143" y="70"/>
                  <a:pt x="135" y="57"/>
                </a:cubicBezTo>
                <a:cubicBezTo>
                  <a:pt x="128" y="44"/>
                  <a:pt x="119" y="36"/>
                  <a:pt x="109" y="31"/>
                </a:cubicBezTo>
                <a:cubicBezTo>
                  <a:pt x="101" y="28"/>
                  <a:pt x="89" y="27"/>
                  <a:pt x="73" y="27"/>
                </a:cubicBezTo>
                <a:lnTo>
                  <a:pt x="28" y="27"/>
                </a:lnTo>
                <a:lnTo>
                  <a:pt x="28" y="201"/>
                </a:lnTo>
                <a:close/>
                <a:moveTo>
                  <a:pt x="315" y="174"/>
                </a:moveTo>
                <a:lnTo>
                  <a:pt x="342" y="178"/>
                </a:lnTo>
                <a:cubicBezTo>
                  <a:pt x="338" y="195"/>
                  <a:pt x="330" y="208"/>
                  <a:pt x="319" y="217"/>
                </a:cubicBezTo>
                <a:cubicBezTo>
                  <a:pt x="307" y="226"/>
                  <a:pt x="293" y="231"/>
                  <a:pt x="275" y="231"/>
                </a:cubicBezTo>
                <a:cubicBezTo>
                  <a:pt x="252" y="231"/>
                  <a:pt x="235" y="223"/>
                  <a:pt x="221" y="209"/>
                </a:cubicBezTo>
                <a:cubicBezTo>
                  <a:pt x="208" y="194"/>
                  <a:pt x="202" y="173"/>
                  <a:pt x="202" y="146"/>
                </a:cubicBezTo>
                <a:cubicBezTo>
                  <a:pt x="202" y="119"/>
                  <a:pt x="208" y="97"/>
                  <a:pt x="222" y="82"/>
                </a:cubicBezTo>
                <a:cubicBezTo>
                  <a:pt x="235" y="67"/>
                  <a:pt x="252" y="59"/>
                  <a:pt x="273" y="59"/>
                </a:cubicBezTo>
                <a:cubicBezTo>
                  <a:pt x="294" y="59"/>
                  <a:pt x="310" y="66"/>
                  <a:pt x="323" y="81"/>
                </a:cubicBezTo>
                <a:cubicBezTo>
                  <a:pt x="336" y="96"/>
                  <a:pt x="343" y="117"/>
                  <a:pt x="343" y="145"/>
                </a:cubicBezTo>
                <a:cubicBezTo>
                  <a:pt x="343" y="146"/>
                  <a:pt x="343" y="149"/>
                  <a:pt x="343" y="152"/>
                </a:cubicBezTo>
                <a:lnTo>
                  <a:pt x="228" y="152"/>
                </a:lnTo>
                <a:cubicBezTo>
                  <a:pt x="229" y="170"/>
                  <a:pt x="234" y="184"/>
                  <a:pt x="243" y="194"/>
                </a:cubicBezTo>
                <a:cubicBezTo>
                  <a:pt x="251" y="203"/>
                  <a:pt x="262" y="208"/>
                  <a:pt x="275" y="208"/>
                </a:cubicBezTo>
                <a:cubicBezTo>
                  <a:pt x="284" y="208"/>
                  <a:pt x="292" y="205"/>
                  <a:pt x="299" y="200"/>
                </a:cubicBezTo>
                <a:cubicBezTo>
                  <a:pt x="306" y="194"/>
                  <a:pt x="311" y="186"/>
                  <a:pt x="315" y="174"/>
                </a:cubicBezTo>
                <a:close/>
                <a:moveTo>
                  <a:pt x="230" y="129"/>
                </a:moveTo>
                <a:lnTo>
                  <a:pt x="315" y="129"/>
                </a:lnTo>
                <a:cubicBezTo>
                  <a:pt x="314" y="115"/>
                  <a:pt x="311" y="105"/>
                  <a:pt x="306" y="98"/>
                </a:cubicBezTo>
                <a:cubicBezTo>
                  <a:pt x="297" y="87"/>
                  <a:pt x="287" y="82"/>
                  <a:pt x="273" y="82"/>
                </a:cubicBezTo>
                <a:cubicBezTo>
                  <a:pt x="262" y="82"/>
                  <a:pt x="252" y="86"/>
                  <a:pt x="243" y="95"/>
                </a:cubicBezTo>
                <a:cubicBezTo>
                  <a:pt x="235" y="103"/>
                  <a:pt x="231" y="115"/>
                  <a:pt x="230" y="129"/>
                </a:cubicBezTo>
                <a:close/>
                <a:moveTo>
                  <a:pt x="415" y="227"/>
                </a:moveTo>
                <a:lnTo>
                  <a:pt x="357" y="63"/>
                </a:lnTo>
                <a:lnTo>
                  <a:pt x="385" y="63"/>
                </a:lnTo>
                <a:lnTo>
                  <a:pt x="418" y="161"/>
                </a:lnTo>
                <a:cubicBezTo>
                  <a:pt x="422" y="172"/>
                  <a:pt x="425" y="183"/>
                  <a:pt x="428" y="194"/>
                </a:cubicBezTo>
                <a:cubicBezTo>
                  <a:pt x="430" y="186"/>
                  <a:pt x="434" y="175"/>
                  <a:pt x="438" y="163"/>
                </a:cubicBezTo>
                <a:lnTo>
                  <a:pt x="472" y="63"/>
                </a:lnTo>
                <a:lnTo>
                  <a:pt x="499" y="63"/>
                </a:lnTo>
                <a:lnTo>
                  <a:pt x="440" y="227"/>
                </a:lnTo>
                <a:lnTo>
                  <a:pt x="415" y="227"/>
                </a:lnTo>
                <a:close/>
                <a:moveTo>
                  <a:pt x="622" y="174"/>
                </a:moveTo>
                <a:lnTo>
                  <a:pt x="649" y="178"/>
                </a:lnTo>
                <a:cubicBezTo>
                  <a:pt x="644" y="195"/>
                  <a:pt x="637" y="208"/>
                  <a:pt x="625" y="217"/>
                </a:cubicBezTo>
                <a:cubicBezTo>
                  <a:pt x="614" y="226"/>
                  <a:pt x="599" y="231"/>
                  <a:pt x="581" y="231"/>
                </a:cubicBezTo>
                <a:cubicBezTo>
                  <a:pt x="559" y="231"/>
                  <a:pt x="541" y="223"/>
                  <a:pt x="528" y="209"/>
                </a:cubicBezTo>
                <a:cubicBezTo>
                  <a:pt x="515" y="194"/>
                  <a:pt x="508" y="173"/>
                  <a:pt x="508" y="146"/>
                </a:cubicBezTo>
                <a:cubicBezTo>
                  <a:pt x="508" y="119"/>
                  <a:pt x="515" y="97"/>
                  <a:pt x="528" y="82"/>
                </a:cubicBezTo>
                <a:cubicBezTo>
                  <a:pt x="541" y="67"/>
                  <a:pt x="559" y="59"/>
                  <a:pt x="580" y="59"/>
                </a:cubicBezTo>
                <a:cubicBezTo>
                  <a:pt x="600" y="59"/>
                  <a:pt x="617" y="66"/>
                  <a:pt x="630" y="81"/>
                </a:cubicBezTo>
                <a:cubicBezTo>
                  <a:pt x="643" y="96"/>
                  <a:pt x="649" y="117"/>
                  <a:pt x="649" y="145"/>
                </a:cubicBezTo>
                <a:cubicBezTo>
                  <a:pt x="649" y="146"/>
                  <a:pt x="649" y="149"/>
                  <a:pt x="649" y="152"/>
                </a:cubicBezTo>
                <a:lnTo>
                  <a:pt x="535" y="152"/>
                </a:lnTo>
                <a:cubicBezTo>
                  <a:pt x="536" y="170"/>
                  <a:pt x="541" y="184"/>
                  <a:pt x="549" y="194"/>
                </a:cubicBezTo>
                <a:cubicBezTo>
                  <a:pt x="558" y="203"/>
                  <a:pt x="568" y="208"/>
                  <a:pt x="581" y="208"/>
                </a:cubicBezTo>
                <a:cubicBezTo>
                  <a:pt x="591" y="208"/>
                  <a:pt x="599" y="205"/>
                  <a:pt x="606" y="200"/>
                </a:cubicBezTo>
                <a:cubicBezTo>
                  <a:pt x="612" y="194"/>
                  <a:pt x="618" y="186"/>
                  <a:pt x="622" y="174"/>
                </a:cubicBezTo>
                <a:close/>
                <a:moveTo>
                  <a:pt x="536" y="129"/>
                </a:moveTo>
                <a:lnTo>
                  <a:pt x="622" y="129"/>
                </a:lnTo>
                <a:cubicBezTo>
                  <a:pt x="621" y="115"/>
                  <a:pt x="617" y="105"/>
                  <a:pt x="612" y="98"/>
                </a:cubicBezTo>
                <a:cubicBezTo>
                  <a:pt x="604" y="87"/>
                  <a:pt x="593" y="82"/>
                  <a:pt x="580" y="82"/>
                </a:cubicBezTo>
                <a:cubicBezTo>
                  <a:pt x="568" y="82"/>
                  <a:pt x="558" y="86"/>
                  <a:pt x="550" y="95"/>
                </a:cubicBezTo>
                <a:cubicBezTo>
                  <a:pt x="542" y="103"/>
                  <a:pt x="537" y="115"/>
                  <a:pt x="536" y="129"/>
                </a:cubicBezTo>
                <a:close/>
                <a:moveTo>
                  <a:pt x="681" y="227"/>
                </a:moveTo>
                <a:lnTo>
                  <a:pt x="681" y="0"/>
                </a:lnTo>
                <a:lnTo>
                  <a:pt x="707" y="0"/>
                </a:lnTo>
                <a:lnTo>
                  <a:pt x="707" y="227"/>
                </a:lnTo>
                <a:lnTo>
                  <a:pt x="681" y="227"/>
                </a:lnTo>
                <a:close/>
                <a:moveTo>
                  <a:pt x="737" y="145"/>
                </a:moveTo>
                <a:cubicBezTo>
                  <a:pt x="737" y="114"/>
                  <a:pt x="745" y="92"/>
                  <a:pt x="761" y="77"/>
                </a:cubicBezTo>
                <a:cubicBezTo>
                  <a:pt x="774" y="65"/>
                  <a:pt x="790" y="59"/>
                  <a:pt x="809" y="59"/>
                </a:cubicBezTo>
                <a:cubicBezTo>
                  <a:pt x="830" y="59"/>
                  <a:pt x="848" y="66"/>
                  <a:pt x="861" y="81"/>
                </a:cubicBezTo>
                <a:cubicBezTo>
                  <a:pt x="874" y="96"/>
                  <a:pt x="881" y="116"/>
                  <a:pt x="881" y="143"/>
                </a:cubicBezTo>
                <a:cubicBezTo>
                  <a:pt x="881" y="164"/>
                  <a:pt x="878" y="180"/>
                  <a:pt x="872" y="192"/>
                </a:cubicBezTo>
                <a:cubicBezTo>
                  <a:pt x="866" y="205"/>
                  <a:pt x="858" y="214"/>
                  <a:pt x="846" y="221"/>
                </a:cubicBezTo>
                <a:cubicBezTo>
                  <a:pt x="835" y="227"/>
                  <a:pt x="823" y="231"/>
                  <a:pt x="809" y="231"/>
                </a:cubicBezTo>
                <a:cubicBezTo>
                  <a:pt x="788" y="231"/>
                  <a:pt x="771" y="223"/>
                  <a:pt x="757" y="209"/>
                </a:cubicBezTo>
                <a:cubicBezTo>
                  <a:pt x="744" y="194"/>
                  <a:pt x="737" y="173"/>
                  <a:pt x="737" y="145"/>
                </a:cubicBezTo>
                <a:close/>
                <a:moveTo>
                  <a:pt x="764" y="145"/>
                </a:moveTo>
                <a:cubicBezTo>
                  <a:pt x="764" y="166"/>
                  <a:pt x="768" y="182"/>
                  <a:pt x="777" y="192"/>
                </a:cubicBezTo>
                <a:cubicBezTo>
                  <a:pt x="785" y="203"/>
                  <a:pt x="796" y="208"/>
                  <a:pt x="809" y="208"/>
                </a:cubicBezTo>
                <a:cubicBezTo>
                  <a:pt x="822" y="208"/>
                  <a:pt x="833" y="203"/>
                  <a:pt x="842" y="192"/>
                </a:cubicBezTo>
                <a:cubicBezTo>
                  <a:pt x="850" y="182"/>
                  <a:pt x="855" y="166"/>
                  <a:pt x="855" y="144"/>
                </a:cubicBezTo>
                <a:cubicBezTo>
                  <a:pt x="855" y="124"/>
                  <a:pt x="850" y="108"/>
                  <a:pt x="842" y="98"/>
                </a:cubicBezTo>
                <a:cubicBezTo>
                  <a:pt x="833" y="87"/>
                  <a:pt x="822" y="82"/>
                  <a:pt x="809" y="82"/>
                </a:cubicBezTo>
                <a:cubicBezTo>
                  <a:pt x="796" y="82"/>
                  <a:pt x="785" y="87"/>
                  <a:pt x="777" y="98"/>
                </a:cubicBezTo>
                <a:cubicBezTo>
                  <a:pt x="768" y="108"/>
                  <a:pt x="764" y="124"/>
                  <a:pt x="764" y="145"/>
                </a:cubicBezTo>
                <a:close/>
                <a:moveTo>
                  <a:pt x="912" y="290"/>
                </a:moveTo>
                <a:lnTo>
                  <a:pt x="912" y="63"/>
                </a:lnTo>
                <a:lnTo>
                  <a:pt x="935" y="63"/>
                </a:lnTo>
                <a:lnTo>
                  <a:pt x="935" y="84"/>
                </a:lnTo>
                <a:cubicBezTo>
                  <a:pt x="941" y="76"/>
                  <a:pt x="947" y="69"/>
                  <a:pt x="954" y="65"/>
                </a:cubicBezTo>
                <a:cubicBezTo>
                  <a:pt x="961" y="61"/>
                  <a:pt x="970" y="59"/>
                  <a:pt x="980" y="59"/>
                </a:cubicBezTo>
                <a:cubicBezTo>
                  <a:pt x="993" y="59"/>
                  <a:pt x="1004" y="63"/>
                  <a:pt x="1014" y="70"/>
                </a:cubicBezTo>
                <a:cubicBezTo>
                  <a:pt x="1024" y="77"/>
                  <a:pt x="1032" y="87"/>
                  <a:pt x="1037" y="100"/>
                </a:cubicBezTo>
                <a:cubicBezTo>
                  <a:pt x="1042" y="114"/>
                  <a:pt x="1045" y="128"/>
                  <a:pt x="1045" y="144"/>
                </a:cubicBezTo>
                <a:cubicBezTo>
                  <a:pt x="1045" y="160"/>
                  <a:pt x="1042" y="176"/>
                  <a:pt x="1036" y="189"/>
                </a:cubicBezTo>
                <a:cubicBezTo>
                  <a:pt x="1031" y="203"/>
                  <a:pt x="1023" y="213"/>
                  <a:pt x="1012" y="220"/>
                </a:cubicBezTo>
                <a:cubicBezTo>
                  <a:pt x="1001" y="227"/>
                  <a:pt x="990" y="231"/>
                  <a:pt x="978" y="231"/>
                </a:cubicBezTo>
                <a:cubicBezTo>
                  <a:pt x="969" y="231"/>
                  <a:pt x="962" y="229"/>
                  <a:pt x="955" y="225"/>
                </a:cubicBezTo>
                <a:cubicBezTo>
                  <a:pt x="948" y="221"/>
                  <a:pt x="942" y="216"/>
                  <a:pt x="938" y="210"/>
                </a:cubicBezTo>
                <a:lnTo>
                  <a:pt x="938" y="290"/>
                </a:lnTo>
                <a:lnTo>
                  <a:pt x="912" y="290"/>
                </a:lnTo>
                <a:close/>
                <a:moveTo>
                  <a:pt x="935" y="146"/>
                </a:moveTo>
                <a:cubicBezTo>
                  <a:pt x="935" y="167"/>
                  <a:pt x="939" y="183"/>
                  <a:pt x="947" y="193"/>
                </a:cubicBezTo>
                <a:cubicBezTo>
                  <a:pt x="955" y="203"/>
                  <a:pt x="965" y="208"/>
                  <a:pt x="976" y="208"/>
                </a:cubicBezTo>
                <a:cubicBezTo>
                  <a:pt x="988" y="208"/>
                  <a:pt x="998" y="203"/>
                  <a:pt x="1006" y="192"/>
                </a:cubicBezTo>
                <a:cubicBezTo>
                  <a:pt x="1014" y="182"/>
                  <a:pt x="1018" y="166"/>
                  <a:pt x="1018" y="144"/>
                </a:cubicBezTo>
                <a:cubicBezTo>
                  <a:pt x="1018" y="123"/>
                  <a:pt x="1014" y="107"/>
                  <a:pt x="1006" y="97"/>
                </a:cubicBezTo>
                <a:cubicBezTo>
                  <a:pt x="998" y="86"/>
                  <a:pt x="989" y="81"/>
                  <a:pt x="977" y="81"/>
                </a:cubicBezTo>
                <a:cubicBezTo>
                  <a:pt x="966" y="81"/>
                  <a:pt x="957" y="86"/>
                  <a:pt x="948" y="98"/>
                </a:cubicBezTo>
                <a:cubicBezTo>
                  <a:pt x="940" y="109"/>
                  <a:pt x="935" y="125"/>
                  <a:pt x="935" y="1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17" name="Freeform 57">
            <a:extLst>
              <a:ext uri="{FF2B5EF4-FFF2-40B4-BE49-F238E27FC236}">
                <a16:creationId xmlns:a16="http://schemas.microsoft.com/office/drawing/2014/main" id="{3B460446-23BD-430F-A026-08AB2FA02E95}"/>
              </a:ext>
            </a:extLst>
          </p:cNvPr>
          <p:cNvSpPr>
            <a:spLocks noEditPoints="1"/>
          </p:cNvSpPr>
          <p:nvPr/>
        </p:nvSpPr>
        <p:spPr bwMode="auto">
          <a:xfrm>
            <a:off x="5013326" y="5067301"/>
            <a:ext cx="533400" cy="82550"/>
          </a:xfrm>
          <a:custGeom>
            <a:avLst/>
            <a:gdLst>
              <a:gd name="T0" fmla="*/ 60 w 1483"/>
              <a:gd name="T1" fmla="*/ 149 h 231"/>
              <a:gd name="T2" fmla="*/ 153 w 1483"/>
              <a:gd name="T3" fmla="*/ 0 h 231"/>
              <a:gd name="T4" fmla="*/ 244 w 1483"/>
              <a:gd name="T5" fmla="*/ 0 h 231"/>
              <a:gd name="T6" fmla="*/ 142 w 1483"/>
              <a:gd name="T7" fmla="*/ 54 h 231"/>
              <a:gd name="T8" fmla="*/ 55 w 1483"/>
              <a:gd name="T9" fmla="*/ 227 h 231"/>
              <a:gd name="T10" fmla="*/ 291 w 1483"/>
              <a:gd name="T11" fmla="*/ 217 h 231"/>
              <a:gd name="T12" fmla="*/ 314 w 1483"/>
              <a:gd name="T13" fmla="*/ 136 h 231"/>
              <a:gd name="T14" fmla="*/ 377 w 1483"/>
              <a:gd name="T15" fmla="*/ 91 h 231"/>
              <a:gd name="T16" fmla="*/ 281 w 1483"/>
              <a:gd name="T17" fmla="*/ 110 h 231"/>
              <a:gd name="T18" fmla="*/ 383 w 1483"/>
              <a:gd name="T19" fmla="*/ 64 h 231"/>
              <a:gd name="T20" fmla="*/ 410 w 1483"/>
              <a:gd name="T21" fmla="*/ 158 h 231"/>
              <a:gd name="T22" fmla="*/ 386 w 1483"/>
              <a:gd name="T23" fmla="*/ 206 h 231"/>
              <a:gd name="T24" fmla="*/ 308 w 1483"/>
              <a:gd name="T25" fmla="*/ 170 h 231"/>
              <a:gd name="T26" fmla="*/ 362 w 1483"/>
              <a:gd name="T27" fmla="*/ 202 h 231"/>
              <a:gd name="T28" fmla="*/ 450 w 1483"/>
              <a:gd name="T29" fmla="*/ 227 h 231"/>
              <a:gd name="T30" fmla="*/ 490 w 1483"/>
              <a:gd name="T31" fmla="*/ 64 h 231"/>
              <a:gd name="T32" fmla="*/ 505 w 1483"/>
              <a:gd name="T33" fmla="*/ 88 h 231"/>
              <a:gd name="T34" fmla="*/ 476 w 1483"/>
              <a:gd name="T35" fmla="*/ 227 h 231"/>
              <a:gd name="T36" fmla="*/ 653 w 1483"/>
              <a:gd name="T37" fmla="*/ 217 h 231"/>
              <a:gd name="T38" fmla="*/ 556 w 1483"/>
              <a:gd name="T39" fmla="*/ 82 h 231"/>
              <a:gd name="T40" fmla="*/ 677 w 1483"/>
              <a:gd name="T41" fmla="*/ 152 h 231"/>
              <a:gd name="T42" fmla="*/ 633 w 1483"/>
              <a:gd name="T43" fmla="*/ 200 h 231"/>
              <a:gd name="T44" fmla="*/ 640 w 1483"/>
              <a:gd name="T45" fmla="*/ 98 h 231"/>
              <a:gd name="T46" fmla="*/ 709 w 1483"/>
              <a:gd name="T47" fmla="*/ 227 h 231"/>
              <a:gd name="T48" fmla="*/ 781 w 1483"/>
              <a:gd name="T49" fmla="*/ 59 h 231"/>
              <a:gd name="T50" fmla="*/ 833 w 1483"/>
              <a:gd name="T51" fmla="*/ 227 h 231"/>
              <a:gd name="T52" fmla="*/ 775 w 1483"/>
              <a:gd name="T53" fmla="*/ 83 h 231"/>
              <a:gd name="T54" fmla="*/ 735 w 1483"/>
              <a:gd name="T55" fmla="*/ 227 h 231"/>
              <a:gd name="T56" fmla="*/ 936 w 1483"/>
              <a:gd name="T57" fmla="*/ 59 h 231"/>
              <a:gd name="T58" fmla="*/ 973 w 1483"/>
              <a:gd name="T59" fmla="*/ 220 h 231"/>
              <a:gd name="T60" fmla="*/ 890 w 1483"/>
              <a:gd name="T61" fmla="*/ 145 h 231"/>
              <a:gd name="T62" fmla="*/ 981 w 1483"/>
              <a:gd name="T63" fmla="*/ 144 h 231"/>
              <a:gd name="T64" fmla="*/ 890 w 1483"/>
              <a:gd name="T65" fmla="*/ 145 h 231"/>
              <a:gd name="T66" fmla="*/ 1064 w 1483"/>
              <a:gd name="T67" fmla="*/ 225 h 231"/>
              <a:gd name="T68" fmla="*/ 1037 w 1483"/>
              <a:gd name="T69" fmla="*/ 62 h 231"/>
              <a:gd name="T70" fmla="*/ 1075 w 1483"/>
              <a:gd name="T71" fmla="*/ 200 h 231"/>
              <a:gd name="T72" fmla="*/ 1136 w 1483"/>
              <a:gd name="T73" fmla="*/ 150 h 231"/>
              <a:gd name="T74" fmla="*/ 1138 w 1483"/>
              <a:gd name="T75" fmla="*/ 227 h 231"/>
              <a:gd name="T76" fmla="*/ 1258 w 1483"/>
              <a:gd name="T77" fmla="*/ 208 h 231"/>
              <a:gd name="T78" fmla="*/ 1259 w 1483"/>
              <a:gd name="T79" fmla="*/ 157 h 231"/>
              <a:gd name="T80" fmla="*/ 1201 w 1483"/>
              <a:gd name="T81" fmla="*/ 86 h 231"/>
              <a:gd name="T82" fmla="*/ 1285 w 1483"/>
              <a:gd name="T83" fmla="*/ 64 h 231"/>
              <a:gd name="T84" fmla="*/ 1278 w 1483"/>
              <a:gd name="T85" fmla="*/ 89 h 231"/>
              <a:gd name="T86" fmla="*/ 1225 w 1483"/>
              <a:gd name="T87" fmla="*/ 113 h 231"/>
              <a:gd name="T88" fmla="*/ 1313 w 1483"/>
              <a:gd name="T89" fmla="*/ 155 h 231"/>
              <a:gd name="T90" fmla="*/ 1258 w 1483"/>
              <a:gd name="T91" fmla="*/ 231 h 231"/>
              <a:gd name="T92" fmla="*/ 1482 w 1483"/>
              <a:gd name="T93" fmla="*/ 178 h 231"/>
              <a:gd name="T94" fmla="*/ 1342 w 1483"/>
              <a:gd name="T95" fmla="*/ 146 h 231"/>
              <a:gd name="T96" fmla="*/ 1483 w 1483"/>
              <a:gd name="T97" fmla="*/ 144 h 231"/>
              <a:gd name="T98" fmla="*/ 1415 w 1483"/>
              <a:gd name="T99" fmla="*/ 208 h 231"/>
              <a:gd name="T100" fmla="*/ 1455 w 1483"/>
              <a:gd name="T101" fmla="*/ 129 h 231"/>
              <a:gd name="T102" fmla="*/ 1370 w 1483"/>
              <a:gd name="T103" fmla="*/ 129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83" h="231">
                <a:moveTo>
                  <a:pt x="55" y="227"/>
                </a:moveTo>
                <a:lnTo>
                  <a:pt x="0" y="0"/>
                </a:lnTo>
                <a:lnTo>
                  <a:pt x="29" y="0"/>
                </a:lnTo>
                <a:lnTo>
                  <a:pt x="60" y="149"/>
                </a:lnTo>
                <a:cubicBezTo>
                  <a:pt x="64" y="164"/>
                  <a:pt x="67" y="180"/>
                  <a:pt x="69" y="195"/>
                </a:cubicBezTo>
                <a:cubicBezTo>
                  <a:pt x="75" y="171"/>
                  <a:pt x="78" y="157"/>
                  <a:pt x="79" y="153"/>
                </a:cubicBezTo>
                <a:lnTo>
                  <a:pt x="119" y="0"/>
                </a:lnTo>
                <a:lnTo>
                  <a:pt x="153" y="0"/>
                </a:lnTo>
                <a:lnTo>
                  <a:pt x="183" y="115"/>
                </a:lnTo>
                <a:cubicBezTo>
                  <a:pt x="191" y="143"/>
                  <a:pt x="196" y="170"/>
                  <a:pt x="200" y="195"/>
                </a:cubicBezTo>
                <a:cubicBezTo>
                  <a:pt x="203" y="181"/>
                  <a:pt x="206" y="164"/>
                  <a:pt x="211" y="146"/>
                </a:cubicBezTo>
                <a:lnTo>
                  <a:pt x="244" y="0"/>
                </a:lnTo>
                <a:lnTo>
                  <a:pt x="272" y="0"/>
                </a:lnTo>
                <a:lnTo>
                  <a:pt x="214" y="227"/>
                </a:lnTo>
                <a:lnTo>
                  <a:pt x="187" y="227"/>
                </a:lnTo>
                <a:lnTo>
                  <a:pt x="142" y="54"/>
                </a:lnTo>
                <a:cubicBezTo>
                  <a:pt x="139" y="39"/>
                  <a:pt x="136" y="30"/>
                  <a:pt x="135" y="27"/>
                </a:cubicBezTo>
                <a:cubicBezTo>
                  <a:pt x="133" y="38"/>
                  <a:pt x="131" y="46"/>
                  <a:pt x="129" y="54"/>
                </a:cubicBezTo>
                <a:lnTo>
                  <a:pt x="85" y="227"/>
                </a:lnTo>
                <a:lnTo>
                  <a:pt x="55" y="227"/>
                </a:lnTo>
                <a:close/>
                <a:moveTo>
                  <a:pt x="386" y="206"/>
                </a:moveTo>
                <a:cubicBezTo>
                  <a:pt x="376" y="215"/>
                  <a:pt x="367" y="221"/>
                  <a:pt x="358" y="225"/>
                </a:cubicBezTo>
                <a:cubicBezTo>
                  <a:pt x="349" y="229"/>
                  <a:pt x="340" y="231"/>
                  <a:pt x="329" y="231"/>
                </a:cubicBezTo>
                <a:cubicBezTo>
                  <a:pt x="313" y="231"/>
                  <a:pt x="300" y="226"/>
                  <a:pt x="291" y="217"/>
                </a:cubicBezTo>
                <a:cubicBezTo>
                  <a:pt x="281" y="209"/>
                  <a:pt x="277" y="197"/>
                  <a:pt x="277" y="184"/>
                </a:cubicBezTo>
                <a:cubicBezTo>
                  <a:pt x="277" y="176"/>
                  <a:pt x="279" y="168"/>
                  <a:pt x="282" y="161"/>
                </a:cubicBezTo>
                <a:cubicBezTo>
                  <a:pt x="286" y="155"/>
                  <a:pt x="290" y="150"/>
                  <a:pt x="296" y="146"/>
                </a:cubicBezTo>
                <a:cubicBezTo>
                  <a:pt x="301" y="141"/>
                  <a:pt x="307" y="138"/>
                  <a:pt x="314" y="136"/>
                </a:cubicBezTo>
                <a:cubicBezTo>
                  <a:pt x="319" y="135"/>
                  <a:pt x="327" y="134"/>
                  <a:pt x="337" y="132"/>
                </a:cubicBezTo>
                <a:cubicBezTo>
                  <a:pt x="358" y="130"/>
                  <a:pt x="374" y="126"/>
                  <a:pt x="384" y="123"/>
                </a:cubicBezTo>
                <a:cubicBezTo>
                  <a:pt x="384" y="119"/>
                  <a:pt x="384" y="116"/>
                  <a:pt x="384" y="115"/>
                </a:cubicBezTo>
                <a:cubicBezTo>
                  <a:pt x="384" y="104"/>
                  <a:pt x="382" y="96"/>
                  <a:pt x="377" y="91"/>
                </a:cubicBezTo>
                <a:cubicBezTo>
                  <a:pt x="370" y="85"/>
                  <a:pt x="360" y="82"/>
                  <a:pt x="347" y="82"/>
                </a:cubicBezTo>
                <a:cubicBezTo>
                  <a:pt x="335" y="82"/>
                  <a:pt x="326" y="84"/>
                  <a:pt x="320" y="89"/>
                </a:cubicBezTo>
                <a:cubicBezTo>
                  <a:pt x="314" y="93"/>
                  <a:pt x="310" y="102"/>
                  <a:pt x="307" y="113"/>
                </a:cubicBezTo>
                <a:lnTo>
                  <a:pt x="281" y="110"/>
                </a:lnTo>
                <a:cubicBezTo>
                  <a:pt x="284" y="98"/>
                  <a:pt x="287" y="88"/>
                  <a:pt x="293" y="81"/>
                </a:cubicBezTo>
                <a:cubicBezTo>
                  <a:pt x="298" y="74"/>
                  <a:pt x="306" y="69"/>
                  <a:pt x="316" y="65"/>
                </a:cubicBezTo>
                <a:cubicBezTo>
                  <a:pt x="326" y="61"/>
                  <a:pt x="338" y="59"/>
                  <a:pt x="351" y="59"/>
                </a:cubicBezTo>
                <a:cubicBezTo>
                  <a:pt x="364" y="59"/>
                  <a:pt x="375" y="60"/>
                  <a:pt x="383" y="64"/>
                </a:cubicBezTo>
                <a:cubicBezTo>
                  <a:pt x="391" y="67"/>
                  <a:pt x="397" y="71"/>
                  <a:pt x="401" y="76"/>
                </a:cubicBezTo>
                <a:cubicBezTo>
                  <a:pt x="405" y="81"/>
                  <a:pt x="407" y="88"/>
                  <a:pt x="409" y="95"/>
                </a:cubicBezTo>
                <a:cubicBezTo>
                  <a:pt x="410" y="100"/>
                  <a:pt x="410" y="109"/>
                  <a:pt x="410" y="121"/>
                </a:cubicBezTo>
                <a:lnTo>
                  <a:pt x="410" y="158"/>
                </a:lnTo>
                <a:cubicBezTo>
                  <a:pt x="410" y="184"/>
                  <a:pt x="411" y="200"/>
                  <a:pt x="412" y="207"/>
                </a:cubicBezTo>
                <a:cubicBezTo>
                  <a:pt x="413" y="214"/>
                  <a:pt x="415" y="221"/>
                  <a:pt x="418" y="227"/>
                </a:cubicBezTo>
                <a:lnTo>
                  <a:pt x="391" y="227"/>
                </a:lnTo>
                <a:cubicBezTo>
                  <a:pt x="389" y="221"/>
                  <a:pt x="387" y="214"/>
                  <a:pt x="386" y="206"/>
                </a:cubicBezTo>
                <a:close/>
                <a:moveTo>
                  <a:pt x="384" y="144"/>
                </a:moveTo>
                <a:cubicBezTo>
                  <a:pt x="375" y="149"/>
                  <a:pt x="360" y="152"/>
                  <a:pt x="341" y="155"/>
                </a:cubicBezTo>
                <a:cubicBezTo>
                  <a:pt x="331" y="157"/>
                  <a:pt x="323" y="158"/>
                  <a:pt x="319" y="161"/>
                </a:cubicBezTo>
                <a:cubicBezTo>
                  <a:pt x="314" y="163"/>
                  <a:pt x="311" y="166"/>
                  <a:pt x="308" y="170"/>
                </a:cubicBezTo>
                <a:cubicBezTo>
                  <a:pt x="306" y="173"/>
                  <a:pt x="305" y="178"/>
                  <a:pt x="305" y="183"/>
                </a:cubicBezTo>
                <a:cubicBezTo>
                  <a:pt x="305" y="190"/>
                  <a:pt x="307" y="196"/>
                  <a:pt x="313" y="201"/>
                </a:cubicBezTo>
                <a:cubicBezTo>
                  <a:pt x="318" y="206"/>
                  <a:pt x="326" y="209"/>
                  <a:pt x="336" y="209"/>
                </a:cubicBezTo>
                <a:cubicBezTo>
                  <a:pt x="346" y="209"/>
                  <a:pt x="355" y="206"/>
                  <a:pt x="362" y="202"/>
                </a:cubicBezTo>
                <a:cubicBezTo>
                  <a:pt x="370" y="197"/>
                  <a:pt x="376" y="191"/>
                  <a:pt x="380" y="182"/>
                </a:cubicBezTo>
                <a:cubicBezTo>
                  <a:pt x="382" y="176"/>
                  <a:pt x="384" y="167"/>
                  <a:pt x="384" y="155"/>
                </a:cubicBezTo>
                <a:lnTo>
                  <a:pt x="384" y="144"/>
                </a:lnTo>
                <a:close/>
                <a:moveTo>
                  <a:pt x="450" y="227"/>
                </a:moveTo>
                <a:lnTo>
                  <a:pt x="450" y="62"/>
                </a:lnTo>
                <a:lnTo>
                  <a:pt x="473" y="62"/>
                </a:lnTo>
                <a:lnTo>
                  <a:pt x="473" y="88"/>
                </a:lnTo>
                <a:cubicBezTo>
                  <a:pt x="479" y="76"/>
                  <a:pt x="485" y="68"/>
                  <a:pt x="490" y="64"/>
                </a:cubicBezTo>
                <a:cubicBezTo>
                  <a:pt x="495" y="61"/>
                  <a:pt x="501" y="59"/>
                  <a:pt x="507" y="59"/>
                </a:cubicBezTo>
                <a:cubicBezTo>
                  <a:pt x="515" y="59"/>
                  <a:pt x="524" y="62"/>
                  <a:pt x="533" y="68"/>
                </a:cubicBezTo>
                <a:lnTo>
                  <a:pt x="524" y="93"/>
                </a:lnTo>
                <a:cubicBezTo>
                  <a:pt x="518" y="90"/>
                  <a:pt x="512" y="88"/>
                  <a:pt x="505" y="88"/>
                </a:cubicBezTo>
                <a:cubicBezTo>
                  <a:pt x="500" y="88"/>
                  <a:pt x="494" y="90"/>
                  <a:pt x="490" y="93"/>
                </a:cubicBezTo>
                <a:cubicBezTo>
                  <a:pt x="486" y="97"/>
                  <a:pt x="482" y="102"/>
                  <a:pt x="480" y="108"/>
                </a:cubicBezTo>
                <a:cubicBezTo>
                  <a:pt x="477" y="118"/>
                  <a:pt x="476" y="129"/>
                  <a:pt x="476" y="141"/>
                </a:cubicBezTo>
                <a:lnTo>
                  <a:pt x="476" y="227"/>
                </a:lnTo>
                <a:lnTo>
                  <a:pt x="450" y="227"/>
                </a:lnTo>
                <a:close/>
                <a:moveTo>
                  <a:pt x="649" y="174"/>
                </a:moveTo>
                <a:lnTo>
                  <a:pt x="676" y="178"/>
                </a:lnTo>
                <a:cubicBezTo>
                  <a:pt x="672" y="194"/>
                  <a:pt x="664" y="207"/>
                  <a:pt x="653" y="217"/>
                </a:cubicBezTo>
                <a:cubicBezTo>
                  <a:pt x="641" y="226"/>
                  <a:pt x="627" y="231"/>
                  <a:pt x="609" y="231"/>
                </a:cubicBezTo>
                <a:cubicBezTo>
                  <a:pt x="586" y="231"/>
                  <a:pt x="569" y="223"/>
                  <a:pt x="555" y="208"/>
                </a:cubicBezTo>
                <a:cubicBezTo>
                  <a:pt x="542" y="194"/>
                  <a:pt x="536" y="173"/>
                  <a:pt x="536" y="146"/>
                </a:cubicBezTo>
                <a:cubicBezTo>
                  <a:pt x="536" y="118"/>
                  <a:pt x="542" y="97"/>
                  <a:pt x="556" y="82"/>
                </a:cubicBezTo>
                <a:cubicBezTo>
                  <a:pt x="569" y="66"/>
                  <a:pt x="586" y="59"/>
                  <a:pt x="607" y="59"/>
                </a:cubicBezTo>
                <a:cubicBezTo>
                  <a:pt x="628" y="59"/>
                  <a:pt x="644" y="66"/>
                  <a:pt x="657" y="81"/>
                </a:cubicBezTo>
                <a:cubicBezTo>
                  <a:pt x="670" y="96"/>
                  <a:pt x="677" y="117"/>
                  <a:pt x="677" y="144"/>
                </a:cubicBezTo>
                <a:cubicBezTo>
                  <a:pt x="677" y="146"/>
                  <a:pt x="677" y="149"/>
                  <a:pt x="677" y="152"/>
                </a:cubicBezTo>
                <a:lnTo>
                  <a:pt x="562" y="152"/>
                </a:lnTo>
                <a:cubicBezTo>
                  <a:pt x="563" y="170"/>
                  <a:pt x="568" y="184"/>
                  <a:pt x="577" y="193"/>
                </a:cubicBezTo>
                <a:cubicBezTo>
                  <a:pt x="585" y="203"/>
                  <a:pt x="596" y="208"/>
                  <a:pt x="609" y="208"/>
                </a:cubicBezTo>
                <a:cubicBezTo>
                  <a:pt x="618" y="208"/>
                  <a:pt x="626" y="205"/>
                  <a:pt x="633" y="200"/>
                </a:cubicBezTo>
                <a:cubicBezTo>
                  <a:pt x="640" y="194"/>
                  <a:pt x="645" y="186"/>
                  <a:pt x="649" y="174"/>
                </a:cubicBezTo>
                <a:close/>
                <a:moveTo>
                  <a:pt x="564" y="129"/>
                </a:moveTo>
                <a:lnTo>
                  <a:pt x="649" y="129"/>
                </a:lnTo>
                <a:cubicBezTo>
                  <a:pt x="648" y="115"/>
                  <a:pt x="645" y="105"/>
                  <a:pt x="640" y="98"/>
                </a:cubicBezTo>
                <a:cubicBezTo>
                  <a:pt x="631" y="87"/>
                  <a:pt x="621" y="82"/>
                  <a:pt x="607" y="82"/>
                </a:cubicBezTo>
                <a:cubicBezTo>
                  <a:pt x="596" y="82"/>
                  <a:pt x="586" y="86"/>
                  <a:pt x="577" y="94"/>
                </a:cubicBezTo>
                <a:cubicBezTo>
                  <a:pt x="569" y="103"/>
                  <a:pt x="565" y="115"/>
                  <a:pt x="564" y="129"/>
                </a:cubicBezTo>
                <a:close/>
                <a:moveTo>
                  <a:pt x="709" y="227"/>
                </a:moveTo>
                <a:lnTo>
                  <a:pt x="709" y="0"/>
                </a:lnTo>
                <a:lnTo>
                  <a:pt x="735" y="0"/>
                </a:lnTo>
                <a:lnTo>
                  <a:pt x="735" y="82"/>
                </a:lnTo>
                <a:cubicBezTo>
                  <a:pt x="747" y="66"/>
                  <a:pt x="762" y="59"/>
                  <a:pt x="781" y="59"/>
                </a:cubicBezTo>
                <a:cubicBezTo>
                  <a:pt x="792" y="59"/>
                  <a:pt x="802" y="61"/>
                  <a:pt x="810" y="66"/>
                </a:cubicBezTo>
                <a:cubicBezTo>
                  <a:pt x="819" y="71"/>
                  <a:pt x="824" y="77"/>
                  <a:pt x="828" y="86"/>
                </a:cubicBezTo>
                <a:cubicBezTo>
                  <a:pt x="832" y="94"/>
                  <a:pt x="833" y="107"/>
                  <a:pt x="833" y="123"/>
                </a:cubicBezTo>
                <a:lnTo>
                  <a:pt x="833" y="227"/>
                </a:lnTo>
                <a:lnTo>
                  <a:pt x="807" y="227"/>
                </a:lnTo>
                <a:lnTo>
                  <a:pt x="807" y="123"/>
                </a:lnTo>
                <a:cubicBezTo>
                  <a:pt x="807" y="109"/>
                  <a:pt x="805" y="99"/>
                  <a:pt x="799" y="92"/>
                </a:cubicBezTo>
                <a:cubicBezTo>
                  <a:pt x="793" y="86"/>
                  <a:pt x="786" y="83"/>
                  <a:pt x="775" y="83"/>
                </a:cubicBezTo>
                <a:cubicBezTo>
                  <a:pt x="768" y="83"/>
                  <a:pt x="760" y="85"/>
                  <a:pt x="754" y="89"/>
                </a:cubicBezTo>
                <a:cubicBezTo>
                  <a:pt x="747" y="94"/>
                  <a:pt x="742" y="99"/>
                  <a:pt x="739" y="107"/>
                </a:cubicBezTo>
                <a:cubicBezTo>
                  <a:pt x="736" y="114"/>
                  <a:pt x="735" y="124"/>
                  <a:pt x="735" y="137"/>
                </a:cubicBezTo>
                <a:lnTo>
                  <a:pt x="735" y="227"/>
                </a:lnTo>
                <a:lnTo>
                  <a:pt x="709" y="227"/>
                </a:lnTo>
                <a:close/>
                <a:moveTo>
                  <a:pt x="864" y="145"/>
                </a:moveTo>
                <a:cubicBezTo>
                  <a:pt x="864" y="114"/>
                  <a:pt x="872" y="92"/>
                  <a:pt x="887" y="77"/>
                </a:cubicBezTo>
                <a:cubicBezTo>
                  <a:pt x="901" y="65"/>
                  <a:pt x="917" y="59"/>
                  <a:pt x="936" y="59"/>
                </a:cubicBezTo>
                <a:cubicBezTo>
                  <a:pt x="957" y="59"/>
                  <a:pt x="974" y="66"/>
                  <a:pt x="987" y="81"/>
                </a:cubicBezTo>
                <a:cubicBezTo>
                  <a:pt x="1001" y="96"/>
                  <a:pt x="1007" y="116"/>
                  <a:pt x="1007" y="142"/>
                </a:cubicBezTo>
                <a:cubicBezTo>
                  <a:pt x="1007" y="163"/>
                  <a:pt x="1004" y="180"/>
                  <a:pt x="999" y="192"/>
                </a:cubicBezTo>
                <a:cubicBezTo>
                  <a:pt x="993" y="204"/>
                  <a:pt x="984" y="214"/>
                  <a:pt x="973" y="220"/>
                </a:cubicBezTo>
                <a:cubicBezTo>
                  <a:pt x="961" y="227"/>
                  <a:pt x="949" y="231"/>
                  <a:pt x="936" y="231"/>
                </a:cubicBezTo>
                <a:cubicBezTo>
                  <a:pt x="914" y="231"/>
                  <a:pt x="897" y="223"/>
                  <a:pt x="884" y="208"/>
                </a:cubicBezTo>
                <a:cubicBezTo>
                  <a:pt x="870" y="194"/>
                  <a:pt x="864" y="172"/>
                  <a:pt x="864" y="145"/>
                </a:cubicBezTo>
                <a:close/>
                <a:moveTo>
                  <a:pt x="890" y="145"/>
                </a:moveTo>
                <a:cubicBezTo>
                  <a:pt x="890" y="166"/>
                  <a:pt x="895" y="182"/>
                  <a:pt x="903" y="192"/>
                </a:cubicBezTo>
                <a:cubicBezTo>
                  <a:pt x="912" y="202"/>
                  <a:pt x="923" y="208"/>
                  <a:pt x="936" y="208"/>
                </a:cubicBezTo>
                <a:cubicBezTo>
                  <a:pt x="949" y="208"/>
                  <a:pt x="959" y="202"/>
                  <a:pt x="968" y="192"/>
                </a:cubicBezTo>
                <a:cubicBezTo>
                  <a:pt x="977" y="181"/>
                  <a:pt x="981" y="165"/>
                  <a:pt x="981" y="144"/>
                </a:cubicBezTo>
                <a:cubicBezTo>
                  <a:pt x="981" y="123"/>
                  <a:pt x="976" y="108"/>
                  <a:pt x="968" y="98"/>
                </a:cubicBezTo>
                <a:cubicBezTo>
                  <a:pt x="959" y="87"/>
                  <a:pt x="948" y="82"/>
                  <a:pt x="936" y="82"/>
                </a:cubicBezTo>
                <a:cubicBezTo>
                  <a:pt x="923" y="82"/>
                  <a:pt x="912" y="87"/>
                  <a:pt x="903" y="98"/>
                </a:cubicBezTo>
                <a:cubicBezTo>
                  <a:pt x="895" y="108"/>
                  <a:pt x="890" y="124"/>
                  <a:pt x="890" y="145"/>
                </a:cubicBezTo>
                <a:close/>
                <a:moveTo>
                  <a:pt x="1138" y="227"/>
                </a:moveTo>
                <a:lnTo>
                  <a:pt x="1138" y="203"/>
                </a:lnTo>
                <a:cubicBezTo>
                  <a:pt x="1126" y="221"/>
                  <a:pt x="1110" y="231"/>
                  <a:pt x="1090" y="231"/>
                </a:cubicBezTo>
                <a:cubicBezTo>
                  <a:pt x="1081" y="231"/>
                  <a:pt x="1072" y="229"/>
                  <a:pt x="1064" y="225"/>
                </a:cubicBezTo>
                <a:cubicBezTo>
                  <a:pt x="1057" y="221"/>
                  <a:pt x="1051" y="217"/>
                  <a:pt x="1047" y="211"/>
                </a:cubicBezTo>
                <a:cubicBezTo>
                  <a:pt x="1043" y="205"/>
                  <a:pt x="1040" y="198"/>
                  <a:pt x="1039" y="190"/>
                </a:cubicBezTo>
                <a:cubicBezTo>
                  <a:pt x="1038" y="185"/>
                  <a:pt x="1037" y="176"/>
                  <a:pt x="1037" y="164"/>
                </a:cubicBezTo>
                <a:lnTo>
                  <a:pt x="1037" y="62"/>
                </a:lnTo>
                <a:lnTo>
                  <a:pt x="1063" y="62"/>
                </a:lnTo>
                <a:lnTo>
                  <a:pt x="1063" y="153"/>
                </a:lnTo>
                <a:cubicBezTo>
                  <a:pt x="1063" y="168"/>
                  <a:pt x="1064" y="178"/>
                  <a:pt x="1065" y="183"/>
                </a:cubicBezTo>
                <a:cubicBezTo>
                  <a:pt x="1067" y="190"/>
                  <a:pt x="1070" y="196"/>
                  <a:pt x="1075" y="200"/>
                </a:cubicBezTo>
                <a:cubicBezTo>
                  <a:pt x="1081" y="204"/>
                  <a:pt x="1087" y="206"/>
                  <a:pt x="1095" y="206"/>
                </a:cubicBezTo>
                <a:cubicBezTo>
                  <a:pt x="1103" y="206"/>
                  <a:pt x="1110" y="204"/>
                  <a:pt x="1117" y="200"/>
                </a:cubicBezTo>
                <a:cubicBezTo>
                  <a:pt x="1124" y="196"/>
                  <a:pt x="1128" y="190"/>
                  <a:pt x="1131" y="182"/>
                </a:cubicBezTo>
                <a:cubicBezTo>
                  <a:pt x="1134" y="175"/>
                  <a:pt x="1136" y="164"/>
                  <a:pt x="1136" y="150"/>
                </a:cubicBezTo>
                <a:lnTo>
                  <a:pt x="1136" y="62"/>
                </a:lnTo>
                <a:lnTo>
                  <a:pt x="1162" y="62"/>
                </a:lnTo>
                <a:lnTo>
                  <a:pt x="1162" y="227"/>
                </a:lnTo>
                <a:lnTo>
                  <a:pt x="1138" y="227"/>
                </a:lnTo>
                <a:close/>
                <a:moveTo>
                  <a:pt x="1192" y="178"/>
                </a:moveTo>
                <a:lnTo>
                  <a:pt x="1218" y="173"/>
                </a:lnTo>
                <a:cubicBezTo>
                  <a:pt x="1219" y="184"/>
                  <a:pt x="1223" y="193"/>
                  <a:pt x="1230" y="199"/>
                </a:cubicBezTo>
                <a:cubicBezTo>
                  <a:pt x="1237" y="205"/>
                  <a:pt x="1246" y="208"/>
                  <a:pt x="1258" y="208"/>
                </a:cubicBezTo>
                <a:cubicBezTo>
                  <a:pt x="1270" y="208"/>
                  <a:pt x="1278" y="205"/>
                  <a:pt x="1284" y="200"/>
                </a:cubicBezTo>
                <a:cubicBezTo>
                  <a:pt x="1290" y="195"/>
                  <a:pt x="1293" y="189"/>
                  <a:pt x="1293" y="181"/>
                </a:cubicBezTo>
                <a:cubicBezTo>
                  <a:pt x="1293" y="175"/>
                  <a:pt x="1290" y="170"/>
                  <a:pt x="1285" y="167"/>
                </a:cubicBezTo>
                <a:cubicBezTo>
                  <a:pt x="1282" y="164"/>
                  <a:pt x="1273" y="161"/>
                  <a:pt x="1259" y="157"/>
                </a:cubicBezTo>
                <a:cubicBezTo>
                  <a:pt x="1240" y="152"/>
                  <a:pt x="1226" y="148"/>
                  <a:pt x="1219" y="144"/>
                </a:cubicBezTo>
                <a:cubicBezTo>
                  <a:pt x="1212" y="140"/>
                  <a:pt x="1206" y="135"/>
                  <a:pt x="1202" y="128"/>
                </a:cubicBezTo>
                <a:cubicBezTo>
                  <a:pt x="1198" y="122"/>
                  <a:pt x="1197" y="114"/>
                  <a:pt x="1197" y="106"/>
                </a:cubicBezTo>
                <a:cubicBezTo>
                  <a:pt x="1197" y="99"/>
                  <a:pt x="1198" y="92"/>
                  <a:pt x="1201" y="86"/>
                </a:cubicBezTo>
                <a:cubicBezTo>
                  <a:pt x="1204" y="80"/>
                  <a:pt x="1209" y="74"/>
                  <a:pt x="1214" y="70"/>
                </a:cubicBezTo>
                <a:cubicBezTo>
                  <a:pt x="1218" y="67"/>
                  <a:pt x="1224" y="64"/>
                  <a:pt x="1231" y="62"/>
                </a:cubicBezTo>
                <a:cubicBezTo>
                  <a:pt x="1238" y="60"/>
                  <a:pt x="1245" y="59"/>
                  <a:pt x="1253" y="59"/>
                </a:cubicBezTo>
                <a:cubicBezTo>
                  <a:pt x="1265" y="59"/>
                  <a:pt x="1276" y="61"/>
                  <a:pt x="1285" y="64"/>
                </a:cubicBezTo>
                <a:cubicBezTo>
                  <a:pt x="1294" y="68"/>
                  <a:pt x="1300" y="73"/>
                  <a:pt x="1305" y="80"/>
                </a:cubicBezTo>
                <a:cubicBezTo>
                  <a:pt x="1309" y="86"/>
                  <a:pt x="1312" y="94"/>
                  <a:pt x="1314" y="105"/>
                </a:cubicBezTo>
                <a:lnTo>
                  <a:pt x="1288" y="109"/>
                </a:lnTo>
                <a:cubicBezTo>
                  <a:pt x="1287" y="100"/>
                  <a:pt x="1284" y="94"/>
                  <a:pt x="1278" y="89"/>
                </a:cubicBezTo>
                <a:cubicBezTo>
                  <a:pt x="1273" y="84"/>
                  <a:pt x="1265" y="82"/>
                  <a:pt x="1255" y="82"/>
                </a:cubicBezTo>
                <a:cubicBezTo>
                  <a:pt x="1243" y="82"/>
                  <a:pt x="1234" y="84"/>
                  <a:pt x="1229" y="88"/>
                </a:cubicBezTo>
                <a:cubicBezTo>
                  <a:pt x="1224" y="92"/>
                  <a:pt x="1222" y="97"/>
                  <a:pt x="1222" y="103"/>
                </a:cubicBezTo>
                <a:cubicBezTo>
                  <a:pt x="1222" y="106"/>
                  <a:pt x="1223" y="110"/>
                  <a:pt x="1225" y="113"/>
                </a:cubicBezTo>
                <a:cubicBezTo>
                  <a:pt x="1227" y="116"/>
                  <a:pt x="1230" y="118"/>
                  <a:pt x="1235" y="120"/>
                </a:cubicBezTo>
                <a:cubicBezTo>
                  <a:pt x="1237" y="121"/>
                  <a:pt x="1245" y="123"/>
                  <a:pt x="1258" y="127"/>
                </a:cubicBezTo>
                <a:cubicBezTo>
                  <a:pt x="1276" y="132"/>
                  <a:pt x="1289" y="137"/>
                  <a:pt x="1296" y="140"/>
                </a:cubicBezTo>
                <a:cubicBezTo>
                  <a:pt x="1303" y="143"/>
                  <a:pt x="1309" y="148"/>
                  <a:pt x="1313" y="155"/>
                </a:cubicBezTo>
                <a:cubicBezTo>
                  <a:pt x="1318" y="161"/>
                  <a:pt x="1320" y="169"/>
                  <a:pt x="1320" y="179"/>
                </a:cubicBezTo>
                <a:cubicBezTo>
                  <a:pt x="1320" y="188"/>
                  <a:pt x="1317" y="197"/>
                  <a:pt x="1312" y="205"/>
                </a:cubicBezTo>
                <a:cubicBezTo>
                  <a:pt x="1307" y="213"/>
                  <a:pt x="1300" y="219"/>
                  <a:pt x="1290" y="224"/>
                </a:cubicBezTo>
                <a:cubicBezTo>
                  <a:pt x="1281" y="228"/>
                  <a:pt x="1270" y="231"/>
                  <a:pt x="1258" y="231"/>
                </a:cubicBezTo>
                <a:cubicBezTo>
                  <a:pt x="1238" y="231"/>
                  <a:pt x="1223" y="226"/>
                  <a:pt x="1212" y="217"/>
                </a:cubicBezTo>
                <a:cubicBezTo>
                  <a:pt x="1202" y="208"/>
                  <a:pt x="1195" y="195"/>
                  <a:pt x="1192" y="178"/>
                </a:cubicBezTo>
                <a:close/>
                <a:moveTo>
                  <a:pt x="1455" y="174"/>
                </a:moveTo>
                <a:lnTo>
                  <a:pt x="1482" y="178"/>
                </a:lnTo>
                <a:cubicBezTo>
                  <a:pt x="1478" y="194"/>
                  <a:pt x="1470" y="207"/>
                  <a:pt x="1459" y="217"/>
                </a:cubicBezTo>
                <a:cubicBezTo>
                  <a:pt x="1447" y="226"/>
                  <a:pt x="1432" y="231"/>
                  <a:pt x="1415" y="231"/>
                </a:cubicBezTo>
                <a:cubicBezTo>
                  <a:pt x="1392" y="231"/>
                  <a:pt x="1375" y="223"/>
                  <a:pt x="1361" y="208"/>
                </a:cubicBezTo>
                <a:cubicBezTo>
                  <a:pt x="1348" y="194"/>
                  <a:pt x="1342" y="173"/>
                  <a:pt x="1342" y="146"/>
                </a:cubicBezTo>
                <a:cubicBezTo>
                  <a:pt x="1342" y="118"/>
                  <a:pt x="1348" y="97"/>
                  <a:pt x="1362" y="82"/>
                </a:cubicBezTo>
                <a:cubicBezTo>
                  <a:pt x="1375" y="66"/>
                  <a:pt x="1392" y="59"/>
                  <a:pt x="1413" y="59"/>
                </a:cubicBezTo>
                <a:cubicBezTo>
                  <a:pt x="1434" y="59"/>
                  <a:pt x="1450" y="66"/>
                  <a:pt x="1463" y="81"/>
                </a:cubicBezTo>
                <a:cubicBezTo>
                  <a:pt x="1476" y="96"/>
                  <a:pt x="1483" y="117"/>
                  <a:pt x="1483" y="144"/>
                </a:cubicBezTo>
                <a:cubicBezTo>
                  <a:pt x="1483" y="146"/>
                  <a:pt x="1483" y="149"/>
                  <a:pt x="1483" y="152"/>
                </a:cubicBezTo>
                <a:lnTo>
                  <a:pt x="1368" y="152"/>
                </a:lnTo>
                <a:cubicBezTo>
                  <a:pt x="1369" y="170"/>
                  <a:pt x="1374" y="184"/>
                  <a:pt x="1383" y="193"/>
                </a:cubicBezTo>
                <a:cubicBezTo>
                  <a:pt x="1391" y="203"/>
                  <a:pt x="1402" y="208"/>
                  <a:pt x="1415" y="208"/>
                </a:cubicBezTo>
                <a:cubicBezTo>
                  <a:pt x="1424" y="208"/>
                  <a:pt x="1432" y="205"/>
                  <a:pt x="1439" y="200"/>
                </a:cubicBezTo>
                <a:cubicBezTo>
                  <a:pt x="1446" y="194"/>
                  <a:pt x="1451" y="186"/>
                  <a:pt x="1455" y="174"/>
                </a:cubicBezTo>
                <a:close/>
                <a:moveTo>
                  <a:pt x="1370" y="129"/>
                </a:moveTo>
                <a:lnTo>
                  <a:pt x="1455" y="129"/>
                </a:lnTo>
                <a:cubicBezTo>
                  <a:pt x="1454" y="115"/>
                  <a:pt x="1451" y="105"/>
                  <a:pt x="1446" y="98"/>
                </a:cubicBezTo>
                <a:cubicBezTo>
                  <a:pt x="1437" y="87"/>
                  <a:pt x="1427" y="82"/>
                  <a:pt x="1413" y="82"/>
                </a:cubicBezTo>
                <a:cubicBezTo>
                  <a:pt x="1401" y="82"/>
                  <a:pt x="1391" y="86"/>
                  <a:pt x="1383" y="94"/>
                </a:cubicBezTo>
                <a:cubicBezTo>
                  <a:pt x="1375" y="103"/>
                  <a:pt x="1371" y="115"/>
                  <a:pt x="1370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18" name="Freeform 58">
            <a:extLst>
              <a:ext uri="{FF2B5EF4-FFF2-40B4-BE49-F238E27FC236}">
                <a16:creationId xmlns:a16="http://schemas.microsoft.com/office/drawing/2014/main" id="{7644308B-D7B5-45C4-A94A-22DC5FAB374C}"/>
              </a:ext>
            </a:extLst>
          </p:cNvPr>
          <p:cNvSpPr>
            <a:spLocks noEditPoints="1"/>
          </p:cNvSpPr>
          <p:nvPr/>
        </p:nvSpPr>
        <p:spPr bwMode="auto">
          <a:xfrm>
            <a:off x="1271588" y="4049713"/>
            <a:ext cx="381000" cy="196850"/>
          </a:xfrm>
          <a:custGeom>
            <a:avLst/>
            <a:gdLst>
              <a:gd name="T0" fmla="*/ 140 w 1058"/>
              <a:gd name="T1" fmla="*/ 179 h 549"/>
              <a:gd name="T2" fmla="*/ 138 w 1058"/>
              <a:gd name="T3" fmla="*/ 228 h 549"/>
              <a:gd name="T4" fmla="*/ 167 w 1058"/>
              <a:gd name="T5" fmla="*/ 545 h 549"/>
              <a:gd name="T6" fmla="*/ 195 w 1058"/>
              <a:gd name="T7" fmla="*/ 345 h 549"/>
              <a:gd name="T8" fmla="*/ 195 w 1058"/>
              <a:gd name="T9" fmla="*/ 441 h 549"/>
              <a:gd name="T10" fmla="*/ 167 w 1058"/>
              <a:gd name="T11" fmla="*/ 545 h 549"/>
              <a:gd name="T12" fmla="*/ 344 w 1058"/>
              <a:gd name="T13" fmla="*/ 381 h 549"/>
              <a:gd name="T14" fmla="*/ 383 w 1058"/>
              <a:gd name="T15" fmla="*/ 321 h 549"/>
              <a:gd name="T16" fmla="*/ 414 w 1058"/>
              <a:gd name="T17" fmla="*/ 340 h 549"/>
              <a:gd name="T18" fmla="*/ 423 w 1058"/>
              <a:gd name="T19" fmla="*/ 381 h 549"/>
              <a:gd name="T20" fmla="*/ 367 w 1058"/>
              <a:gd name="T21" fmla="*/ 545 h 549"/>
              <a:gd name="T22" fmla="*/ 426 w 1058"/>
              <a:gd name="T23" fmla="*/ 381 h 549"/>
              <a:gd name="T24" fmla="*/ 465 w 1058"/>
              <a:gd name="T25" fmla="*/ 321 h 549"/>
              <a:gd name="T26" fmla="*/ 497 w 1058"/>
              <a:gd name="T27" fmla="*/ 340 h 549"/>
              <a:gd name="T28" fmla="*/ 505 w 1058"/>
              <a:gd name="T29" fmla="*/ 381 h 549"/>
              <a:gd name="T30" fmla="*/ 449 w 1058"/>
              <a:gd name="T31" fmla="*/ 545 h 549"/>
              <a:gd name="T32" fmla="*/ 582 w 1058"/>
              <a:gd name="T33" fmla="*/ 549 h 549"/>
              <a:gd name="T34" fmla="*/ 581 w 1058"/>
              <a:gd name="T35" fmla="*/ 377 h 549"/>
              <a:gd name="T36" fmla="*/ 536 w 1058"/>
              <a:gd name="T37" fmla="*/ 470 h 549"/>
              <a:gd name="T38" fmla="*/ 623 w 1058"/>
              <a:gd name="T39" fmla="*/ 492 h 549"/>
              <a:gd name="T40" fmla="*/ 581 w 1058"/>
              <a:gd name="T41" fmla="*/ 400 h 549"/>
              <a:gd name="T42" fmla="*/ 808 w 1058"/>
              <a:gd name="T43" fmla="*/ 489 h 549"/>
              <a:gd name="T44" fmla="*/ 675 w 1058"/>
              <a:gd name="T45" fmla="*/ 464 h 549"/>
              <a:gd name="T46" fmla="*/ 785 w 1058"/>
              <a:gd name="T47" fmla="*/ 391 h 549"/>
              <a:gd name="T48" fmla="*/ 746 w 1058"/>
              <a:gd name="T49" fmla="*/ 400 h 549"/>
              <a:gd name="T50" fmla="*/ 744 w 1058"/>
              <a:gd name="T51" fmla="*/ 526 h 549"/>
              <a:gd name="T52" fmla="*/ 890 w 1058"/>
              <a:gd name="T53" fmla="*/ 545 h 549"/>
              <a:gd name="T54" fmla="*/ 835 w 1058"/>
              <a:gd name="T55" fmla="*/ 497 h 549"/>
              <a:gd name="T56" fmla="*/ 835 w 1058"/>
              <a:gd name="T57" fmla="*/ 381 h 549"/>
              <a:gd name="T58" fmla="*/ 887 w 1058"/>
              <a:gd name="T59" fmla="*/ 381 h 549"/>
              <a:gd name="T60" fmla="*/ 862 w 1058"/>
              <a:gd name="T61" fmla="*/ 514 h 549"/>
              <a:gd name="T62" fmla="*/ 315 w 1058"/>
              <a:gd name="T63" fmla="*/ 174 h 549"/>
              <a:gd name="T64" fmla="*/ 221 w 1058"/>
              <a:gd name="T65" fmla="*/ 209 h 549"/>
              <a:gd name="T66" fmla="*/ 323 w 1058"/>
              <a:gd name="T67" fmla="*/ 82 h 549"/>
              <a:gd name="T68" fmla="*/ 243 w 1058"/>
              <a:gd name="T69" fmla="*/ 194 h 549"/>
              <a:gd name="T70" fmla="*/ 230 w 1058"/>
              <a:gd name="T71" fmla="*/ 130 h 549"/>
              <a:gd name="T72" fmla="*/ 243 w 1058"/>
              <a:gd name="T73" fmla="*/ 95 h 549"/>
              <a:gd name="T74" fmla="*/ 415 w 1058"/>
              <a:gd name="T75" fmla="*/ 230 h 549"/>
              <a:gd name="T76" fmla="*/ 379 w 1058"/>
              <a:gd name="T77" fmla="*/ 85 h 549"/>
              <a:gd name="T78" fmla="*/ 379 w 1058"/>
              <a:gd name="T79" fmla="*/ 22 h 549"/>
              <a:gd name="T80" fmla="*/ 431 w 1058"/>
              <a:gd name="T81" fmla="*/ 85 h 549"/>
              <a:gd name="T82" fmla="*/ 411 w 1058"/>
              <a:gd name="T83" fmla="*/ 202 h 549"/>
              <a:gd name="T84" fmla="*/ 438 w 1058"/>
              <a:gd name="T85" fmla="*/ 63 h 549"/>
              <a:gd name="T86" fmla="*/ 507 w 1058"/>
              <a:gd name="T87" fmla="*/ 160 h 549"/>
              <a:gd name="T88" fmla="*/ 588 w 1058"/>
              <a:gd name="T89" fmla="*/ 190 h 549"/>
              <a:gd name="T90" fmla="*/ 601 w 1058"/>
              <a:gd name="T91" fmla="*/ 228 h 549"/>
              <a:gd name="T92" fmla="*/ 512 w 1058"/>
              <a:gd name="T93" fmla="*/ 228 h 549"/>
              <a:gd name="T94" fmla="*/ 730 w 1058"/>
              <a:gd name="T95" fmla="*/ 60 h 549"/>
              <a:gd name="T96" fmla="*/ 767 w 1058"/>
              <a:gd name="T97" fmla="*/ 221 h 549"/>
              <a:gd name="T98" fmla="*/ 685 w 1058"/>
              <a:gd name="T99" fmla="*/ 145 h 549"/>
              <a:gd name="T100" fmla="*/ 775 w 1058"/>
              <a:gd name="T101" fmla="*/ 145 h 549"/>
              <a:gd name="T102" fmla="*/ 685 w 1058"/>
              <a:gd name="T103" fmla="*/ 145 h 549"/>
              <a:gd name="T104" fmla="*/ 855 w 1058"/>
              <a:gd name="T105" fmla="*/ 88 h 549"/>
              <a:gd name="T106" fmla="*/ 906 w 1058"/>
              <a:gd name="T107" fmla="*/ 94 h 549"/>
              <a:gd name="T108" fmla="*/ 858 w 1058"/>
              <a:gd name="T109" fmla="*/ 142 h 549"/>
              <a:gd name="T110" fmla="*/ 931 w 1058"/>
              <a:gd name="T111" fmla="*/ 0 h 549"/>
              <a:gd name="T112" fmla="*/ 1052 w 1058"/>
              <a:gd name="T113" fmla="*/ 63 h 549"/>
              <a:gd name="T114" fmla="*/ 975 w 1058"/>
              <a:gd name="T115" fmla="*/ 144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58" h="549">
                <a:moveTo>
                  <a:pt x="0" y="228"/>
                </a:moveTo>
                <a:lnTo>
                  <a:pt x="0" y="0"/>
                </a:lnTo>
                <a:lnTo>
                  <a:pt x="28" y="0"/>
                </a:lnTo>
                <a:lnTo>
                  <a:pt x="140" y="179"/>
                </a:lnTo>
                <a:lnTo>
                  <a:pt x="140" y="0"/>
                </a:lnTo>
                <a:lnTo>
                  <a:pt x="167" y="0"/>
                </a:lnTo>
                <a:lnTo>
                  <a:pt x="167" y="228"/>
                </a:lnTo>
                <a:lnTo>
                  <a:pt x="138" y="228"/>
                </a:lnTo>
                <a:lnTo>
                  <a:pt x="27" y="49"/>
                </a:lnTo>
                <a:lnTo>
                  <a:pt x="27" y="228"/>
                </a:lnTo>
                <a:lnTo>
                  <a:pt x="0" y="228"/>
                </a:lnTo>
                <a:close/>
                <a:moveTo>
                  <a:pt x="167" y="545"/>
                </a:moveTo>
                <a:lnTo>
                  <a:pt x="167" y="318"/>
                </a:lnTo>
                <a:lnTo>
                  <a:pt x="320" y="318"/>
                </a:lnTo>
                <a:lnTo>
                  <a:pt x="320" y="345"/>
                </a:lnTo>
                <a:lnTo>
                  <a:pt x="195" y="345"/>
                </a:lnTo>
                <a:lnTo>
                  <a:pt x="195" y="414"/>
                </a:lnTo>
                <a:lnTo>
                  <a:pt x="312" y="414"/>
                </a:lnTo>
                <a:lnTo>
                  <a:pt x="312" y="441"/>
                </a:lnTo>
                <a:lnTo>
                  <a:pt x="195" y="441"/>
                </a:lnTo>
                <a:lnTo>
                  <a:pt x="195" y="519"/>
                </a:lnTo>
                <a:lnTo>
                  <a:pt x="325" y="519"/>
                </a:lnTo>
                <a:lnTo>
                  <a:pt x="325" y="545"/>
                </a:lnTo>
                <a:lnTo>
                  <a:pt x="167" y="545"/>
                </a:lnTo>
                <a:close/>
                <a:moveTo>
                  <a:pt x="367" y="545"/>
                </a:moveTo>
                <a:lnTo>
                  <a:pt x="367" y="402"/>
                </a:lnTo>
                <a:lnTo>
                  <a:pt x="344" y="402"/>
                </a:lnTo>
                <a:lnTo>
                  <a:pt x="344" y="381"/>
                </a:lnTo>
                <a:lnTo>
                  <a:pt x="367" y="381"/>
                </a:lnTo>
                <a:lnTo>
                  <a:pt x="367" y="363"/>
                </a:lnTo>
                <a:cubicBezTo>
                  <a:pt x="367" y="352"/>
                  <a:pt x="368" y="344"/>
                  <a:pt x="370" y="338"/>
                </a:cubicBezTo>
                <a:cubicBezTo>
                  <a:pt x="372" y="331"/>
                  <a:pt x="377" y="325"/>
                  <a:pt x="383" y="321"/>
                </a:cubicBezTo>
                <a:cubicBezTo>
                  <a:pt x="389" y="316"/>
                  <a:pt x="398" y="314"/>
                  <a:pt x="409" y="314"/>
                </a:cubicBezTo>
                <a:cubicBezTo>
                  <a:pt x="417" y="314"/>
                  <a:pt x="425" y="315"/>
                  <a:pt x="434" y="317"/>
                </a:cubicBezTo>
                <a:lnTo>
                  <a:pt x="430" y="341"/>
                </a:lnTo>
                <a:cubicBezTo>
                  <a:pt x="424" y="340"/>
                  <a:pt x="419" y="340"/>
                  <a:pt x="414" y="340"/>
                </a:cubicBezTo>
                <a:cubicBezTo>
                  <a:pt x="407" y="340"/>
                  <a:pt x="401" y="342"/>
                  <a:pt x="398" y="345"/>
                </a:cubicBezTo>
                <a:cubicBezTo>
                  <a:pt x="394" y="349"/>
                  <a:pt x="393" y="356"/>
                  <a:pt x="393" y="365"/>
                </a:cubicBezTo>
                <a:lnTo>
                  <a:pt x="393" y="381"/>
                </a:lnTo>
                <a:lnTo>
                  <a:pt x="423" y="381"/>
                </a:lnTo>
                <a:lnTo>
                  <a:pt x="423" y="402"/>
                </a:lnTo>
                <a:lnTo>
                  <a:pt x="393" y="402"/>
                </a:lnTo>
                <a:lnTo>
                  <a:pt x="393" y="545"/>
                </a:lnTo>
                <a:lnTo>
                  <a:pt x="367" y="545"/>
                </a:lnTo>
                <a:close/>
                <a:moveTo>
                  <a:pt x="449" y="545"/>
                </a:moveTo>
                <a:lnTo>
                  <a:pt x="449" y="402"/>
                </a:lnTo>
                <a:lnTo>
                  <a:pt x="426" y="402"/>
                </a:lnTo>
                <a:lnTo>
                  <a:pt x="426" y="381"/>
                </a:lnTo>
                <a:lnTo>
                  <a:pt x="449" y="381"/>
                </a:lnTo>
                <a:lnTo>
                  <a:pt x="449" y="363"/>
                </a:lnTo>
                <a:cubicBezTo>
                  <a:pt x="449" y="352"/>
                  <a:pt x="450" y="344"/>
                  <a:pt x="452" y="338"/>
                </a:cubicBezTo>
                <a:cubicBezTo>
                  <a:pt x="454" y="331"/>
                  <a:pt x="459" y="325"/>
                  <a:pt x="465" y="321"/>
                </a:cubicBezTo>
                <a:cubicBezTo>
                  <a:pt x="471" y="316"/>
                  <a:pt x="480" y="314"/>
                  <a:pt x="492" y="314"/>
                </a:cubicBezTo>
                <a:cubicBezTo>
                  <a:pt x="499" y="314"/>
                  <a:pt x="507" y="315"/>
                  <a:pt x="516" y="317"/>
                </a:cubicBezTo>
                <a:lnTo>
                  <a:pt x="512" y="341"/>
                </a:lnTo>
                <a:cubicBezTo>
                  <a:pt x="507" y="340"/>
                  <a:pt x="501" y="340"/>
                  <a:pt x="497" y="340"/>
                </a:cubicBezTo>
                <a:cubicBezTo>
                  <a:pt x="489" y="340"/>
                  <a:pt x="483" y="342"/>
                  <a:pt x="480" y="345"/>
                </a:cubicBezTo>
                <a:cubicBezTo>
                  <a:pt x="477" y="349"/>
                  <a:pt x="475" y="356"/>
                  <a:pt x="475" y="365"/>
                </a:cubicBezTo>
                <a:lnTo>
                  <a:pt x="475" y="381"/>
                </a:lnTo>
                <a:lnTo>
                  <a:pt x="505" y="381"/>
                </a:lnTo>
                <a:lnTo>
                  <a:pt x="505" y="402"/>
                </a:lnTo>
                <a:lnTo>
                  <a:pt x="475" y="402"/>
                </a:lnTo>
                <a:lnTo>
                  <a:pt x="475" y="545"/>
                </a:lnTo>
                <a:lnTo>
                  <a:pt x="449" y="545"/>
                </a:lnTo>
                <a:close/>
                <a:moveTo>
                  <a:pt x="623" y="492"/>
                </a:moveTo>
                <a:lnTo>
                  <a:pt x="649" y="496"/>
                </a:lnTo>
                <a:cubicBezTo>
                  <a:pt x="645" y="513"/>
                  <a:pt x="637" y="526"/>
                  <a:pt x="626" y="535"/>
                </a:cubicBezTo>
                <a:cubicBezTo>
                  <a:pt x="615" y="544"/>
                  <a:pt x="600" y="549"/>
                  <a:pt x="582" y="549"/>
                </a:cubicBezTo>
                <a:cubicBezTo>
                  <a:pt x="560" y="549"/>
                  <a:pt x="542" y="541"/>
                  <a:pt x="529" y="527"/>
                </a:cubicBezTo>
                <a:cubicBezTo>
                  <a:pt x="516" y="512"/>
                  <a:pt x="509" y="491"/>
                  <a:pt x="509" y="464"/>
                </a:cubicBezTo>
                <a:cubicBezTo>
                  <a:pt x="509" y="437"/>
                  <a:pt x="516" y="415"/>
                  <a:pt x="529" y="400"/>
                </a:cubicBezTo>
                <a:cubicBezTo>
                  <a:pt x="542" y="385"/>
                  <a:pt x="560" y="377"/>
                  <a:pt x="581" y="377"/>
                </a:cubicBezTo>
                <a:cubicBezTo>
                  <a:pt x="601" y="377"/>
                  <a:pt x="618" y="384"/>
                  <a:pt x="631" y="399"/>
                </a:cubicBezTo>
                <a:cubicBezTo>
                  <a:pt x="644" y="414"/>
                  <a:pt x="650" y="435"/>
                  <a:pt x="650" y="463"/>
                </a:cubicBezTo>
                <a:cubicBezTo>
                  <a:pt x="650" y="464"/>
                  <a:pt x="650" y="467"/>
                  <a:pt x="650" y="470"/>
                </a:cubicBezTo>
                <a:lnTo>
                  <a:pt x="536" y="470"/>
                </a:lnTo>
                <a:cubicBezTo>
                  <a:pt x="537" y="488"/>
                  <a:pt x="542" y="502"/>
                  <a:pt x="550" y="512"/>
                </a:cubicBezTo>
                <a:cubicBezTo>
                  <a:pt x="559" y="521"/>
                  <a:pt x="569" y="526"/>
                  <a:pt x="582" y="526"/>
                </a:cubicBezTo>
                <a:cubicBezTo>
                  <a:pt x="592" y="526"/>
                  <a:pt x="600" y="523"/>
                  <a:pt x="606" y="518"/>
                </a:cubicBezTo>
                <a:cubicBezTo>
                  <a:pt x="613" y="512"/>
                  <a:pt x="619" y="504"/>
                  <a:pt x="623" y="492"/>
                </a:cubicBezTo>
                <a:close/>
                <a:moveTo>
                  <a:pt x="537" y="447"/>
                </a:moveTo>
                <a:lnTo>
                  <a:pt x="623" y="447"/>
                </a:lnTo>
                <a:cubicBezTo>
                  <a:pt x="622" y="433"/>
                  <a:pt x="618" y="423"/>
                  <a:pt x="613" y="416"/>
                </a:cubicBezTo>
                <a:cubicBezTo>
                  <a:pt x="605" y="405"/>
                  <a:pt x="594" y="400"/>
                  <a:pt x="581" y="400"/>
                </a:cubicBezTo>
                <a:cubicBezTo>
                  <a:pt x="569" y="400"/>
                  <a:pt x="559" y="404"/>
                  <a:pt x="551" y="413"/>
                </a:cubicBezTo>
                <a:cubicBezTo>
                  <a:pt x="543" y="421"/>
                  <a:pt x="538" y="433"/>
                  <a:pt x="537" y="447"/>
                </a:cubicBezTo>
                <a:close/>
                <a:moveTo>
                  <a:pt x="783" y="485"/>
                </a:moveTo>
                <a:lnTo>
                  <a:pt x="808" y="489"/>
                </a:lnTo>
                <a:cubicBezTo>
                  <a:pt x="805" y="508"/>
                  <a:pt x="798" y="522"/>
                  <a:pt x="787" y="533"/>
                </a:cubicBezTo>
                <a:cubicBezTo>
                  <a:pt x="775" y="543"/>
                  <a:pt x="761" y="549"/>
                  <a:pt x="744" y="549"/>
                </a:cubicBezTo>
                <a:cubicBezTo>
                  <a:pt x="723" y="549"/>
                  <a:pt x="706" y="541"/>
                  <a:pt x="694" y="527"/>
                </a:cubicBezTo>
                <a:cubicBezTo>
                  <a:pt x="681" y="512"/>
                  <a:pt x="675" y="491"/>
                  <a:pt x="675" y="464"/>
                </a:cubicBezTo>
                <a:cubicBezTo>
                  <a:pt x="675" y="446"/>
                  <a:pt x="677" y="430"/>
                  <a:pt x="683" y="417"/>
                </a:cubicBezTo>
                <a:cubicBezTo>
                  <a:pt x="688" y="404"/>
                  <a:pt x="697" y="394"/>
                  <a:pt x="708" y="387"/>
                </a:cubicBezTo>
                <a:cubicBezTo>
                  <a:pt x="719" y="380"/>
                  <a:pt x="731" y="377"/>
                  <a:pt x="744" y="377"/>
                </a:cubicBezTo>
                <a:cubicBezTo>
                  <a:pt x="761" y="377"/>
                  <a:pt x="775" y="382"/>
                  <a:pt x="785" y="391"/>
                </a:cubicBezTo>
                <a:cubicBezTo>
                  <a:pt x="796" y="400"/>
                  <a:pt x="803" y="412"/>
                  <a:pt x="806" y="429"/>
                </a:cubicBezTo>
                <a:lnTo>
                  <a:pt x="781" y="433"/>
                </a:lnTo>
                <a:cubicBezTo>
                  <a:pt x="778" y="422"/>
                  <a:pt x="774" y="414"/>
                  <a:pt x="768" y="408"/>
                </a:cubicBezTo>
                <a:cubicBezTo>
                  <a:pt x="762" y="403"/>
                  <a:pt x="754" y="400"/>
                  <a:pt x="746" y="400"/>
                </a:cubicBezTo>
                <a:cubicBezTo>
                  <a:pt x="732" y="400"/>
                  <a:pt x="722" y="405"/>
                  <a:pt x="714" y="415"/>
                </a:cubicBezTo>
                <a:cubicBezTo>
                  <a:pt x="705" y="425"/>
                  <a:pt x="701" y="441"/>
                  <a:pt x="701" y="463"/>
                </a:cubicBezTo>
                <a:cubicBezTo>
                  <a:pt x="701" y="485"/>
                  <a:pt x="705" y="501"/>
                  <a:pt x="713" y="511"/>
                </a:cubicBezTo>
                <a:cubicBezTo>
                  <a:pt x="721" y="521"/>
                  <a:pt x="731" y="526"/>
                  <a:pt x="744" y="526"/>
                </a:cubicBezTo>
                <a:cubicBezTo>
                  <a:pt x="754" y="526"/>
                  <a:pt x="763" y="523"/>
                  <a:pt x="770" y="516"/>
                </a:cubicBezTo>
                <a:cubicBezTo>
                  <a:pt x="776" y="509"/>
                  <a:pt x="781" y="499"/>
                  <a:pt x="783" y="485"/>
                </a:cubicBezTo>
                <a:close/>
                <a:moveTo>
                  <a:pt x="887" y="520"/>
                </a:moveTo>
                <a:lnTo>
                  <a:pt x="890" y="545"/>
                </a:lnTo>
                <a:cubicBezTo>
                  <a:pt x="883" y="547"/>
                  <a:pt x="876" y="548"/>
                  <a:pt x="871" y="548"/>
                </a:cubicBezTo>
                <a:cubicBezTo>
                  <a:pt x="861" y="548"/>
                  <a:pt x="854" y="546"/>
                  <a:pt x="849" y="543"/>
                </a:cubicBezTo>
                <a:cubicBezTo>
                  <a:pt x="844" y="539"/>
                  <a:pt x="840" y="535"/>
                  <a:pt x="838" y="530"/>
                </a:cubicBezTo>
                <a:cubicBezTo>
                  <a:pt x="836" y="525"/>
                  <a:pt x="835" y="514"/>
                  <a:pt x="835" y="497"/>
                </a:cubicBezTo>
                <a:lnTo>
                  <a:pt x="835" y="402"/>
                </a:lnTo>
                <a:lnTo>
                  <a:pt x="815" y="402"/>
                </a:lnTo>
                <a:lnTo>
                  <a:pt x="815" y="381"/>
                </a:lnTo>
                <a:lnTo>
                  <a:pt x="835" y="381"/>
                </a:lnTo>
                <a:lnTo>
                  <a:pt x="835" y="340"/>
                </a:lnTo>
                <a:lnTo>
                  <a:pt x="861" y="323"/>
                </a:lnTo>
                <a:lnTo>
                  <a:pt x="861" y="381"/>
                </a:lnTo>
                <a:lnTo>
                  <a:pt x="887" y="381"/>
                </a:lnTo>
                <a:lnTo>
                  <a:pt x="887" y="402"/>
                </a:lnTo>
                <a:lnTo>
                  <a:pt x="861" y="402"/>
                </a:lnTo>
                <a:lnTo>
                  <a:pt x="861" y="499"/>
                </a:lnTo>
                <a:cubicBezTo>
                  <a:pt x="861" y="507"/>
                  <a:pt x="861" y="512"/>
                  <a:pt x="862" y="514"/>
                </a:cubicBezTo>
                <a:cubicBezTo>
                  <a:pt x="863" y="516"/>
                  <a:pt x="864" y="518"/>
                  <a:pt x="866" y="519"/>
                </a:cubicBezTo>
                <a:cubicBezTo>
                  <a:pt x="869" y="521"/>
                  <a:pt x="872" y="521"/>
                  <a:pt x="875" y="521"/>
                </a:cubicBezTo>
                <a:cubicBezTo>
                  <a:pt x="878" y="521"/>
                  <a:pt x="882" y="521"/>
                  <a:pt x="887" y="520"/>
                </a:cubicBezTo>
                <a:close/>
                <a:moveTo>
                  <a:pt x="315" y="174"/>
                </a:moveTo>
                <a:lnTo>
                  <a:pt x="342" y="178"/>
                </a:lnTo>
                <a:cubicBezTo>
                  <a:pt x="338" y="195"/>
                  <a:pt x="330" y="208"/>
                  <a:pt x="319" y="217"/>
                </a:cubicBezTo>
                <a:cubicBezTo>
                  <a:pt x="307" y="227"/>
                  <a:pt x="293" y="231"/>
                  <a:pt x="275" y="231"/>
                </a:cubicBezTo>
                <a:cubicBezTo>
                  <a:pt x="252" y="231"/>
                  <a:pt x="235" y="224"/>
                  <a:pt x="221" y="209"/>
                </a:cubicBezTo>
                <a:cubicBezTo>
                  <a:pt x="208" y="194"/>
                  <a:pt x="202" y="173"/>
                  <a:pt x="202" y="147"/>
                </a:cubicBezTo>
                <a:cubicBezTo>
                  <a:pt x="202" y="119"/>
                  <a:pt x="208" y="98"/>
                  <a:pt x="222" y="82"/>
                </a:cubicBezTo>
                <a:cubicBezTo>
                  <a:pt x="235" y="67"/>
                  <a:pt x="252" y="60"/>
                  <a:pt x="273" y="60"/>
                </a:cubicBezTo>
                <a:cubicBezTo>
                  <a:pt x="294" y="60"/>
                  <a:pt x="310" y="67"/>
                  <a:pt x="323" y="82"/>
                </a:cubicBezTo>
                <a:cubicBezTo>
                  <a:pt x="336" y="97"/>
                  <a:pt x="343" y="118"/>
                  <a:pt x="343" y="145"/>
                </a:cubicBezTo>
                <a:cubicBezTo>
                  <a:pt x="343" y="147"/>
                  <a:pt x="343" y="149"/>
                  <a:pt x="343" y="153"/>
                </a:cubicBezTo>
                <a:lnTo>
                  <a:pt x="228" y="153"/>
                </a:lnTo>
                <a:cubicBezTo>
                  <a:pt x="229" y="171"/>
                  <a:pt x="234" y="184"/>
                  <a:pt x="243" y="194"/>
                </a:cubicBezTo>
                <a:cubicBezTo>
                  <a:pt x="251" y="204"/>
                  <a:pt x="262" y="208"/>
                  <a:pt x="275" y="208"/>
                </a:cubicBezTo>
                <a:cubicBezTo>
                  <a:pt x="284" y="208"/>
                  <a:pt x="292" y="206"/>
                  <a:pt x="299" y="200"/>
                </a:cubicBezTo>
                <a:cubicBezTo>
                  <a:pt x="306" y="195"/>
                  <a:pt x="311" y="186"/>
                  <a:pt x="315" y="174"/>
                </a:cubicBezTo>
                <a:close/>
                <a:moveTo>
                  <a:pt x="230" y="130"/>
                </a:moveTo>
                <a:lnTo>
                  <a:pt x="315" y="130"/>
                </a:lnTo>
                <a:cubicBezTo>
                  <a:pt x="314" y="116"/>
                  <a:pt x="311" y="105"/>
                  <a:pt x="306" y="99"/>
                </a:cubicBezTo>
                <a:cubicBezTo>
                  <a:pt x="297" y="88"/>
                  <a:pt x="287" y="82"/>
                  <a:pt x="273" y="82"/>
                </a:cubicBezTo>
                <a:cubicBezTo>
                  <a:pt x="262" y="82"/>
                  <a:pt x="251" y="87"/>
                  <a:pt x="243" y="95"/>
                </a:cubicBezTo>
                <a:cubicBezTo>
                  <a:pt x="235" y="104"/>
                  <a:pt x="231" y="115"/>
                  <a:pt x="230" y="130"/>
                </a:cubicBezTo>
                <a:close/>
                <a:moveTo>
                  <a:pt x="431" y="203"/>
                </a:moveTo>
                <a:lnTo>
                  <a:pt x="435" y="228"/>
                </a:lnTo>
                <a:cubicBezTo>
                  <a:pt x="428" y="229"/>
                  <a:pt x="421" y="230"/>
                  <a:pt x="415" y="230"/>
                </a:cubicBezTo>
                <a:cubicBezTo>
                  <a:pt x="406" y="230"/>
                  <a:pt x="399" y="228"/>
                  <a:pt x="393" y="225"/>
                </a:cubicBezTo>
                <a:cubicBezTo>
                  <a:pt x="388" y="222"/>
                  <a:pt x="385" y="218"/>
                  <a:pt x="382" y="213"/>
                </a:cubicBezTo>
                <a:cubicBezTo>
                  <a:pt x="380" y="207"/>
                  <a:pt x="379" y="196"/>
                  <a:pt x="379" y="180"/>
                </a:cubicBezTo>
                <a:lnTo>
                  <a:pt x="379" y="85"/>
                </a:lnTo>
                <a:lnTo>
                  <a:pt x="360" y="85"/>
                </a:lnTo>
                <a:lnTo>
                  <a:pt x="360" y="63"/>
                </a:lnTo>
                <a:lnTo>
                  <a:pt x="379" y="63"/>
                </a:lnTo>
                <a:lnTo>
                  <a:pt x="379" y="22"/>
                </a:lnTo>
                <a:lnTo>
                  <a:pt x="405" y="5"/>
                </a:lnTo>
                <a:lnTo>
                  <a:pt x="405" y="63"/>
                </a:lnTo>
                <a:lnTo>
                  <a:pt x="431" y="63"/>
                </a:lnTo>
                <a:lnTo>
                  <a:pt x="431" y="85"/>
                </a:lnTo>
                <a:lnTo>
                  <a:pt x="405" y="85"/>
                </a:lnTo>
                <a:lnTo>
                  <a:pt x="405" y="181"/>
                </a:lnTo>
                <a:cubicBezTo>
                  <a:pt x="405" y="189"/>
                  <a:pt x="406" y="194"/>
                  <a:pt x="407" y="197"/>
                </a:cubicBezTo>
                <a:cubicBezTo>
                  <a:pt x="408" y="199"/>
                  <a:pt x="409" y="201"/>
                  <a:pt x="411" y="202"/>
                </a:cubicBezTo>
                <a:cubicBezTo>
                  <a:pt x="413" y="203"/>
                  <a:pt x="416" y="204"/>
                  <a:pt x="420" y="204"/>
                </a:cubicBezTo>
                <a:cubicBezTo>
                  <a:pt x="423" y="204"/>
                  <a:pt x="427" y="204"/>
                  <a:pt x="431" y="203"/>
                </a:cubicBezTo>
                <a:close/>
                <a:moveTo>
                  <a:pt x="485" y="228"/>
                </a:moveTo>
                <a:lnTo>
                  <a:pt x="438" y="63"/>
                </a:lnTo>
                <a:lnTo>
                  <a:pt x="466" y="63"/>
                </a:lnTo>
                <a:lnTo>
                  <a:pt x="490" y="158"/>
                </a:lnTo>
                <a:lnTo>
                  <a:pt x="499" y="193"/>
                </a:lnTo>
                <a:cubicBezTo>
                  <a:pt x="499" y="192"/>
                  <a:pt x="502" y="180"/>
                  <a:pt x="507" y="160"/>
                </a:cubicBezTo>
                <a:lnTo>
                  <a:pt x="531" y="63"/>
                </a:lnTo>
                <a:lnTo>
                  <a:pt x="558" y="63"/>
                </a:lnTo>
                <a:lnTo>
                  <a:pt x="581" y="159"/>
                </a:lnTo>
                <a:lnTo>
                  <a:pt x="588" y="190"/>
                </a:lnTo>
                <a:lnTo>
                  <a:pt x="597" y="158"/>
                </a:lnTo>
                <a:lnTo>
                  <a:pt x="624" y="63"/>
                </a:lnTo>
                <a:lnTo>
                  <a:pt x="649" y="63"/>
                </a:lnTo>
                <a:lnTo>
                  <a:pt x="601" y="228"/>
                </a:lnTo>
                <a:lnTo>
                  <a:pt x="574" y="228"/>
                </a:lnTo>
                <a:lnTo>
                  <a:pt x="549" y="129"/>
                </a:lnTo>
                <a:lnTo>
                  <a:pt x="543" y="101"/>
                </a:lnTo>
                <a:lnTo>
                  <a:pt x="512" y="228"/>
                </a:lnTo>
                <a:lnTo>
                  <a:pt x="485" y="228"/>
                </a:lnTo>
                <a:close/>
                <a:moveTo>
                  <a:pt x="658" y="145"/>
                </a:moveTo>
                <a:cubicBezTo>
                  <a:pt x="658" y="115"/>
                  <a:pt x="666" y="92"/>
                  <a:pt x="682" y="78"/>
                </a:cubicBezTo>
                <a:cubicBezTo>
                  <a:pt x="695" y="66"/>
                  <a:pt x="711" y="60"/>
                  <a:pt x="730" y="60"/>
                </a:cubicBezTo>
                <a:cubicBezTo>
                  <a:pt x="751" y="60"/>
                  <a:pt x="768" y="67"/>
                  <a:pt x="782" y="82"/>
                </a:cubicBezTo>
                <a:cubicBezTo>
                  <a:pt x="795" y="96"/>
                  <a:pt x="802" y="117"/>
                  <a:pt x="802" y="143"/>
                </a:cubicBezTo>
                <a:cubicBezTo>
                  <a:pt x="802" y="164"/>
                  <a:pt x="799" y="181"/>
                  <a:pt x="793" y="193"/>
                </a:cubicBezTo>
                <a:cubicBezTo>
                  <a:pt x="787" y="205"/>
                  <a:pt x="778" y="215"/>
                  <a:pt x="767" y="221"/>
                </a:cubicBezTo>
                <a:cubicBezTo>
                  <a:pt x="756" y="228"/>
                  <a:pt x="743" y="231"/>
                  <a:pt x="730" y="231"/>
                </a:cubicBezTo>
                <a:cubicBezTo>
                  <a:pt x="708" y="231"/>
                  <a:pt x="691" y="224"/>
                  <a:pt x="678" y="209"/>
                </a:cubicBezTo>
                <a:cubicBezTo>
                  <a:pt x="665" y="194"/>
                  <a:pt x="658" y="173"/>
                  <a:pt x="658" y="145"/>
                </a:cubicBezTo>
                <a:close/>
                <a:moveTo>
                  <a:pt x="685" y="145"/>
                </a:moveTo>
                <a:cubicBezTo>
                  <a:pt x="685" y="167"/>
                  <a:pt x="689" y="182"/>
                  <a:pt x="697" y="193"/>
                </a:cubicBezTo>
                <a:cubicBezTo>
                  <a:pt x="706" y="203"/>
                  <a:pt x="717" y="208"/>
                  <a:pt x="730" y="208"/>
                </a:cubicBezTo>
                <a:cubicBezTo>
                  <a:pt x="743" y="208"/>
                  <a:pt x="754" y="203"/>
                  <a:pt x="762" y="193"/>
                </a:cubicBezTo>
                <a:cubicBezTo>
                  <a:pt x="771" y="182"/>
                  <a:pt x="775" y="166"/>
                  <a:pt x="775" y="145"/>
                </a:cubicBezTo>
                <a:cubicBezTo>
                  <a:pt x="775" y="124"/>
                  <a:pt x="771" y="109"/>
                  <a:pt x="762" y="98"/>
                </a:cubicBezTo>
                <a:cubicBezTo>
                  <a:pt x="753" y="88"/>
                  <a:pt x="743" y="83"/>
                  <a:pt x="730" y="83"/>
                </a:cubicBezTo>
                <a:cubicBezTo>
                  <a:pt x="717" y="83"/>
                  <a:pt x="706" y="88"/>
                  <a:pt x="697" y="98"/>
                </a:cubicBezTo>
                <a:cubicBezTo>
                  <a:pt x="689" y="109"/>
                  <a:pt x="685" y="124"/>
                  <a:pt x="685" y="145"/>
                </a:cubicBezTo>
                <a:close/>
                <a:moveTo>
                  <a:pt x="832" y="228"/>
                </a:moveTo>
                <a:lnTo>
                  <a:pt x="832" y="63"/>
                </a:lnTo>
                <a:lnTo>
                  <a:pt x="855" y="63"/>
                </a:lnTo>
                <a:lnTo>
                  <a:pt x="855" y="88"/>
                </a:lnTo>
                <a:cubicBezTo>
                  <a:pt x="861" y="77"/>
                  <a:pt x="867" y="69"/>
                  <a:pt x="872" y="65"/>
                </a:cubicBezTo>
                <a:cubicBezTo>
                  <a:pt x="877" y="61"/>
                  <a:pt x="883" y="60"/>
                  <a:pt x="889" y="60"/>
                </a:cubicBezTo>
                <a:cubicBezTo>
                  <a:pt x="897" y="60"/>
                  <a:pt x="906" y="62"/>
                  <a:pt x="915" y="68"/>
                </a:cubicBezTo>
                <a:lnTo>
                  <a:pt x="906" y="94"/>
                </a:lnTo>
                <a:cubicBezTo>
                  <a:pt x="900" y="90"/>
                  <a:pt x="893" y="88"/>
                  <a:pt x="887" y="88"/>
                </a:cubicBezTo>
                <a:cubicBezTo>
                  <a:pt x="881" y="88"/>
                  <a:pt x="876" y="90"/>
                  <a:pt x="872" y="94"/>
                </a:cubicBezTo>
                <a:cubicBezTo>
                  <a:pt x="867" y="98"/>
                  <a:pt x="864" y="103"/>
                  <a:pt x="862" y="109"/>
                </a:cubicBezTo>
                <a:cubicBezTo>
                  <a:pt x="859" y="119"/>
                  <a:pt x="858" y="130"/>
                  <a:pt x="858" y="142"/>
                </a:cubicBezTo>
                <a:lnTo>
                  <a:pt x="858" y="228"/>
                </a:lnTo>
                <a:lnTo>
                  <a:pt x="832" y="228"/>
                </a:lnTo>
                <a:close/>
                <a:moveTo>
                  <a:pt x="931" y="228"/>
                </a:moveTo>
                <a:lnTo>
                  <a:pt x="931" y="0"/>
                </a:lnTo>
                <a:lnTo>
                  <a:pt x="957" y="0"/>
                </a:lnTo>
                <a:lnTo>
                  <a:pt x="957" y="130"/>
                </a:lnTo>
                <a:lnTo>
                  <a:pt x="1018" y="63"/>
                </a:lnTo>
                <a:lnTo>
                  <a:pt x="1052" y="63"/>
                </a:lnTo>
                <a:lnTo>
                  <a:pt x="993" y="124"/>
                </a:lnTo>
                <a:lnTo>
                  <a:pt x="1058" y="228"/>
                </a:lnTo>
                <a:lnTo>
                  <a:pt x="1026" y="228"/>
                </a:lnTo>
                <a:lnTo>
                  <a:pt x="975" y="144"/>
                </a:lnTo>
                <a:lnTo>
                  <a:pt x="957" y="162"/>
                </a:lnTo>
                <a:lnTo>
                  <a:pt x="957" y="228"/>
                </a:lnTo>
                <a:lnTo>
                  <a:pt x="931" y="2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19" name="Freeform 59">
            <a:extLst>
              <a:ext uri="{FF2B5EF4-FFF2-40B4-BE49-F238E27FC236}">
                <a16:creationId xmlns:a16="http://schemas.microsoft.com/office/drawing/2014/main" id="{D93297D0-CF56-4A42-B177-37942BA1482E}"/>
              </a:ext>
            </a:extLst>
          </p:cNvPr>
          <p:cNvSpPr>
            <a:spLocks noEditPoints="1"/>
          </p:cNvSpPr>
          <p:nvPr/>
        </p:nvSpPr>
        <p:spPr bwMode="auto">
          <a:xfrm>
            <a:off x="6551613" y="5067301"/>
            <a:ext cx="498475" cy="82550"/>
          </a:xfrm>
          <a:custGeom>
            <a:avLst/>
            <a:gdLst>
              <a:gd name="T0" fmla="*/ 118 w 1382"/>
              <a:gd name="T1" fmla="*/ 7 h 231"/>
              <a:gd name="T2" fmla="*/ 120 w 1382"/>
              <a:gd name="T3" fmla="*/ 106 h 231"/>
              <a:gd name="T4" fmla="*/ 138 w 1382"/>
              <a:gd name="T5" fmla="*/ 212 h 231"/>
              <a:gd name="T6" fmla="*/ 28 w 1382"/>
              <a:gd name="T7" fmla="*/ 95 h 231"/>
              <a:gd name="T8" fmla="*/ 122 w 1382"/>
              <a:gd name="T9" fmla="*/ 61 h 231"/>
              <a:gd name="T10" fmla="*/ 28 w 1382"/>
              <a:gd name="T11" fmla="*/ 26 h 231"/>
              <a:gd name="T12" fmla="*/ 100 w 1382"/>
              <a:gd name="T13" fmla="*/ 199 h 231"/>
              <a:gd name="T14" fmla="*/ 125 w 1382"/>
              <a:gd name="T15" fmla="*/ 139 h 231"/>
              <a:gd name="T16" fmla="*/ 28 w 1382"/>
              <a:gd name="T17" fmla="*/ 200 h 231"/>
              <a:gd name="T18" fmla="*/ 220 w 1382"/>
              <a:gd name="T19" fmla="*/ 227 h 231"/>
              <a:gd name="T20" fmla="*/ 323 w 1382"/>
              <a:gd name="T21" fmla="*/ 59 h 231"/>
              <a:gd name="T22" fmla="*/ 360 w 1382"/>
              <a:gd name="T23" fmla="*/ 220 h 231"/>
              <a:gd name="T24" fmla="*/ 277 w 1382"/>
              <a:gd name="T25" fmla="*/ 145 h 231"/>
              <a:gd name="T26" fmla="*/ 368 w 1382"/>
              <a:gd name="T27" fmla="*/ 144 h 231"/>
              <a:gd name="T28" fmla="*/ 277 w 1382"/>
              <a:gd name="T29" fmla="*/ 145 h 231"/>
              <a:gd name="T30" fmla="*/ 487 w 1382"/>
              <a:gd name="T31" fmla="*/ 231 h 231"/>
              <a:gd name="T32" fmla="*/ 451 w 1382"/>
              <a:gd name="T33" fmla="*/ 69 h 231"/>
              <a:gd name="T34" fmla="*/ 523 w 1382"/>
              <a:gd name="T35" fmla="*/ 115 h 231"/>
              <a:gd name="T36" fmla="*/ 444 w 1382"/>
              <a:gd name="T37" fmla="*/ 144 h 231"/>
              <a:gd name="T38" fmla="*/ 525 w 1382"/>
              <a:gd name="T39" fmla="*/ 167 h 231"/>
              <a:gd name="T40" fmla="*/ 599 w 1382"/>
              <a:gd name="T41" fmla="*/ 129 h 231"/>
              <a:gd name="T42" fmla="*/ 700 w 1382"/>
              <a:gd name="T43" fmla="*/ 227 h 231"/>
              <a:gd name="T44" fmla="*/ 599 w 1382"/>
              <a:gd name="T45" fmla="*/ 227 h 231"/>
              <a:gd name="T46" fmla="*/ 819 w 1382"/>
              <a:gd name="T47" fmla="*/ 215 h 231"/>
              <a:gd name="T48" fmla="*/ 715 w 1382"/>
              <a:gd name="T49" fmla="*/ 99 h 231"/>
              <a:gd name="T50" fmla="*/ 838 w 1382"/>
              <a:gd name="T51" fmla="*/ 111 h 231"/>
              <a:gd name="T52" fmla="*/ 746 w 1382"/>
              <a:gd name="T53" fmla="*/ 97 h 231"/>
              <a:gd name="T54" fmla="*/ 802 w 1382"/>
              <a:gd name="T55" fmla="*/ 198 h 231"/>
              <a:gd name="T56" fmla="*/ 889 w 1382"/>
              <a:gd name="T57" fmla="*/ 0 h 231"/>
              <a:gd name="T58" fmla="*/ 982 w 1382"/>
              <a:gd name="T59" fmla="*/ 86 h 231"/>
              <a:gd name="T60" fmla="*/ 961 w 1382"/>
              <a:gd name="T61" fmla="*/ 123 h 231"/>
              <a:gd name="T62" fmla="*/ 893 w 1382"/>
              <a:gd name="T63" fmla="*/ 107 h 231"/>
              <a:gd name="T64" fmla="*/ 1128 w 1382"/>
              <a:gd name="T65" fmla="*/ 206 h 231"/>
              <a:gd name="T66" fmla="*/ 1018 w 1382"/>
              <a:gd name="T67" fmla="*/ 184 h 231"/>
              <a:gd name="T68" fmla="*/ 1079 w 1382"/>
              <a:gd name="T69" fmla="*/ 132 h 231"/>
              <a:gd name="T70" fmla="*/ 1088 w 1382"/>
              <a:gd name="T71" fmla="*/ 82 h 231"/>
              <a:gd name="T72" fmla="*/ 1034 w 1382"/>
              <a:gd name="T73" fmla="*/ 81 h 231"/>
              <a:gd name="T74" fmla="*/ 1142 w 1382"/>
              <a:gd name="T75" fmla="*/ 76 h 231"/>
              <a:gd name="T76" fmla="*/ 1154 w 1382"/>
              <a:gd name="T77" fmla="*/ 207 h 231"/>
              <a:gd name="T78" fmla="*/ 1126 w 1382"/>
              <a:gd name="T79" fmla="*/ 144 h 231"/>
              <a:gd name="T80" fmla="*/ 1046 w 1382"/>
              <a:gd name="T81" fmla="*/ 183 h 231"/>
              <a:gd name="T82" fmla="*/ 1121 w 1382"/>
              <a:gd name="T83" fmla="*/ 182 h 231"/>
              <a:gd name="T84" fmla="*/ 1192 w 1382"/>
              <a:gd name="T85" fmla="*/ 0 h 231"/>
              <a:gd name="T86" fmla="*/ 1192 w 1382"/>
              <a:gd name="T87" fmla="*/ 227 h 231"/>
              <a:gd name="T88" fmla="*/ 1192 w 1382"/>
              <a:gd name="T89" fmla="*/ 227 h 231"/>
              <a:gd name="T90" fmla="*/ 1281 w 1382"/>
              <a:gd name="T91" fmla="*/ 86 h 231"/>
              <a:gd name="T92" fmla="*/ 1381 w 1382"/>
              <a:gd name="T93" fmla="*/ 99 h 231"/>
              <a:gd name="T94" fmla="*/ 1356 w 1382"/>
              <a:gd name="T95" fmla="*/ 127 h 231"/>
              <a:gd name="T96" fmla="*/ 1296 w 1382"/>
              <a:gd name="T97" fmla="*/ 94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82" h="231">
                <a:moveTo>
                  <a:pt x="0" y="227"/>
                </a:moveTo>
                <a:lnTo>
                  <a:pt x="0" y="0"/>
                </a:lnTo>
                <a:lnTo>
                  <a:pt x="79" y="0"/>
                </a:lnTo>
                <a:cubicBezTo>
                  <a:pt x="95" y="0"/>
                  <a:pt x="108" y="2"/>
                  <a:pt x="118" y="7"/>
                </a:cubicBezTo>
                <a:cubicBezTo>
                  <a:pt x="128" y="11"/>
                  <a:pt x="135" y="18"/>
                  <a:pt x="141" y="28"/>
                </a:cubicBezTo>
                <a:cubicBezTo>
                  <a:pt x="146" y="37"/>
                  <a:pt x="149" y="47"/>
                  <a:pt x="149" y="58"/>
                </a:cubicBezTo>
                <a:cubicBezTo>
                  <a:pt x="149" y="68"/>
                  <a:pt x="147" y="77"/>
                  <a:pt x="142" y="85"/>
                </a:cubicBezTo>
                <a:cubicBezTo>
                  <a:pt x="137" y="94"/>
                  <a:pt x="130" y="101"/>
                  <a:pt x="120" y="106"/>
                </a:cubicBezTo>
                <a:cubicBezTo>
                  <a:pt x="133" y="110"/>
                  <a:pt x="142" y="117"/>
                  <a:pt x="149" y="127"/>
                </a:cubicBezTo>
                <a:cubicBezTo>
                  <a:pt x="156" y="136"/>
                  <a:pt x="160" y="148"/>
                  <a:pt x="160" y="161"/>
                </a:cubicBezTo>
                <a:cubicBezTo>
                  <a:pt x="160" y="172"/>
                  <a:pt x="157" y="182"/>
                  <a:pt x="153" y="191"/>
                </a:cubicBezTo>
                <a:cubicBezTo>
                  <a:pt x="149" y="200"/>
                  <a:pt x="144" y="207"/>
                  <a:pt x="138" y="212"/>
                </a:cubicBezTo>
                <a:cubicBezTo>
                  <a:pt x="132" y="217"/>
                  <a:pt x="124" y="221"/>
                  <a:pt x="115" y="223"/>
                </a:cubicBezTo>
                <a:cubicBezTo>
                  <a:pt x="105" y="226"/>
                  <a:pt x="94" y="227"/>
                  <a:pt x="80" y="227"/>
                </a:cubicBezTo>
                <a:lnTo>
                  <a:pt x="0" y="227"/>
                </a:lnTo>
                <a:close/>
                <a:moveTo>
                  <a:pt x="28" y="95"/>
                </a:moveTo>
                <a:lnTo>
                  <a:pt x="73" y="95"/>
                </a:lnTo>
                <a:cubicBezTo>
                  <a:pt x="86" y="95"/>
                  <a:pt x="95" y="94"/>
                  <a:pt x="100" y="93"/>
                </a:cubicBezTo>
                <a:cubicBezTo>
                  <a:pt x="107" y="90"/>
                  <a:pt x="113" y="87"/>
                  <a:pt x="116" y="81"/>
                </a:cubicBezTo>
                <a:cubicBezTo>
                  <a:pt x="120" y="76"/>
                  <a:pt x="122" y="69"/>
                  <a:pt x="122" y="61"/>
                </a:cubicBezTo>
                <a:cubicBezTo>
                  <a:pt x="122" y="54"/>
                  <a:pt x="120" y="47"/>
                  <a:pt x="117" y="41"/>
                </a:cubicBezTo>
                <a:cubicBezTo>
                  <a:pt x="113" y="36"/>
                  <a:pt x="108" y="32"/>
                  <a:pt x="102" y="30"/>
                </a:cubicBezTo>
                <a:cubicBezTo>
                  <a:pt x="96" y="27"/>
                  <a:pt x="85" y="26"/>
                  <a:pt x="70" y="26"/>
                </a:cubicBezTo>
                <a:lnTo>
                  <a:pt x="28" y="26"/>
                </a:lnTo>
                <a:lnTo>
                  <a:pt x="28" y="95"/>
                </a:lnTo>
                <a:close/>
                <a:moveTo>
                  <a:pt x="28" y="200"/>
                </a:moveTo>
                <a:lnTo>
                  <a:pt x="80" y="200"/>
                </a:lnTo>
                <a:cubicBezTo>
                  <a:pt x="89" y="200"/>
                  <a:pt x="96" y="200"/>
                  <a:pt x="100" y="199"/>
                </a:cubicBezTo>
                <a:cubicBezTo>
                  <a:pt x="106" y="198"/>
                  <a:pt x="111" y="196"/>
                  <a:pt x="116" y="193"/>
                </a:cubicBezTo>
                <a:cubicBezTo>
                  <a:pt x="120" y="190"/>
                  <a:pt x="124" y="186"/>
                  <a:pt x="126" y="180"/>
                </a:cubicBezTo>
                <a:cubicBezTo>
                  <a:pt x="129" y="175"/>
                  <a:pt x="131" y="168"/>
                  <a:pt x="131" y="161"/>
                </a:cubicBezTo>
                <a:cubicBezTo>
                  <a:pt x="131" y="153"/>
                  <a:pt x="129" y="145"/>
                  <a:pt x="125" y="139"/>
                </a:cubicBezTo>
                <a:cubicBezTo>
                  <a:pt x="120" y="133"/>
                  <a:pt x="115" y="128"/>
                  <a:pt x="108" y="126"/>
                </a:cubicBezTo>
                <a:cubicBezTo>
                  <a:pt x="100" y="123"/>
                  <a:pt x="90" y="122"/>
                  <a:pt x="77" y="122"/>
                </a:cubicBezTo>
                <a:lnTo>
                  <a:pt x="28" y="122"/>
                </a:lnTo>
                <a:lnTo>
                  <a:pt x="28" y="200"/>
                </a:lnTo>
                <a:close/>
                <a:moveTo>
                  <a:pt x="194" y="227"/>
                </a:moveTo>
                <a:lnTo>
                  <a:pt x="194" y="0"/>
                </a:lnTo>
                <a:lnTo>
                  <a:pt x="220" y="0"/>
                </a:lnTo>
                <a:lnTo>
                  <a:pt x="220" y="227"/>
                </a:lnTo>
                <a:lnTo>
                  <a:pt x="194" y="227"/>
                </a:lnTo>
                <a:close/>
                <a:moveTo>
                  <a:pt x="251" y="145"/>
                </a:moveTo>
                <a:cubicBezTo>
                  <a:pt x="251" y="114"/>
                  <a:pt x="259" y="92"/>
                  <a:pt x="274" y="77"/>
                </a:cubicBezTo>
                <a:cubicBezTo>
                  <a:pt x="288" y="65"/>
                  <a:pt x="304" y="59"/>
                  <a:pt x="323" y="59"/>
                </a:cubicBezTo>
                <a:cubicBezTo>
                  <a:pt x="344" y="59"/>
                  <a:pt x="361" y="66"/>
                  <a:pt x="374" y="81"/>
                </a:cubicBezTo>
                <a:cubicBezTo>
                  <a:pt x="388" y="96"/>
                  <a:pt x="395" y="116"/>
                  <a:pt x="395" y="142"/>
                </a:cubicBezTo>
                <a:cubicBezTo>
                  <a:pt x="395" y="163"/>
                  <a:pt x="392" y="180"/>
                  <a:pt x="386" y="192"/>
                </a:cubicBezTo>
                <a:cubicBezTo>
                  <a:pt x="380" y="204"/>
                  <a:pt x="371" y="214"/>
                  <a:pt x="360" y="220"/>
                </a:cubicBezTo>
                <a:cubicBezTo>
                  <a:pt x="348" y="227"/>
                  <a:pt x="336" y="231"/>
                  <a:pt x="323" y="231"/>
                </a:cubicBezTo>
                <a:cubicBezTo>
                  <a:pt x="301" y="231"/>
                  <a:pt x="284" y="223"/>
                  <a:pt x="271" y="208"/>
                </a:cubicBezTo>
                <a:cubicBezTo>
                  <a:pt x="257" y="194"/>
                  <a:pt x="251" y="172"/>
                  <a:pt x="251" y="145"/>
                </a:cubicBezTo>
                <a:close/>
                <a:moveTo>
                  <a:pt x="277" y="145"/>
                </a:moveTo>
                <a:cubicBezTo>
                  <a:pt x="277" y="166"/>
                  <a:pt x="282" y="182"/>
                  <a:pt x="290" y="192"/>
                </a:cubicBezTo>
                <a:cubicBezTo>
                  <a:pt x="299" y="202"/>
                  <a:pt x="310" y="208"/>
                  <a:pt x="323" y="208"/>
                </a:cubicBezTo>
                <a:cubicBezTo>
                  <a:pt x="336" y="208"/>
                  <a:pt x="346" y="202"/>
                  <a:pt x="355" y="192"/>
                </a:cubicBezTo>
                <a:cubicBezTo>
                  <a:pt x="364" y="181"/>
                  <a:pt x="368" y="165"/>
                  <a:pt x="368" y="144"/>
                </a:cubicBezTo>
                <a:cubicBezTo>
                  <a:pt x="368" y="123"/>
                  <a:pt x="364" y="108"/>
                  <a:pt x="355" y="98"/>
                </a:cubicBezTo>
                <a:cubicBezTo>
                  <a:pt x="346" y="87"/>
                  <a:pt x="336" y="82"/>
                  <a:pt x="323" y="82"/>
                </a:cubicBezTo>
                <a:cubicBezTo>
                  <a:pt x="310" y="82"/>
                  <a:pt x="299" y="87"/>
                  <a:pt x="290" y="98"/>
                </a:cubicBezTo>
                <a:cubicBezTo>
                  <a:pt x="282" y="108"/>
                  <a:pt x="277" y="124"/>
                  <a:pt x="277" y="145"/>
                </a:cubicBezTo>
                <a:close/>
                <a:moveTo>
                  <a:pt x="525" y="167"/>
                </a:moveTo>
                <a:lnTo>
                  <a:pt x="551" y="171"/>
                </a:lnTo>
                <a:cubicBezTo>
                  <a:pt x="548" y="189"/>
                  <a:pt x="541" y="204"/>
                  <a:pt x="529" y="215"/>
                </a:cubicBezTo>
                <a:cubicBezTo>
                  <a:pt x="518" y="225"/>
                  <a:pt x="504" y="231"/>
                  <a:pt x="487" y="231"/>
                </a:cubicBezTo>
                <a:cubicBezTo>
                  <a:pt x="466" y="231"/>
                  <a:pt x="449" y="223"/>
                  <a:pt x="436" y="208"/>
                </a:cubicBezTo>
                <a:cubicBezTo>
                  <a:pt x="424" y="194"/>
                  <a:pt x="417" y="173"/>
                  <a:pt x="417" y="145"/>
                </a:cubicBezTo>
                <a:cubicBezTo>
                  <a:pt x="417" y="128"/>
                  <a:pt x="420" y="112"/>
                  <a:pt x="426" y="99"/>
                </a:cubicBezTo>
                <a:cubicBezTo>
                  <a:pt x="431" y="85"/>
                  <a:pt x="439" y="75"/>
                  <a:pt x="451" y="69"/>
                </a:cubicBezTo>
                <a:cubicBezTo>
                  <a:pt x="462" y="62"/>
                  <a:pt x="474" y="59"/>
                  <a:pt x="487" y="59"/>
                </a:cubicBezTo>
                <a:cubicBezTo>
                  <a:pt x="504" y="59"/>
                  <a:pt x="517" y="63"/>
                  <a:pt x="528" y="72"/>
                </a:cubicBezTo>
                <a:cubicBezTo>
                  <a:pt x="539" y="81"/>
                  <a:pt x="545" y="94"/>
                  <a:pt x="548" y="111"/>
                </a:cubicBezTo>
                <a:lnTo>
                  <a:pt x="523" y="115"/>
                </a:lnTo>
                <a:cubicBezTo>
                  <a:pt x="521" y="104"/>
                  <a:pt x="517" y="96"/>
                  <a:pt x="510" y="90"/>
                </a:cubicBezTo>
                <a:cubicBezTo>
                  <a:pt x="504" y="84"/>
                  <a:pt x="497" y="82"/>
                  <a:pt x="488" y="82"/>
                </a:cubicBezTo>
                <a:cubicBezTo>
                  <a:pt x="475" y="82"/>
                  <a:pt x="464" y="87"/>
                  <a:pt x="456" y="97"/>
                </a:cubicBezTo>
                <a:cubicBezTo>
                  <a:pt x="448" y="107"/>
                  <a:pt x="444" y="123"/>
                  <a:pt x="444" y="144"/>
                </a:cubicBezTo>
                <a:cubicBezTo>
                  <a:pt x="444" y="167"/>
                  <a:pt x="448" y="183"/>
                  <a:pt x="456" y="193"/>
                </a:cubicBezTo>
                <a:cubicBezTo>
                  <a:pt x="464" y="203"/>
                  <a:pt x="474" y="208"/>
                  <a:pt x="487" y="208"/>
                </a:cubicBezTo>
                <a:cubicBezTo>
                  <a:pt x="497" y="208"/>
                  <a:pt x="506" y="204"/>
                  <a:pt x="512" y="198"/>
                </a:cubicBezTo>
                <a:cubicBezTo>
                  <a:pt x="519" y="191"/>
                  <a:pt x="523" y="181"/>
                  <a:pt x="525" y="167"/>
                </a:cubicBezTo>
                <a:close/>
                <a:moveTo>
                  <a:pt x="573" y="227"/>
                </a:moveTo>
                <a:lnTo>
                  <a:pt x="573" y="0"/>
                </a:lnTo>
                <a:lnTo>
                  <a:pt x="599" y="0"/>
                </a:lnTo>
                <a:lnTo>
                  <a:pt x="599" y="129"/>
                </a:lnTo>
                <a:lnTo>
                  <a:pt x="661" y="62"/>
                </a:lnTo>
                <a:lnTo>
                  <a:pt x="694" y="62"/>
                </a:lnTo>
                <a:lnTo>
                  <a:pt x="636" y="123"/>
                </a:lnTo>
                <a:lnTo>
                  <a:pt x="700" y="227"/>
                </a:lnTo>
                <a:lnTo>
                  <a:pt x="668" y="227"/>
                </a:lnTo>
                <a:lnTo>
                  <a:pt x="617" y="143"/>
                </a:lnTo>
                <a:lnTo>
                  <a:pt x="599" y="162"/>
                </a:lnTo>
                <a:lnTo>
                  <a:pt x="599" y="227"/>
                </a:lnTo>
                <a:lnTo>
                  <a:pt x="573" y="227"/>
                </a:lnTo>
                <a:close/>
                <a:moveTo>
                  <a:pt x="815" y="167"/>
                </a:moveTo>
                <a:lnTo>
                  <a:pt x="841" y="171"/>
                </a:lnTo>
                <a:cubicBezTo>
                  <a:pt x="838" y="189"/>
                  <a:pt x="831" y="204"/>
                  <a:pt x="819" y="215"/>
                </a:cubicBezTo>
                <a:cubicBezTo>
                  <a:pt x="808" y="225"/>
                  <a:pt x="794" y="231"/>
                  <a:pt x="777" y="231"/>
                </a:cubicBezTo>
                <a:cubicBezTo>
                  <a:pt x="756" y="231"/>
                  <a:pt x="739" y="223"/>
                  <a:pt x="726" y="208"/>
                </a:cubicBezTo>
                <a:cubicBezTo>
                  <a:pt x="714" y="194"/>
                  <a:pt x="707" y="173"/>
                  <a:pt x="707" y="145"/>
                </a:cubicBezTo>
                <a:cubicBezTo>
                  <a:pt x="707" y="128"/>
                  <a:pt x="710" y="112"/>
                  <a:pt x="715" y="99"/>
                </a:cubicBezTo>
                <a:cubicBezTo>
                  <a:pt x="721" y="85"/>
                  <a:pt x="729" y="75"/>
                  <a:pt x="741" y="69"/>
                </a:cubicBezTo>
                <a:cubicBezTo>
                  <a:pt x="752" y="62"/>
                  <a:pt x="764" y="59"/>
                  <a:pt x="777" y="59"/>
                </a:cubicBezTo>
                <a:cubicBezTo>
                  <a:pt x="794" y="59"/>
                  <a:pt x="807" y="63"/>
                  <a:pt x="818" y="72"/>
                </a:cubicBezTo>
                <a:cubicBezTo>
                  <a:pt x="829" y="81"/>
                  <a:pt x="835" y="94"/>
                  <a:pt x="838" y="111"/>
                </a:cubicBezTo>
                <a:lnTo>
                  <a:pt x="813" y="115"/>
                </a:lnTo>
                <a:cubicBezTo>
                  <a:pt x="811" y="104"/>
                  <a:pt x="806" y="96"/>
                  <a:pt x="800" y="90"/>
                </a:cubicBezTo>
                <a:cubicBezTo>
                  <a:pt x="794" y="84"/>
                  <a:pt x="787" y="82"/>
                  <a:pt x="778" y="82"/>
                </a:cubicBezTo>
                <a:cubicBezTo>
                  <a:pt x="765" y="82"/>
                  <a:pt x="754" y="87"/>
                  <a:pt x="746" y="97"/>
                </a:cubicBezTo>
                <a:cubicBezTo>
                  <a:pt x="738" y="107"/>
                  <a:pt x="734" y="123"/>
                  <a:pt x="734" y="144"/>
                </a:cubicBezTo>
                <a:cubicBezTo>
                  <a:pt x="734" y="167"/>
                  <a:pt x="738" y="183"/>
                  <a:pt x="746" y="193"/>
                </a:cubicBezTo>
                <a:cubicBezTo>
                  <a:pt x="754" y="203"/>
                  <a:pt x="764" y="208"/>
                  <a:pt x="777" y="208"/>
                </a:cubicBezTo>
                <a:cubicBezTo>
                  <a:pt x="787" y="208"/>
                  <a:pt x="795" y="204"/>
                  <a:pt x="802" y="198"/>
                </a:cubicBezTo>
                <a:cubicBezTo>
                  <a:pt x="809" y="191"/>
                  <a:pt x="813" y="181"/>
                  <a:pt x="815" y="167"/>
                </a:cubicBezTo>
                <a:close/>
                <a:moveTo>
                  <a:pt x="863" y="227"/>
                </a:moveTo>
                <a:lnTo>
                  <a:pt x="863" y="0"/>
                </a:lnTo>
                <a:lnTo>
                  <a:pt x="889" y="0"/>
                </a:lnTo>
                <a:lnTo>
                  <a:pt x="889" y="82"/>
                </a:lnTo>
                <a:cubicBezTo>
                  <a:pt x="901" y="66"/>
                  <a:pt x="916" y="59"/>
                  <a:pt x="935" y="59"/>
                </a:cubicBezTo>
                <a:cubicBezTo>
                  <a:pt x="946" y="59"/>
                  <a:pt x="956" y="61"/>
                  <a:pt x="964" y="66"/>
                </a:cubicBezTo>
                <a:cubicBezTo>
                  <a:pt x="972" y="71"/>
                  <a:pt x="978" y="77"/>
                  <a:pt x="982" y="86"/>
                </a:cubicBezTo>
                <a:cubicBezTo>
                  <a:pt x="986" y="94"/>
                  <a:pt x="987" y="107"/>
                  <a:pt x="987" y="123"/>
                </a:cubicBezTo>
                <a:lnTo>
                  <a:pt x="987" y="227"/>
                </a:lnTo>
                <a:lnTo>
                  <a:pt x="961" y="227"/>
                </a:lnTo>
                <a:lnTo>
                  <a:pt x="961" y="123"/>
                </a:lnTo>
                <a:cubicBezTo>
                  <a:pt x="961" y="109"/>
                  <a:pt x="959" y="99"/>
                  <a:pt x="953" y="92"/>
                </a:cubicBezTo>
                <a:cubicBezTo>
                  <a:pt x="947" y="86"/>
                  <a:pt x="939" y="83"/>
                  <a:pt x="929" y="83"/>
                </a:cubicBezTo>
                <a:cubicBezTo>
                  <a:pt x="922" y="83"/>
                  <a:pt x="914" y="85"/>
                  <a:pt x="908" y="89"/>
                </a:cubicBezTo>
                <a:cubicBezTo>
                  <a:pt x="901" y="94"/>
                  <a:pt x="896" y="99"/>
                  <a:pt x="893" y="107"/>
                </a:cubicBezTo>
                <a:cubicBezTo>
                  <a:pt x="890" y="114"/>
                  <a:pt x="889" y="124"/>
                  <a:pt x="889" y="137"/>
                </a:cubicBezTo>
                <a:lnTo>
                  <a:pt x="889" y="227"/>
                </a:lnTo>
                <a:lnTo>
                  <a:pt x="863" y="227"/>
                </a:lnTo>
                <a:close/>
                <a:moveTo>
                  <a:pt x="1128" y="206"/>
                </a:moveTo>
                <a:cubicBezTo>
                  <a:pt x="1118" y="215"/>
                  <a:pt x="1109" y="221"/>
                  <a:pt x="1100" y="225"/>
                </a:cubicBezTo>
                <a:cubicBezTo>
                  <a:pt x="1091" y="229"/>
                  <a:pt x="1081" y="231"/>
                  <a:pt x="1071" y="231"/>
                </a:cubicBezTo>
                <a:cubicBezTo>
                  <a:pt x="1054" y="231"/>
                  <a:pt x="1041" y="226"/>
                  <a:pt x="1032" y="217"/>
                </a:cubicBezTo>
                <a:cubicBezTo>
                  <a:pt x="1023" y="209"/>
                  <a:pt x="1018" y="197"/>
                  <a:pt x="1018" y="184"/>
                </a:cubicBezTo>
                <a:cubicBezTo>
                  <a:pt x="1018" y="176"/>
                  <a:pt x="1020" y="168"/>
                  <a:pt x="1024" y="161"/>
                </a:cubicBezTo>
                <a:cubicBezTo>
                  <a:pt x="1027" y="155"/>
                  <a:pt x="1032" y="150"/>
                  <a:pt x="1037" y="146"/>
                </a:cubicBezTo>
                <a:cubicBezTo>
                  <a:pt x="1043" y="141"/>
                  <a:pt x="1049" y="138"/>
                  <a:pt x="1056" y="136"/>
                </a:cubicBezTo>
                <a:cubicBezTo>
                  <a:pt x="1061" y="135"/>
                  <a:pt x="1069" y="134"/>
                  <a:pt x="1079" y="132"/>
                </a:cubicBezTo>
                <a:cubicBezTo>
                  <a:pt x="1100" y="130"/>
                  <a:pt x="1116" y="126"/>
                  <a:pt x="1125" y="123"/>
                </a:cubicBezTo>
                <a:cubicBezTo>
                  <a:pt x="1126" y="119"/>
                  <a:pt x="1126" y="116"/>
                  <a:pt x="1126" y="115"/>
                </a:cubicBezTo>
                <a:cubicBezTo>
                  <a:pt x="1126" y="104"/>
                  <a:pt x="1123" y="96"/>
                  <a:pt x="1118" y="91"/>
                </a:cubicBezTo>
                <a:cubicBezTo>
                  <a:pt x="1112" y="85"/>
                  <a:pt x="1102" y="82"/>
                  <a:pt x="1088" y="82"/>
                </a:cubicBezTo>
                <a:cubicBezTo>
                  <a:pt x="1076" y="82"/>
                  <a:pt x="1067" y="84"/>
                  <a:pt x="1061" y="89"/>
                </a:cubicBezTo>
                <a:cubicBezTo>
                  <a:pt x="1055" y="93"/>
                  <a:pt x="1051" y="102"/>
                  <a:pt x="1048" y="113"/>
                </a:cubicBezTo>
                <a:lnTo>
                  <a:pt x="1023" y="110"/>
                </a:lnTo>
                <a:cubicBezTo>
                  <a:pt x="1025" y="98"/>
                  <a:pt x="1029" y="88"/>
                  <a:pt x="1034" y="81"/>
                </a:cubicBezTo>
                <a:cubicBezTo>
                  <a:pt x="1040" y="74"/>
                  <a:pt x="1047" y="69"/>
                  <a:pt x="1057" y="65"/>
                </a:cubicBezTo>
                <a:cubicBezTo>
                  <a:pt x="1067" y="61"/>
                  <a:pt x="1079" y="59"/>
                  <a:pt x="1092" y="59"/>
                </a:cubicBezTo>
                <a:cubicBezTo>
                  <a:pt x="1105" y="59"/>
                  <a:pt x="1116" y="60"/>
                  <a:pt x="1124" y="64"/>
                </a:cubicBezTo>
                <a:cubicBezTo>
                  <a:pt x="1133" y="67"/>
                  <a:pt x="1139" y="71"/>
                  <a:pt x="1142" y="76"/>
                </a:cubicBezTo>
                <a:cubicBezTo>
                  <a:pt x="1146" y="81"/>
                  <a:pt x="1149" y="88"/>
                  <a:pt x="1151" y="95"/>
                </a:cubicBezTo>
                <a:cubicBezTo>
                  <a:pt x="1151" y="100"/>
                  <a:pt x="1152" y="109"/>
                  <a:pt x="1152" y="121"/>
                </a:cubicBezTo>
                <a:lnTo>
                  <a:pt x="1152" y="158"/>
                </a:lnTo>
                <a:cubicBezTo>
                  <a:pt x="1152" y="184"/>
                  <a:pt x="1152" y="200"/>
                  <a:pt x="1154" y="207"/>
                </a:cubicBezTo>
                <a:cubicBezTo>
                  <a:pt x="1155" y="214"/>
                  <a:pt x="1157" y="221"/>
                  <a:pt x="1160" y="227"/>
                </a:cubicBezTo>
                <a:lnTo>
                  <a:pt x="1133" y="227"/>
                </a:lnTo>
                <a:cubicBezTo>
                  <a:pt x="1130" y="221"/>
                  <a:pt x="1128" y="214"/>
                  <a:pt x="1128" y="206"/>
                </a:cubicBezTo>
                <a:close/>
                <a:moveTo>
                  <a:pt x="1126" y="144"/>
                </a:moveTo>
                <a:cubicBezTo>
                  <a:pt x="1116" y="149"/>
                  <a:pt x="1102" y="152"/>
                  <a:pt x="1083" y="155"/>
                </a:cubicBezTo>
                <a:cubicBezTo>
                  <a:pt x="1072" y="157"/>
                  <a:pt x="1065" y="158"/>
                  <a:pt x="1060" y="161"/>
                </a:cubicBezTo>
                <a:cubicBezTo>
                  <a:pt x="1056" y="163"/>
                  <a:pt x="1052" y="166"/>
                  <a:pt x="1050" y="170"/>
                </a:cubicBezTo>
                <a:cubicBezTo>
                  <a:pt x="1048" y="173"/>
                  <a:pt x="1046" y="178"/>
                  <a:pt x="1046" y="183"/>
                </a:cubicBezTo>
                <a:cubicBezTo>
                  <a:pt x="1046" y="190"/>
                  <a:pt x="1049" y="196"/>
                  <a:pt x="1054" y="201"/>
                </a:cubicBezTo>
                <a:cubicBezTo>
                  <a:pt x="1059" y="206"/>
                  <a:pt x="1067" y="209"/>
                  <a:pt x="1077" y="209"/>
                </a:cubicBezTo>
                <a:cubicBezTo>
                  <a:pt x="1087" y="209"/>
                  <a:pt x="1096" y="206"/>
                  <a:pt x="1104" y="202"/>
                </a:cubicBezTo>
                <a:cubicBezTo>
                  <a:pt x="1112" y="197"/>
                  <a:pt x="1118" y="191"/>
                  <a:pt x="1121" y="182"/>
                </a:cubicBezTo>
                <a:cubicBezTo>
                  <a:pt x="1124" y="176"/>
                  <a:pt x="1125" y="167"/>
                  <a:pt x="1125" y="155"/>
                </a:cubicBezTo>
                <a:lnTo>
                  <a:pt x="1126" y="144"/>
                </a:lnTo>
                <a:close/>
                <a:moveTo>
                  <a:pt x="1192" y="31"/>
                </a:moveTo>
                <a:lnTo>
                  <a:pt x="1192" y="0"/>
                </a:lnTo>
                <a:lnTo>
                  <a:pt x="1218" y="0"/>
                </a:lnTo>
                <a:lnTo>
                  <a:pt x="1218" y="31"/>
                </a:lnTo>
                <a:lnTo>
                  <a:pt x="1192" y="31"/>
                </a:lnTo>
                <a:close/>
                <a:moveTo>
                  <a:pt x="1192" y="227"/>
                </a:moveTo>
                <a:lnTo>
                  <a:pt x="1192" y="62"/>
                </a:lnTo>
                <a:lnTo>
                  <a:pt x="1218" y="62"/>
                </a:lnTo>
                <a:lnTo>
                  <a:pt x="1218" y="227"/>
                </a:lnTo>
                <a:lnTo>
                  <a:pt x="1192" y="227"/>
                </a:lnTo>
                <a:close/>
                <a:moveTo>
                  <a:pt x="1258" y="227"/>
                </a:moveTo>
                <a:lnTo>
                  <a:pt x="1258" y="62"/>
                </a:lnTo>
                <a:lnTo>
                  <a:pt x="1281" y="62"/>
                </a:lnTo>
                <a:lnTo>
                  <a:pt x="1281" y="86"/>
                </a:lnTo>
                <a:cubicBezTo>
                  <a:pt x="1292" y="68"/>
                  <a:pt x="1308" y="59"/>
                  <a:pt x="1330" y="59"/>
                </a:cubicBezTo>
                <a:cubicBezTo>
                  <a:pt x="1339" y="59"/>
                  <a:pt x="1347" y="61"/>
                  <a:pt x="1355" y="64"/>
                </a:cubicBezTo>
                <a:cubicBezTo>
                  <a:pt x="1363" y="68"/>
                  <a:pt x="1369" y="72"/>
                  <a:pt x="1373" y="78"/>
                </a:cubicBezTo>
                <a:cubicBezTo>
                  <a:pt x="1376" y="84"/>
                  <a:pt x="1379" y="91"/>
                  <a:pt x="1381" y="99"/>
                </a:cubicBezTo>
                <a:cubicBezTo>
                  <a:pt x="1382" y="104"/>
                  <a:pt x="1382" y="113"/>
                  <a:pt x="1382" y="126"/>
                </a:cubicBezTo>
                <a:lnTo>
                  <a:pt x="1382" y="227"/>
                </a:lnTo>
                <a:lnTo>
                  <a:pt x="1356" y="227"/>
                </a:lnTo>
                <a:lnTo>
                  <a:pt x="1356" y="127"/>
                </a:lnTo>
                <a:cubicBezTo>
                  <a:pt x="1356" y="116"/>
                  <a:pt x="1355" y="107"/>
                  <a:pt x="1353" y="101"/>
                </a:cubicBezTo>
                <a:cubicBezTo>
                  <a:pt x="1351" y="96"/>
                  <a:pt x="1347" y="91"/>
                  <a:pt x="1342" y="88"/>
                </a:cubicBezTo>
                <a:cubicBezTo>
                  <a:pt x="1337" y="85"/>
                  <a:pt x="1331" y="83"/>
                  <a:pt x="1324" y="83"/>
                </a:cubicBezTo>
                <a:cubicBezTo>
                  <a:pt x="1313" y="83"/>
                  <a:pt x="1304" y="87"/>
                  <a:pt x="1296" y="94"/>
                </a:cubicBezTo>
                <a:cubicBezTo>
                  <a:pt x="1288" y="102"/>
                  <a:pt x="1284" y="116"/>
                  <a:pt x="1284" y="137"/>
                </a:cubicBezTo>
                <a:lnTo>
                  <a:pt x="1284" y="227"/>
                </a:lnTo>
                <a:lnTo>
                  <a:pt x="1258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0" name="Freeform 60">
            <a:extLst>
              <a:ext uri="{FF2B5EF4-FFF2-40B4-BE49-F238E27FC236}">
                <a16:creationId xmlns:a16="http://schemas.microsoft.com/office/drawing/2014/main" id="{08E63A41-3CD8-42DB-A40F-D926ED1797CB}"/>
              </a:ext>
            </a:extLst>
          </p:cNvPr>
          <p:cNvSpPr>
            <a:spLocks noEditPoints="1"/>
          </p:cNvSpPr>
          <p:nvPr/>
        </p:nvSpPr>
        <p:spPr bwMode="auto">
          <a:xfrm>
            <a:off x="6661151" y="4048126"/>
            <a:ext cx="265113" cy="84138"/>
          </a:xfrm>
          <a:custGeom>
            <a:avLst/>
            <a:gdLst>
              <a:gd name="T0" fmla="*/ 187 w 736"/>
              <a:gd name="T1" fmla="*/ 159 h 235"/>
              <a:gd name="T2" fmla="*/ 99 w 736"/>
              <a:gd name="T3" fmla="*/ 235 h 235"/>
              <a:gd name="T4" fmla="*/ 11 w 736"/>
              <a:gd name="T5" fmla="*/ 176 h 235"/>
              <a:gd name="T6" fmla="*/ 12 w 736"/>
              <a:gd name="T7" fmla="*/ 54 h 235"/>
              <a:gd name="T8" fmla="*/ 99 w 736"/>
              <a:gd name="T9" fmla="*/ 0 h 235"/>
              <a:gd name="T10" fmla="*/ 183 w 736"/>
              <a:gd name="T11" fmla="*/ 66 h 235"/>
              <a:gd name="T12" fmla="*/ 134 w 736"/>
              <a:gd name="T13" fmla="*/ 37 h 235"/>
              <a:gd name="T14" fmla="*/ 58 w 736"/>
              <a:gd name="T15" fmla="*/ 38 h 235"/>
              <a:gd name="T16" fmla="*/ 29 w 736"/>
              <a:gd name="T17" fmla="*/ 115 h 235"/>
              <a:gd name="T18" fmla="*/ 61 w 736"/>
              <a:gd name="T19" fmla="*/ 198 h 235"/>
              <a:gd name="T20" fmla="*/ 136 w 736"/>
              <a:gd name="T21" fmla="*/ 194 h 235"/>
              <a:gd name="T22" fmla="*/ 217 w 736"/>
              <a:gd name="T23" fmla="*/ 231 h 235"/>
              <a:gd name="T24" fmla="*/ 243 w 736"/>
              <a:gd name="T25" fmla="*/ 3 h 235"/>
              <a:gd name="T26" fmla="*/ 217 w 736"/>
              <a:gd name="T27" fmla="*/ 231 h 235"/>
              <a:gd name="T28" fmla="*/ 298 w 736"/>
              <a:gd name="T29" fmla="*/ 81 h 235"/>
              <a:gd name="T30" fmla="*/ 398 w 736"/>
              <a:gd name="T31" fmla="*/ 85 h 235"/>
              <a:gd name="T32" fmla="*/ 409 w 736"/>
              <a:gd name="T33" fmla="*/ 196 h 235"/>
              <a:gd name="T34" fmla="*/ 346 w 736"/>
              <a:gd name="T35" fmla="*/ 234 h 235"/>
              <a:gd name="T36" fmla="*/ 274 w 736"/>
              <a:gd name="T37" fmla="*/ 148 h 235"/>
              <a:gd name="T38" fmla="*/ 313 w 736"/>
              <a:gd name="T39" fmla="*/ 196 h 235"/>
              <a:gd name="T40" fmla="*/ 378 w 736"/>
              <a:gd name="T41" fmla="*/ 196 h 235"/>
              <a:gd name="T42" fmla="*/ 378 w 736"/>
              <a:gd name="T43" fmla="*/ 101 h 235"/>
              <a:gd name="T44" fmla="*/ 313 w 736"/>
              <a:gd name="T45" fmla="*/ 101 h 235"/>
              <a:gd name="T46" fmla="*/ 548 w 736"/>
              <a:gd name="T47" fmla="*/ 231 h 235"/>
              <a:gd name="T48" fmla="*/ 500 w 736"/>
              <a:gd name="T49" fmla="*/ 234 h 235"/>
              <a:gd name="T50" fmla="*/ 457 w 736"/>
              <a:gd name="T51" fmla="*/ 215 h 235"/>
              <a:gd name="T52" fmla="*/ 448 w 736"/>
              <a:gd name="T53" fmla="*/ 168 h 235"/>
              <a:gd name="T54" fmla="*/ 474 w 736"/>
              <a:gd name="T55" fmla="*/ 66 h 235"/>
              <a:gd name="T56" fmla="*/ 475 w 736"/>
              <a:gd name="T57" fmla="*/ 187 h 235"/>
              <a:gd name="T58" fmla="*/ 505 w 736"/>
              <a:gd name="T59" fmla="*/ 210 h 235"/>
              <a:gd name="T60" fmla="*/ 542 w 736"/>
              <a:gd name="T61" fmla="*/ 186 h 235"/>
              <a:gd name="T62" fmla="*/ 546 w 736"/>
              <a:gd name="T63" fmla="*/ 66 h 235"/>
              <a:gd name="T64" fmla="*/ 572 w 736"/>
              <a:gd name="T65" fmla="*/ 231 h 235"/>
              <a:gd name="T66" fmla="*/ 712 w 736"/>
              <a:gd name="T67" fmla="*/ 231 h 235"/>
              <a:gd name="T68" fmla="*/ 669 w 736"/>
              <a:gd name="T69" fmla="*/ 234 h 235"/>
              <a:gd name="T70" fmla="*/ 611 w 736"/>
              <a:gd name="T71" fmla="*/ 193 h 235"/>
              <a:gd name="T72" fmla="*/ 611 w 736"/>
              <a:gd name="T73" fmla="*/ 104 h 235"/>
              <a:gd name="T74" fmla="*/ 668 w 736"/>
              <a:gd name="T75" fmla="*/ 63 h 235"/>
              <a:gd name="T76" fmla="*/ 710 w 736"/>
              <a:gd name="T77" fmla="*/ 85 h 235"/>
              <a:gd name="T78" fmla="*/ 736 w 736"/>
              <a:gd name="T79" fmla="*/ 3 h 235"/>
              <a:gd name="T80" fmla="*/ 712 w 736"/>
              <a:gd name="T81" fmla="*/ 231 h 235"/>
              <a:gd name="T82" fmla="*/ 642 w 736"/>
              <a:gd name="T83" fmla="*/ 196 h 235"/>
              <a:gd name="T84" fmla="*/ 700 w 736"/>
              <a:gd name="T85" fmla="*/ 196 h 235"/>
              <a:gd name="T86" fmla="*/ 700 w 736"/>
              <a:gd name="T87" fmla="*/ 101 h 235"/>
              <a:gd name="T88" fmla="*/ 641 w 736"/>
              <a:gd name="T89" fmla="*/ 101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736" h="235">
                <a:moveTo>
                  <a:pt x="158" y="151"/>
                </a:moveTo>
                <a:lnTo>
                  <a:pt x="187" y="159"/>
                </a:lnTo>
                <a:cubicBezTo>
                  <a:pt x="181" y="183"/>
                  <a:pt x="170" y="202"/>
                  <a:pt x="155" y="215"/>
                </a:cubicBezTo>
                <a:cubicBezTo>
                  <a:pt x="140" y="228"/>
                  <a:pt x="121" y="235"/>
                  <a:pt x="99" y="235"/>
                </a:cubicBezTo>
                <a:cubicBezTo>
                  <a:pt x="76" y="235"/>
                  <a:pt x="58" y="230"/>
                  <a:pt x="43" y="220"/>
                </a:cubicBezTo>
                <a:cubicBezTo>
                  <a:pt x="29" y="210"/>
                  <a:pt x="18" y="195"/>
                  <a:pt x="11" y="176"/>
                </a:cubicBezTo>
                <a:cubicBezTo>
                  <a:pt x="3" y="157"/>
                  <a:pt x="0" y="137"/>
                  <a:pt x="0" y="115"/>
                </a:cubicBezTo>
                <a:cubicBezTo>
                  <a:pt x="0" y="92"/>
                  <a:pt x="4" y="71"/>
                  <a:pt x="12" y="54"/>
                </a:cubicBezTo>
                <a:cubicBezTo>
                  <a:pt x="21" y="36"/>
                  <a:pt x="33" y="23"/>
                  <a:pt x="48" y="13"/>
                </a:cubicBezTo>
                <a:cubicBezTo>
                  <a:pt x="64" y="4"/>
                  <a:pt x="81" y="0"/>
                  <a:pt x="99" y="0"/>
                </a:cubicBezTo>
                <a:cubicBezTo>
                  <a:pt x="121" y="0"/>
                  <a:pt x="138" y="5"/>
                  <a:pt x="153" y="17"/>
                </a:cubicBezTo>
                <a:cubicBezTo>
                  <a:pt x="167" y="29"/>
                  <a:pt x="177" y="45"/>
                  <a:pt x="183" y="66"/>
                </a:cubicBezTo>
                <a:lnTo>
                  <a:pt x="155" y="73"/>
                </a:lnTo>
                <a:cubicBezTo>
                  <a:pt x="151" y="56"/>
                  <a:pt x="143" y="44"/>
                  <a:pt x="134" y="37"/>
                </a:cubicBezTo>
                <a:cubicBezTo>
                  <a:pt x="125" y="29"/>
                  <a:pt x="113" y="25"/>
                  <a:pt x="99" y="25"/>
                </a:cubicBezTo>
                <a:cubicBezTo>
                  <a:pt x="83" y="25"/>
                  <a:pt x="69" y="30"/>
                  <a:pt x="58" y="38"/>
                </a:cubicBezTo>
                <a:cubicBezTo>
                  <a:pt x="47" y="46"/>
                  <a:pt x="40" y="58"/>
                  <a:pt x="35" y="72"/>
                </a:cubicBezTo>
                <a:cubicBezTo>
                  <a:pt x="31" y="86"/>
                  <a:pt x="29" y="100"/>
                  <a:pt x="29" y="115"/>
                </a:cubicBezTo>
                <a:cubicBezTo>
                  <a:pt x="29" y="135"/>
                  <a:pt x="31" y="151"/>
                  <a:pt x="36" y="166"/>
                </a:cubicBezTo>
                <a:cubicBezTo>
                  <a:pt x="42" y="180"/>
                  <a:pt x="50" y="191"/>
                  <a:pt x="61" y="198"/>
                </a:cubicBezTo>
                <a:cubicBezTo>
                  <a:pt x="72" y="205"/>
                  <a:pt x="84" y="209"/>
                  <a:pt x="97" y="209"/>
                </a:cubicBezTo>
                <a:cubicBezTo>
                  <a:pt x="112" y="209"/>
                  <a:pt x="126" y="204"/>
                  <a:pt x="136" y="194"/>
                </a:cubicBezTo>
                <a:cubicBezTo>
                  <a:pt x="147" y="185"/>
                  <a:pt x="155" y="170"/>
                  <a:pt x="158" y="151"/>
                </a:cubicBezTo>
                <a:close/>
                <a:moveTo>
                  <a:pt x="217" y="231"/>
                </a:moveTo>
                <a:lnTo>
                  <a:pt x="217" y="3"/>
                </a:lnTo>
                <a:lnTo>
                  <a:pt x="243" y="3"/>
                </a:lnTo>
                <a:lnTo>
                  <a:pt x="243" y="231"/>
                </a:lnTo>
                <a:lnTo>
                  <a:pt x="217" y="231"/>
                </a:lnTo>
                <a:close/>
                <a:moveTo>
                  <a:pt x="274" y="148"/>
                </a:moveTo>
                <a:cubicBezTo>
                  <a:pt x="274" y="118"/>
                  <a:pt x="282" y="95"/>
                  <a:pt x="298" y="81"/>
                </a:cubicBezTo>
                <a:cubicBezTo>
                  <a:pt x="311" y="69"/>
                  <a:pt x="327" y="63"/>
                  <a:pt x="346" y="63"/>
                </a:cubicBezTo>
                <a:cubicBezTo>
                  <a:pt x="367" y="63"/>
                  <a:pt x="384" y="70"/>
                  <a:pt x="398" y="85"/>
                </a:cubicBezTo>
                <a:cubicBezTo>
                  <a:pt x="411" y="99"/>
                  <a:pt x="418" y="120"/>
                  <a:pt x="418" y="146"/>
                </a:cubicBezTo>
                <a:cubicBezTo>
                  <a:pt x="418" y="167"/>
                  <a:pt x="415" y="184"/>
                  <a:pt x="409" y="196"/>
                </a:cubicBezTo>
                <a:cubicBezTo>
                  <a:pt x="403" y="208"/>
                  <a:pt x="394" y="218"/>
                  <a:pt x="383" y="224"/>
                </a:cubicBezTo>
                <a:cubicBezTo>
                  <a:pt x="372" y="231"/>
                  <a:pt x="359" y="234"/>
                  <a:pt x="346" y="234"/>
                </a:cubicBezTo>
                <a:cubicBezTo>
                  <a:pt x="324" y="234"/>
                  <a:pt x="307" y="227"/>
                  <a:pt x="294" y="212"/>
                </a:cubicBezTo>
                <a:cubicBezTo>
                  <a:pt x="280" y="197"/>
                  <a:pt x="274" y="176"/>
                  <a:pt x="274" y="148"/>
                </a:cubicBezTo>
                <a:close/>
                <a:moveTo>
                  <a:pt x="300" y="148"/>
                </a:moveTo>
                <a:cubicBezTo>
                  <a:pt x="300" y="170"/>
                  <a:pt x="305" y="185"/>
                  <a:pt x="313" y="196"/>
                </a:cubicBezTo>
                <a:cubicBezTo>
                  <a:pt x="322" y="206"/>
                  <a:pt x="333" y="211"/>
                  <a:pt x="346" y="211"/>
                </a:cubicBezTo>
                <a:cubicBezTo>
                  <a:pt x="359" y="211"/>
                  <a:pt x="370" y="206"/>
                  <a:pt x="378" y="196"/>
                </a:cubicBezTo>
                <a:cubicBezTo>
                  <a:pt x="387" y="185"/>
                  <a:pt x="391" y="169"/>
                  <a:pt x="391" y="148"/>
                </a:cubicBezTo>
                <a:cubicBezTo>
                  <a:pt x="391" y="127"/>
                  <a:pt x="387" y="112"/>
                  <a:pt x="378" y="101"/>
                </a:cubicBezTo>
                <a:cubicBezTo>
                  <a:pt x="369" y="91"/>
                  <a:pt x="359" y="86"/>
                  <a:pt x="346" y="86"/>
                </a:cubicBezTo>
                <a:cubicBezTo>
                  <a:pt x="333" y="86"/>
                  <a:pt x="322" y="91"/>
                  <a:pt x="313" y="101"/>
                </a:cubicBezTo>
                <a:cubicBezTo>
                  <a:pt x="305" y="112"/>
                  <a:pt x="300" y="127"/>
                  <a:pt x="300" y="148"/>
                </a:cubicBezTo>
                <a:close/>
                <a:moveTo>
                  <a:pt x="548" y="231"/>
                </a:moveTo>
                <a:lnTo>
                  <a:pt x="548" y="206"/>
                </a:lnTo>
                <a:cubicBezTo>
                  <a:pt x="536" y="225"/>
                  <a:pt x="520" y="234"/>
                  <a:pt x="500" y="234"/>
                </a:cubicBezTo>
                <a:cubicBezTo>
                  <a:pt x="491" y="234"/>
                  <a:pt x="482" y="232"/>
                  <a:pt x="475" y="229"/>
                </a:cubicBezTo>
                <a:cubicBezTo>
                  <a:pt x="467" y="225"/>
                  <a:pt x="461" y="220"/>
                  <a:pt x="457" y="215"/>
                </a:cubicBezTo>
                <a:cubicBezTo>
                  <a:pt x="453" y="209"/>
                  <a:pt x="451" y="202"/>
                  <a:pt x="449" y="194"/>
                </a:cubicBezTo>
                <a:cubicBezTo>
                  <a:pt x="448" y="189"/>
                  <a:pt x="448" y="180"/>
                  <a:pt x="448" y="168"/>
                </a:cubicBezTo>
                <a:lnTo>
                  <a:pt x="448" y="66"/>
                </a:lnTo>
                <a:lnTo>
                  <a:pt x="474" y="66"/>
                </a:lnTo>
                <a:lnTo>
                  <a:pt x="474" y="157"/>
                </a:lnTo>
                <a:cubicBezTo>
                  <a:pt x="474" y="172"/>
                  <a:pt x="474" y="182"/>
                  <a:pt x="475" y="187"/>
                </a:cubicBezTo>
                <a:cubicBezTo>
                  <a:pt x="477" y="194"/>
                  <a:pt x="480" y="200"/>
                  <a:pt x="486" y="204"/>
                </a:cubicBezTo>
                <a:cubicBezTo>
                  <a:pt x="491" y="208"/>
                  <a:pt x="497" y="210"/>
                  <a:pt x="505" y="210"/>
                </a:cubicBezTo>
                <a:cubicBezTo>
                  <a:pt x="513" y="210"/>
                  <a:pt x="520" y="208"/>
                  <a:pt x="527" y="204"/>
                </a:cubicBezTo>
                <a:cubicBezTo>
                  <a:pt x="534" y="199"/>
                  <a:pt x="539" y="194"/>
                  <a:pt x="542" y="186"/>
                </a:cubicBezTo>
                <a:cubicBezTo>
                  <a:pt x="544" y="179"/>
                  <a:pt x="546" y="168"/>
                  <a:pt x="546" y="154"/>
                </a:cubicBezTo>
                <a:lnTo>
                  <a:pt x="546" y="66"/>
                </a:lnTo>
                <a:lnTo>
                  <a:pt x="572" y="66"/>
                </a:lnTo>
                <a:lnTo>
                  <a:pt x="572" y="231"/>
                </a:lnTo>
                <a:lnTo>
                  <a:pt x="548" y="231"/>
                </a:lnTo>
                <a:close/>
                <a:moveTo>
                  <a:pt x="712" y="231"/>
                </a:moveTo>
                <a:lnTo>
                  <a:pt x="712" y="210"/>
                </a:lnTo>
                <a:cubicBezTo>
                  <a:pt x="702" y="226"/>
                  <a:pt x="688" y="234"/>
                  <a:pt x="669" y="234"/>
                </a:cubicBezTo>
                <a:cubicBezTo>
                  <a:pt x="657" y="234"/>
                  <a:pt x="645" y="231"/>
                  <a:pt x="635" y="223"/>
                </a:cubicBezTo>
                <a:cubicBezTo>
                  <a:pt x="625" y="216"/>
                  <a:pt x="617" y="206"/>
                  <a:pt x="611" y="193"/>
                </a:cubicBezTo>
                <a:cubicBezTo>
                  <a:pt x="606" y="180"/>
                  <a:pt x="603" y="165"/>
                  <a:pt x="603" y="149"/>
                </a:cubicBezTo>
                <a:cubicBezTo>
                  <a:pt x="603" y="132"/>
                  <a:pt x="605" y="117"/>
                  <a:pt x="611" y="104"/>
                </a:cubicBezTo>
                <a:cubicBezTo>
                  <a:pt x="616" y="91"/>
                  <a:pt x="623" y="80"/>
                  <a:pt x="634" y="73"/>
                </a:cubicBezTo>
                <a:cubicBezTo>
                  <a:pt x="644" y="66"/>
                  <a:pt x="655" y="63"/>
                  <a:pt x="668" y="63"/>
                </a:cubicBezTo>
                <a:cubicBezTo>
                  <a:pt x="677" y="63"/>
                  <a:pt x="685" y="65"/>
                  <a:pt x="692" y="69"/>
                </a:cubicBezTo>
                <a:cubicBezTo>
                  <a:pt x="700" y="73"/>
                  <a:pt x="705" y="78"/>
                  <a:pt x="710" y="85"/>
                </a:cubicBezTo>
                <a:lnTo>
                  <a:pt x="710" y="3"/>
                </a:lnTo>
                <a:lnTo>
                  <a:pt x="736" y="3"/>
                </a:lnTo>
                <a:lnTo>
                  <a:pt x="736" y="231"/>
                </a:lnTo>
                <a:lnTo>
                  <a:pt x="712" y="231"/>
                </a:lnTo>
                <a:close/>
                <a:moveTo>
                  <a:pt x="630" y="149"/>
                </a:moveTo>
                <a:cubicBezTo>
                  <a:pt x="630" y="170"/>
                  <a:pt x="634" y="185"/>
                  <a:pt x="642" y="196"/>
                </a:cubicBezTo>
                <a:cubicBezTo>
                  <a:pt x="650" y="206"/>
                  <a:pt x="660" y="211"/>
                  <a:pt x="671" y="211"/>
                </a:cubicBezTo>
                <a:cubicBezTo>
                  <a:pt x="683" y="211"/>
                  <a:pt x="692" y="206"/>
                  <a:pt x="700" y="196"/>
                </a:cubicBezTo>
                <a:cubicBezTo>
                  <a:pt x="708" y="187"/>
                  <a:pt x="712" y="171"/>
                  <a:pt x="712" y="151"/>
                </a:cubicBezTo>
                <a:cubicBezTo>
                  <a:pt x="712" y="128"/>
                  <a:pt x="708" y="112"/>
                  <a:pt x="700" y="101"/>
                </a:cubicBezTo>
                <a:cubicBezTo>
                  <a:pt x="692" y="91"/>
                  <a:pt x="682" y="86"/>
                  <a:pt x="670" y="86"/>
                </a:cubicBezTo>
                <a:cubicBezTo>
                  <a:pt x="659" y="86"/>
                  <a:pt x="649" y="91"/>
                  <a:pt x="641" y="101"/>
                </a:cubicBezTo>
                <a:cubicBezTo>
                  <a:pt x="633" y="111"/>
                  <a:pt x="630" y="127"/>
                  <a:pt x="630" y="14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1" name="Freeform 61">
            <a:extLst>
              <a:ext uri="{FF2B5EF4-FFF2-40B4-BE49-F238E27FC236}">
                <a16:creationId xmlns:a16="http://schemas.microsoft.com/office/drawing/2014/main" id="{718A5E09-460A-4461-ADF1-4A14D15F17CD}"/>
              </a:ext>
            </a:extLst>
          </p:cNvPr>
          <p:cNvSpPr>
            <a:spLocks noEditPoints="1"/>
          </p:cNvSpPr>
          <p:nvPr/>
        </p:nvSpPr>
        <p:spPr bwMode="auto">
          <a:xfrm>
            <a:off x="1925638" y="4049713"/>
            <a:ext cx="606425" cy="196850"/>
          </a:xfrm>
          <a:custGeom>
            <a:avLst/>
            <a:gdLst>
              <a:gd name="T0" fmla="*/ 138 w 1682"/>
              <a:gd name="T1" fmla="*/ 94 h 545"/>
              <a:gd name="T2" fmla="*/ 138 w 1682"/>
              <a:gd name="T3" fmla="*/ 121 h 545"/>
              <a:gd name="T4" fmla="*/ 555 w 1682"/>
              <a:gd name="T5" fmla="*/ 318 h 545"/>
              <a:gd name="T6" fmla="*/ 700 w 1682"/>
              <a:gd name="T7" fmla="*/ 414 h 545"/>
              <a:gd name="T8" fmla="*/ 713 w 1682"/>
              <a:gd name="T9" fmla="*/ 545 h 545"/>
              <a:gd name="T10" fmla="*/ 889 w 1682"/>
              <a:gd name="T11" fmla="*/ 324 h 545"/>
              <a:gd name="T12" fmla="*/ 879 w 1682"/>
              <a:gd name="T13" fmla="*/ 453 h 545"/>
              <a:gd name="T14" fmla="*/ 856 w 1682"/>
              <a:gd name="T15" fmla="*/ 467 h 545"/>
              <a:gd name="T16" fmla="*/ 781 w 1682"/>
              <a:gd name="T17" fmla="*/ 545 h 545"/>
              <a:gd name="T18" fmla="*/ 887 w 1682"/>
              <a:gd name="T19" fmla="*/ 400 h 545"/>
              <a:gd name="T20" fmla="*/ 781 w 1682"/>
              <a:gd name="T21" fmla="*/ 418 h 545"/>
              <a:gd name="T22" fmla="*/ 1104 w 1682"/>
              <a:gd name="T23" fmla="*/ 331 h 545"/>
              <a:gd name="T24" fmla="*/ 994 w 1682"/>
              <a:gd name="T25" fmla="*/ 453 h 545"/>
              <a:gd name="T26" fmla="*/ 1087 w 1682"/>
              <a:gd name="T27" fmla="*/ 415 h 545"/>
              <a:gd name="T28" fmla="*/ 994 w 1682"/>
              <a:gd name="T29" fmla="*/ 345 h 545"/>
              <a:gd name="T30" fmla="*/ 235 w 1682"/>
              <a:gd name="T31" fmla="*/ 32 h 545"/>
              <a:gd name="T32" fmla="*/ 235 w 1682"/>
              <a:gd name="T33" fmla="*/ 228 h 545"/>
              <a:gd name="T34" fmla="*/ 331 w 1682"/>
              <a:gd name="T35" fmla="*/ 271 h 545"/>
              <a:gd name="T36" fmla="*/ 282 w 1682"/>
              <a:gd name="T37" fmla="*/ 203 h 545"/>
              <a:gd name="T38" fmla="*/ 376 w 1682"/>
              <a:gd name="T39" fmla="*/ 83 h 545"/>
              <a:gd name="T40" fmla="*/ 370 w 1682"/>
              <a:gd name="T41" fmla="*/ 285 h 545"/>
              <a:gd name="T42" fmla="*/ 304 w 1682"/>
              <a:gd name="T43" fmla="*/ 190 h 545"/>
              <a:gd name="T44" fmla="*/ 333 w 1682"/>
              <a:gd name="T45" fmla="*/ 83 h 545"/>
              <a:gd name="T46" fmla="*/ 466 w 1682"/>
              <a:gd name="T47" fmla="*/ 0 h 545"/>
              <a:gd name="T48" fmla="*/ 564 w 1682"/>
              <a:gd name="T49" fmla="*/ 123 h 545"/>
              <a:gd name="T50" fmla="*/ 506 w 1682"/>
              <a:gd name="T51" fmla="*/ 84 h 545"/>
              <a:gd name="T52" fmla="*/ 440 w 1682"/>
              <a:gd name="T53" fmla="*/ 228 h 545"/>
              <a:gd name="T54" fmla="*/ 765 w 1682"/>
              <a:gd name="T55" fmla="*/ 203 h 545"/>
              <a:gd name="T56" fmla="*/ 750 w 1682"/>
              <a:gd name="T57" fmla="*/ 228 h 545"/>
              <a:gd name="T58" fmla="*/ 877 w 1682"/>
              <a:gd name="T59" fmla="*/ 209 h 545"/>
              <a:gd name="T60" fmla="*/ 998 w 1682"/>
              <a:gd name="T61" fmla="*/ 145 h 545"/>
              <a:gd name="T62" fmla="*/ 955 w 1682"/>
              <a:gd name="T63" fmla="*/ 200 h 545"/>
              <a:gd name="T64" fmla="*/ 929 w 1682"/>
              <a:gd name="T65" fmla="*/ 82 h 545"/>
              <a:gd name="T66" fmla="*/ 1056 w 1682"/>
              <a:gd name="T67" fmla="*/ 0 h 545"/>
              <a:gd name="T68" fmla="*/ 1158 w 1682"/>
              <a:gd name="T69" fmla="*/ 60 h 545"/>
              <a:gd name="T70" fmla="*/ 1158 w 1682"/>
              <a:gd name="T71" fmla="*/ 231 h 545"/>
              <a:gd name="T72" fmla="*/ 1158 w 1682"/>
              <a:gd name="T73" fmla="*/ 208 h 545"/>
              <a:gd name="T74" fmla="*/ 1126 w 1682"/>
              <a:gd name="T75" fmla="*/ 98 h 545"/>
              <a:gd name="T76" fmla="*/ 1323 w 1682"/>
              <a:gd name="T77" fmla="*/ 231 h 545"/>
              <a:gd name="T78" fmla="*/ 1323 w 1682"/>
              <a:gd name="T79" fmla="*/ 60 h 545"/>
              <a:gd name="T80" fmla="*/ 1324 w 1682"/>
              <a:gd name="T81" fmla="*/ 82 h 545"/>
              <a:gd name="T82" fmla="*/ 1348 w 1682"/>
              <a:gd name="T83" fmla="*/ 198 h 545"/>
              <a:gd name="T84" fmla="*/ 1435 w 1682"/>
              <a:gd name="T85" fmla="*/ 32 h 545"/>
              <a:gd name="T86" fmla="*/ 1435 w 1682"/>
              <a:gd name="T87" fmla="*/ 228 h 545"/>
              <a:gd name="T88" fmla="*/ 1493 w 1682"/>
              <a:gd name="T89" fmla="*/ 225 h 545"/>
              <a:gd name="T90" fmla="*/ 1460 w 1682"/>
              <a:gd name="T91" fmla="*/ 63 h 545"/>
              <a:gd name="T92" fmla="*/ 1531 w 1682"/>
              <a:gd name="T93" fmla="*/ 63 h 545"/>
              <a:gd name="T94" fmla="*/ 1511 w 1682"/>
              <a:gd name="T95" fmla="*/ 202 h 545"/>
              <a:gd name="T96" fmla="*/ 1567 w 1682"/>
              <a:gd name="T97" fmla="*/ 268 h 545"/>
              <a:gd name="T98" fmla="*/ 1542 w 1682"/>
              <a:gd name="T99" fmla="*/ 63 h 545"/>
              <a:gd name="T100" fmla="*/ 1656 w 1682"/>
              <a:gd name="T101" fmla="*/ 63 h 545"/>
              <a:gd name="T102" fmla="*/ 1572 w 1682"/>
              <a:gd name="T103" fmla="*/ 294 h 5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682" h="545">
                <a:moveTo>
                  <a:pt x="0" y="228"/>
                </a:moveTo>
                <a:lnTo>
                  <a:pt x="0" y="0"/>
                </a:lnTo>
                <a:lnTo>
                  <a:pt x="28" y="0"/>
                </a:lnTo>
                <a:lnTo>
                  <a:pt x="28" y="94"/>
                </a:lnTo>
                <a:lnTo>
                  <a:pt x="138" y="94"/>
                </a:lnTo>
                <a:lnTo>
                  <a:pt x="138" y="0"/>
                </a:lnTo>
                <a:lnTo>
                  <a:pt x="166" y="0"/>
                </a:lnTo>
                <a:lnTo>
                  <a:pt x="166" y="228"/>
                </a:lnTo>
                <a:lnTo>
                  <a:pt x="138" y="228"/>
                </a:lnTo>
                <a:lnTo>
                  <a:pt x="138" y="121"/>
                </a:lnTo>
                <a:lnTo>
                  <a:pt x="28" y="121"/>
                </a:lnTo>
                <a:lnTo>
                  <a:pt x="28" y="228"/>
                </a:lnTo>
                <a:lnTo>
                  <a:pt x="0" y="228"/>
                </a:lnTo>
                <a:close/>
                <a:moveTo>
                  <a:pt x="555" y="545"/>
                </a:moveTo>
                <a:lnTo>
                  <a:pt x="555" y="318"/>
                </a:lnTo>
                <a:lnTo>
                  <a:pt x="708" y="318"/>
                </a:lnTo>
                <a:lnTo>
                  <a:pt x="708" y="345"/>
                </a:lnTo>
                <a:lnTo>
                  <a:pt x="583" y="345"/>
                </a:lnTo>
                <a:lnTo>
                  <a:pt x="583" y="414"/>
                </a:lnTo>
                <a:lnTo>
                  <a:pt x="700" y="414"/>
                </a:lnTo>
                <a:lnTo>
                  <a:pt x="700" y="441"/>
                </a:lnTo>
                <a:lnTo>
                  <a:pt x="583" y="441"/>
                </a:lnTo>
                <a:lnTo>
                  <a:pt x="583" y="519"/>
                </a:lnTo>
                <a:lnTo>
                  <a:pt x="713" y="519"/>
                </a:lnTo>
                <a:lnTo>
                  <a:pt x="713" y="545"/>
                </a:lnTo>
                <a:lnTo>
                  <a:pt x="555" y="545"/>
                </a:lnTo>
                <a:close/>
                <a:moveTo>
                  <a:pt x="752" y="545"/>
                </a:moveTo>
                <a:lnTo>
                  <a:pt x="752" y="318"/>
                </a:lnTo>
                <a:lnTo>
                  <a:pt x="846" y="318"/>
                </a:lnTo>
                <a:cubicBezTo>
                  <a:pt x="865" y="318"/>
                  <a:pt x="880" y="320"/>
                  <a:pt x="889" y="324"/>
                </a:cubicBezTo>
                <a:cubicBezTo>
                  <a:pt x="899" y="328"/>
                  <a:pt x="907" y="335"/>
                  <a:pt x="913" y="346"/>
                </a:cubicBezTo>
                <a:cubicBezTo>
                  <a:pt x="919" y="356"/>
                  <a:pt x="922" y="367"/>
                  <a:pt x="922" y="380"/>
                </a:cubicBezTo>
                <a:cubicBezTo>
                  <a:pt x="922" y="396"/>
                  <a:pt x="917" y="410"/>
                  <a:pt x="907" y="421"/>
                </a:cubicBezTo>
                <a:cubicBezTo>
                  <a:pt x="897" y="432"/>
                  <a:pt x="882" y="439"/>
                  <a:pt x="862" y="442"/>
                </a:cubicBezTo>
                <a:cubicBezTo>
                  <a:pt x="869" y="446"/>
                  <a:pt x="875" y="449"/>
                  <a:pt x="879" y="453"/>
                </a:cubicBezTo>
                <a:cubicBezTo>
                  <a:pt x="887" y="461"/>
                  <a:pt x="895" y="471"/>
                  <a:pt x="902" y="483"/>
                </a:cubicBezTo>
                <a:lnTo>
                  <a:pt x="939" y="545"/>
                </a:lnTo>
                <a:lnTo>
                  <a:pt x="904" y="545"/>
                </a:lnTo>
                <a:lnTo>
                  <a:pt x="876" y="498"/>
                </a:lnTo>
                <a:cubicBezTo>
                  <a:pt x="868" y="484"/>
                  <a:pt x="861" y="474"/>
                  <a:pt x="856" y="467"/>
                </a:cubicBezTo>
                <a:cubicBezTo>
                  <a:pt x="850" y="459"/>
                  <a:pt x="846" y="454"/>
                  <a:pt x="841" y="451"/>
                </a:cubicBezTo>
                <a:cubicBezTo>
                  <a:pt x="837" y="449"/>
                  <a:pt x="833" y="447"/>
                  <a:pt x="829" y="445"/>
                </a:cubicBezTo>
                <a:cubicBezTo>
                  <a:pt x="825" y="445"/>
                  <a:pt x="820" y="444"/>
                  <a:pt x="813" y="444"/>
                </a:cubicBezTo>
                <a:lnTo>
                  <a:pt x="781" y="444"/>
                </a:lnTo>
                <a:lnTo>
                  <a:pt x="781" y="545"/>
                </a:lnTo>
                <a:lnTo>
                  <a:pt x="752" y="545"/>
                </a:lnTo>
                <a:close/>
                <a:moveTo>
                  <a:pt x="781" y="418"/>
                </a:moveTo>
                <a:lnTo>
                  <a:pt x="841" y="418"/>
                </a:lnTo>
                <a:cubicBezTo>
                  <a:pt x="854" y="418"/>
                  <a:pt x="863" y="417"/>
                  <a:pt x="871" y="414"/>
                </a:cubicBezTo>
                <a:cubicBezTo>
                  <a:pt x="878" y="411"/>
                  <a:pt x="883" y="407"/>
                  <a:pt x="887" y="400"/>
                </a:cubicBezTo>
                <a:cubicBezTo>
                  <a:pt x="891" y="394"/>
                  <a:pt x="893" y="387"/>
                  <a:pt x="893" y="380"/>
                </a:cubicBezTo>
                <a:cubicBezTo>
                  <a:pt x="893" y="369"/>
                  <a:pt x="889" y="360"/>
                  <a:pt x="882" y="353"/>
                </a:cubicBezTo>
                <a:cubicBezTo>
                  <a:pt x="875" y="346"/>
                  <a:pt x="863" y="343"/>
                  <a:pt x="848" y="343"/>
                </a:cubicBezTo>
                <a:lnTo>
                  <a:pt x="781" y="343"/>
                </a:lnTo>
                <a:lnTo>
                  <a:pt x="781" y="418"/>
                </a:lnTo>
                <a:close/>
                <a:moveTo>
                  <a:pt x="965" y="545"/>
                </a:moveTo>
                <a:lnTo>
                  <a:pt x="965" y="318"/>
                </a:lnTo>
                <a:lnTo>
                  <a:pt x="1045" y="318"/>
                </a:lnTo>
                <a:cubicBezTo>
                  <a:pt x="1059" y="318"/>
                  <a:pt x="1070" y="319"/>
                  <a:pt x="1078" y="320"/>
                </a:cubicBezTo>
                <a:cubicBezTo>
                  <a:pt x="1088" y="322"/>
                  <a:pt x="1097" y="326"/>
                  <a:pt x="1104" y="331"/>
                </a:cubicBezTo>
                <a:cubicBezTo>
                  <a:pt x="1111" y="336"/>
                  <a:pt x="1117" y="343"/>
                  <a:pt x="1121" y="353"/>
                </a:cubicBezTo>
                <a:cubicBezTo>
                  <a:pt x="1125" y="362"/>
                  <a:pt x="1127" y="372"/>
                  <a:pt x="1127" y="384"/>
                </a:cubicBezTo>
                <a:cubicBezTo>
                  <a:pt x="1127" y="403"/>
                  <a:pt x="1122" y="419"/>
                  <a:pt x="1110" y="433"/>
                </a:cubicBezTo>
                <a:cubicBezTo>
                  <a:pt x="1099" y="446"/>
                  <a:pt x="1078" y="453"/>
                  <a:pt x="1048" y="453"/>
                </a:cubicBezTo>
                <a:lnTo>
                  <a:pt x="994" y="453"/>
                </a:lnTo>
                <a:lnTo>
                  <a:pt x="994" y="545"/>
                </a:lnTo>
                <a:lnTo>
                  <a:pt x="965" y="545"/>
                </a:lnTo>
                <a:close/>
                <a:moveTo>
                  <a:pt x="994" y="426"/>
                </a:moveTo>
                <a:lnTo>
                  <a:pt x="1048" y="426"/>
                </a:lnTo>
                <a:cubicBezTo>
                  <a:pt x="1066" y="426"/>
                  <a:pt x="1079" y="422"/>
                  <a:pt x="1087" y="415"/>
                </a:cubicBezTo>
                <a:cubicBezTo>
                  <a:pt x="1095" y="408"/>
                  <a:pt x="1098" y="398"/>
                  <a:pt x="1098" y="384"/>
                </a:cubicBezTo>
                <a:cubicBezTo>
                  <a:pt x="1098" y="375"/>
                  <a:pt x="1096" y="367"/>
                  <a:pt x="1092" y="360"/>
                </a:cubicBezTo>
                <a:cubicBezTo>
                  <a:pt x="1087" y="353"/>
                  <a:pt x="1081" y="349"/>
                  <a:pt x="1074" y="347"/>
                </a:cubicBezTo>
                <a:cubicBezTo>
                  <a:pt x="1069" y="345"/>
                  <a:pt x="1060" y="345"/>
                  <a:pt x="1048" y="345"/>
                </a:cubicBezTo>
                <a:lnTo>
                  <a:pt x="994" y="345"/>
                </a:lnTo>
                <a:lnTo>
                  <a:pt x="994" y="426"/>
                </a:lnTo>
                <a:close/>
                <a:moveTo>
                  <a:pt x="209" y="32"/>
                </a:moveTo>
                <a:lnTo>
                  <a:pt x="209" y="0"/>
                </a:lnTo>
                <a:lnTo>
                  <a:pt x="235" y="0"/>
                </a:lnTo>
                <a:lnTo>
                  <a:pt x="235" y="32"/>
                </a:lnTo>
                <a:lnTo>
                  <a:pt x="209" y="32"/>
                </a:lnTo>
                <a:close/>
                <a:moveTo>
                  <a:pt x="209" y="228"/>
                </a:moveTo>
                <a:lnTo>
                  <a:pt x="209" y="63"/>
                </a:lnTo>
                <a:lnTo>
                  <a:pt x="235" y="63"/>
                </a:lnTo>
                <a:lnTo>
                  <a:pt x="235" y="228"/>
                </a:lnTo>
                <a:lnTo>
                  <a:pt x="209" y="228"/>
                </a:lnTo>
                <a:close/>
                <a:moveTo>
                  <a:pt x="270" y="241"/>
                </a:moveTo>
                <a:lnTo>
                  <a:pt x="296" y="245"/>
                </a:lnTo>
                <a:cubicBezTo>
                  <a:pt x="297" y="254"/>
                  <a:pt x="300" y="260"/>
                  <a:pt x="304" y="264"/>
                </a:cubicBezTo>
                <a:cubicBezTo>
                  <a:pt x="311" y="269"/>
                  <a:pt x="320" y="271"/>
                  <a:pt x="331" y="271"/>
                </a:cubicBezTo>
                <a:cubicBezTo>
                  <a:pt x="343" y="271"/>
                  <a:pt x="352" y="269"/>
                  <a:pt x="359" y="264"/>
                </a:cubicBezTo>
                <a:cubicBezTo>
                  <a:pt x="365" y="258"/>
                  <a:pt x="370" y="251"/>
                  <a:pt x="372" y="242"/>
                </a:cubicBezTo>
                <a:cubicBezTo>
                  <a:pt x="373" y="236"/>
                  <a:pt x="374" y="224"/>
                  <a:pt x="374" y="206"/>
                </a:cubicBezTo>
                <a:cubicBezTo>
                  <a:pt x="363" y="221"/>
                  <a:pt x="348" y="228"/>
                  <a:pt x="331" y="228"/>
                </a:cubicBezTo>
                <a:cubicBezTo>
                  <a:pt x="310" y="228"/>
                  <a:pt x="294" y="220"/>
                  <a:pt x="282" y="203"/>
                </a:cubicBezTo>
                <a:cubicBezTo>
                  <a:pt x="271" y="187"/>
                  <a:pt x="265" y="167"/>
                  <a:pt x="265" y="145"/>
                </a:cubicBezTo>
                <a:cubicBezTo>
                  <a:pt x="265" y="129"/>
                  <a:pt x="268" y="114"/>
                  <a:pt x="273" y="101"/>
                </a:cubicBezTo>
                <a:cubicBezTo>
                  <a:pt x="278" y="88"/>
                  <a:pt x="286" y="78"/>
                  <a:pt x="296" y="70"/>
                </a:cubicBezTo>
                <a:cubicBezTo>
                  <a:pt x="306" y="63"/>
                  <a:pt x="318" y="60"/>
                  <a:pt x="332" y="60"/>
                </a:cubicBezTo>
                <a:cubicBezTo>
                  <a:pt x="350" y="60"/>
                  <a:pt x="365" y="67"/>
                  <a:pt x="376" y="83"/>
                </a:cubicBezTo>
                <a:lnTo>
                  <a:pt x="376" y="63"/>
                </a:lnTo>
                <a:lnTo>
                  <a:pt x="400" y="63"/>
                </a:lnTo>
                <a:lnTo>
                  <a:pt x="400" y="205"/>
                </a:lnTo>
                <a:cubicBezTo>
                  <a:pt x="400" y="231"/>
                  <a:pt x="398" y="249"/>
                  <a:pt x="393" y="260"/>
                </a:cubicBezTo>
                <a:cubicBezTo>
                  <a:pt x="388" y="270"/>
                  <a:pt x="380" y="279"/>
                  <a:pt x="370" y="285"/>
                </a:cubicBezTo>
                <a:cubicBezTo>
                  <a:pt x="359" y="291"/>
                  <a:pt x="346" y="294"/>
                  <a:pt x="331" y="294"/>
                </a:cubicBezTo>
                <a:cubicBezTo>
                  <a:pt x="313" y="294"/>
                  <a:pt x="298" y="290"/>
                  <a:pt x="287" y="281"/>
                </a:cubicBezTo>
                <a:cubicBezTo>
                  <a:pt x="275" y="272"/>
                  <a:pt x="270" y="259"/>
                  <a:pt x="270" y="241"/>
                </a:cubicBezTo>
                <a:close/>
                <a:moveTo>
                  <a:pt x="292" y="143"/>
                </a:moveTo>
                <a:cubicBezTo>
                  <a:pt x="292" y="164"/>
                  <a:pt x="296" y="180"/>
                  <a:pt x="304" y="190"/>
                </a:cubicBezTo>
                <a:cubicBezTo>
                  <a:pt x="312" y="200"/>
                  <a:pt x="322" y="205"/>
                  <a:pt x="334" y="205"/>
                </a:cubicBezTo>
                <a:cubicBezTo>
                  <a:pt x="346" y="205"/>
                  <a:pt x="356" y="200"/>
                  <a:pt x="364" y="190"/>
                </a:cubicBezTo>
                <a:cubicBezTo>
                  <a:pt x="372" y="180"/>
                  <a:pt x="376" y="165"/>
                  <a:pt x="376" y="143"/>
                </a:cubicBezTo>
                <a:cubicBezTo>
                  <a:pt x="376" y="123"/>
                  <a:pt x="372" y="108"/>
                  <a:pt x="363" y="98"/>
                </a:cubicBezTo>
                <a:cubicBezTo>
                  <a:pt x="355" y="88"/>
                  <a:pt x="345" y="83"/>
                  <a:pt x="333" y="83"/>
                </a:cubicBezTo>
                <a:cubicBezTo>
                  <a:pt x="322" y="83"/>
                  <a:pt x="312" y="88"/>
                  <a:pt x="304" y="98"/>
                </a:cubicBezTo>
                <a:cubicBezTo>
                  <a:pt x="296" y="108"/>
                  <a:pt x="292" y="123"/>
                  <a:pt x="292" y="143"/>
                </a:cubicBezTo>
                <a:close/>
                <a:moveTo>
                  <a:pt x="440" y="228"/>
                </a:moveTo>
                <a:lnTo>
                  <a:pt x="440" y="0"/>
                </a:lnTo>
                <a:lnTo>
                  <a:pt x="466" y="0"/>
                </a:lnTo>
                <a:lnTo>
                  <a:pt x="466" y="82"/>
                </a:lnTo>
                <a:cubicBezTo>
                  <a:pt x="478" y="67"/>
                  <a:pt x="493" y="60"/>
                  <a:pt x="511" y="60"/>
                </a:cubicBezTo>
                <a:cubicBezTo>
                  <a:pt x="523" y="60"/>
                  <a:pt x="533" y="62"/>
                  <a:pt x="541" y="67"/>
                </a:cubicBezTo>
                <a:cubicBezTo>
                  <a:pt x="549" y="72"/>
                  <a:pt x="555" y="78"/>
                  <a:pt x="559" y="87"/>
                </a:cubicBezTo>
                <a:cubicBezTo>
                  <a:pt x="562" y="95"/>
                  <a:pt x="564" y="107"/>
                  <a:pt x="564" y="123"/>
                </a:cubicBezTo>
                <a:lnTo>
                  <a:pt x="564" y="228"/>
                </a:lnTo>
                <a:lnTo>
                  <a:pt x="538" y="228"/>
                </a:lnTo>
                <a:lnTo>
                  <a:pt x="538" y="124"/>
                </a:lnTo>
                <a:cubicBezTo>
                  <a:pt x="538" y="110"/>
                  <a:pt x="535" y="100"/>
                  <a:pt x="530" y="93"/>
                </a:cubicBezTo>
                <a:cubicBezTo>
                  <a:pt x="524" y="87"/>
                  <a:pt x="516" y="84"/>
                  <a:pt x="506" y="84"/>
                </a:cubicBezTo>
                <a:cubicBezTo>
                  <a:pt x="498" y="84"/>
                  <a:pt x="491" y="86"/>
                  <a:pt x="484" y="90"/>
                </a:cubicBezTo>
                <a:cubicBezTo>
                  <a:pt x="478" y="94"/>
                  <a:pt x="473" y="100"/>
                  <a:pt x="470" y="108"/>
                </a:cubicBezTo>
                <a:cubicBezTo>
                  <a:pt x="467" y="115"/>
                  <a:pt x="466" y="125"/>
                  <a:pt x="466" y="138"/>
                </a:cubicBezTo>
                <a:lnTo>
                  <a:pt x="466" y="228"/>
                </a:lnTo>
                <a:lnTo>
                  <a:pt x="440" y="228"/>
                </a:lnTo>
                <a:close/>
                <a:moveTo>
                  <a:pt x="750" y="228"/>
                </a:moveTo>
                <a:lnTo>
                  <a:pt x="668" y="0"/>
                </a:lnTo>
                <a:lnTo>
                  <a:pt x="699" y="0"/>
                </a:lnTo>
                <a:lnTo>
                  <a:pt x="754" y="166"/>
                </a:lnTo>
                <a:cubicBezTo>
                  <a:pt x="758" y="179"/>
                  <a:pt x="762" y="191"/>
                  <a:pt x="765" y="203"/>
                </a:cubicBezTo>
                <a:cubicBezTo>
                  <a:pt x="768" y="190"/>
                  <a:pt x="772" y="178"/>
                  <a:pt x="776" y="166"/>
                </a:cubicBezTo>
                <a:lnTo>
                  <a:pt x="833" y="0"/>
                </a:lnTo>
                <a:lnTo>
                  <a:pt x="862" y="0"/>
                </a:lnTo>
                <a:lnTo>
                  <a:pt x="779" y="228"/>
                </a:lnTo>
                <a:lnTo>
                  <a:pt x="750" y="228"/>
                </a:lnTo>
                <a:close/>
                <a:moveTo>
                  <a:pt x="971" y="174"/>
                </a:moveTo>
                <a:lnTo>
                  <a:pt x="998" y="178"/>
                </a:lnTo>
                <a:cubicBezTo>
                  <a:pt x="993" y="195"/>
                  <a:pt x="986" y="208"/>
                  <a:pt x="974" y="217"/>
                </a:cubicBezTo>
                <a:cubicBezTo>
                  <a:pt x="963" y="227"/>
                  <a:pt x="948" y="231"/>
                  <a:pt x="930" y="231"/>
                </a:cubicBezTo>
                <a:cubicBezTo>
                  <a:pt x="908" y="231"/>
                  <a:pt x="890" y="224"/>
                  <a:pt x="877" y="209"/>
                </a:cubicBezTo>
                <a:cubicBezTo>
                  <a:pt x="864" y="194"/>
                  <a:pt x="857" y="173"/>
                  <a:pt x="857" y="147"/>
                </a:cubicBezTo>
                <a:cubicBezTo>
                  <a:pt x="857" y="119"/>
                  <a:pt x="864" y="98"/>
                  <a:pt x="877" y="82"/>
                </a:cubicBezTo>
                <a:cubicBezTo>
                  <a:pt x="890" y="67"/>
                  <a:pt x="908" y="60"/>
                  <a:pt x="929" y="60"/>
                </a:cubicBezTo>
                <a:cubicBezTo>
                  <a:pt x="949" y="60"/>
                  <a:pt x="966" y="67"/>
                  <a:pt x="979" y="82"/>
                </a:cubicBezTo>
                <a:cubicBezTo>
                  <a:pt x="992" y="97"/>
                  <a:pt x="998" y="118"/>
                  <a:pt x="998" y="145"/>
                </a:cubicBezTo>
                <a:cubicBezTo>
                  <a:pt x="998" y="147"/>
                  <a:pt x="998" y="149"/>
                  <a:pt x="998" y="153"/>
                </a:cubicBezTo>
                <a:lnTo>
                  <a:pt x="884" y="153"/>
                </a:lnTo>
                <a:cubicBezTo>
                  <a:pt x="885" y="171"/>
                  <a:pt x="890" y="184"/>
                  <a:pt x="898" y="194"/>
                </a:cubicBezTo>
                <a:cubicBezTo>
                  <a:pt x="907" y="204"/>
                  <a:pt x="918" y="208"/>
                  <a:pt x="930" y="208"/>
                </a:cubicBezTo>
                <a:cubicBezTo>
                  <a:pt x="940" y="208"/>
                  <a:pt x="948" y="206"/>
                  <a:pt x="955" y="200"/>
                </a:cubicBezTo>
                <a:cubicBezTo>
                  <a:pt x="961" y="195"/>
                  <a:pt x="967" y="186"/>
                  <a:pt x="971" y="174"/>
                </a:cubicBezTo>
                <a:close/>
                <a:moveTo>
                  <a:pt x="885" y="130"/>
                </a:moveTo>
                <a:lnTo>
                  <a:pt x="971" y="130"/>
                </a:lnTo>
                <a:cubicBezTo>
                  <a:pt x="970" y="116"/>
                  <a:pt x="967" y="105"/>
                  <a:pt x="961" y="99"/>
                </a:cubicBezTo>
                <a:cubicBezTo>
                  <a:pt x="953" y="88"/>
                  <a:pt x="942" y="82"/>
                  <a:pt x="929" y="82"/>
                </a:cubicBezTo>
                <a:cubicBezTo>
                  <a:pt x="917" y="82"/>
                  <a:pt x="907" y="87"/>
                  <a:pt x="899" y="95"/>
                </a:cubicBezTo>
                <a:cubicBezTo>
                  <a:pt x="891" y="104"/>
                  <a:pt x="886" y="115"/>
                  <a:pt x="885" y="130"/>
                </a:cubicBezTo>
                <a:close/>
                <a:moveTo>
                  <a:pt x="1030" y="228"/>
                </a:moveTo>
                <a:lnTo>
                  <a:pt x="1030" y="0"/>
                </a:lnTo>
                <a:lnTo>
                  <a:pt x="1056" y="0"/>
                </a:lnTo>
                <a:lnTo>
                  <a:pt x="1056" y="228"/>
                </a:lnTo>
                <a:lnTo>
                  <a:pt x="1030" y="228"/>
                </a:lnTo>
                <a:close/>
                <a:moveTo>
                  <a:pt x="1086" y="145"/>
                </a:moveTo>
                <a:cubicBezTo>
                  <a:pt x="1086" y="115"/>
                  <a:pt x="1094" y="92"/>
                  <a:pt x="1110" y="78"/>
                </a:cubicBezTo>
                <a:cubicBezTo>
                  <a:pt x="1123" y="66"/>
                  <a:pt x="1139" y="60"/>
                  <a:pt x="1158" y="60"/>
                </a:cubicBezTo>
                <a:cubicBezTo>
                  <a:pt x="1179" y="60"/>
                  <a:pt x="1197" y="67"/>
                  <a:pt x="1210" y="82"/>
                </a:cubicBezTo>
                <a:cubicBezTo>
                  <a:pt x="1223" y="96"/>
                  <a:pt x="1230" y="117"/>
                  <a:pt x="1230" y="143"/>
                </a:cubicBezTo>
                <a:cubicBezTo>
                  <a:pt x="1230" y="164"/>
                  <a:pt x="1227" y="181"/>
                  <a:pt x="1221" y="193"/>
                </a:cubicBezTo>
                <a:cubicBezTo>
                  <a:pt x="1215" y="205"/>
                  <a:pt x="1207" y="215"/>
                  <a:pt x="1195" y="221"/>
                </a:cubicBezTo>
                <a:cubicBezTo>
                  <a:pt x="1184" y="228"/>
                  <a:pt x="1172" y="231"/>
                  <a:pt x="1158" y="231"/>
                </a:cubicBezTo>
                <a:cubicBezTo>
                  <a:pt x="1137" y="231"/>
                  <a:pt x="1120" y="224"/>
                  <a:pt x="1106" y="209"/>
                </a:cubicBezTo>
                <a:cubicBezTo>
                  <a:pt x="1093" y="194"/>
                  <a:pt x="1086" y="173"/>
                  <a:pt x="1086" y="145"/>
                </a:cubicBezTo>
                <a:close/>
                <a:moveTo>
                  <a:pt x="1113" y="145"/>
                </a:moveTo>
                <a:cubicBezTo>
                  <a:pt x="1113" y="167"/>
                  <a:pt x="1117" y="182"/>
                  <a:pt x="1126" y="193"/>
                </a:cubicBezTo>
                <a:cubicBezTo>
                  <a:pt x="1135" y="203"/>
                  <a:pt x="1145" y="208"/>
                  <a:pt x="1158" y="208"/>
                </a:cubicBezTo>
                <a:cubicBezTo>
                  <a:pt x="1171" y="208"/>
                  <a:pt x="1182" y="203"/>
                  <a:pt x="1191" y="193"/>
                </a:cubicBezTo>
                <a:cubicBezTo>
                  <a:pt x="1199" y="182"/>
                  <a:pt x="1204" y="166"/>
                  <a:pt x="1204" y="145"/>
                </a:cubicBezTo>
                <a:cubicBezTo>
                  <a:pt x="1204" y="124"/>
                  <a:pt x="1199" y="109"/>
                  <a:pt x="1191" y="98"/>
                </a:cubicBezTo>
                <a:cubicBezTo>
                  <a:pt x="1182" y="88"/>
                  <a:pt x="1171" y="83"/>
                  <a:pt x="1158" y="83"/>
                </a:cubicBezTo>
                <a:cubicBezTo>
                  <a:pt x="1145" y="83"/>
                  <a:pt x="1135" y="88"/>
                  <a:pt x="1126" y="98"/>
                </a:cubicBezTo>
                <a:cubicBezTo>
                  <a:pt x="1117" y="109"/>
                  <a:pt x="1113" y="124"/>
                  <a:pt x="1113" y="145"/>
                </a:cubicBezTo>
                <a:close/>
                <a:moveTo>
                  <a:pt x="1361" y="167"/>
                </a:moveTo>
                <a:lnTo>
                  <a:pt x="1386" y="171"/>
                </a:lnTo>
                <a:cubicBezTo>
                  <a:pt x="1384" y="190"/>
                  <a:pt x="1377" y="205"/>
                  <a:pt x="1365" y="215"/>
                </a:cubicBezTo>
                <a:cubicBezTo>
                  <a:pt x="1354" y="226"/>
                  <a:pt x="1339" y="231"/>
                  <a:pt x="1323" y="231"/>
                </a:cubicBezTo>
                <a:cubicBezTo>
                  <a:pt x="1302" y="231"/>
                  <a:pt x="1285" y="224"/>
                  <a:pt x="1272" y="209"/>
                </a:cubicBezTo>
                <a:cubicBezTo>
                  <a:pt x="1259" y="195"/>
                  <a:pt x="1253" y="173"/>
                  <a:pt x="1253" y="146"/>
                </a:cubicBezTo>
                <a:cubicBezTo>
                  <a:pt x="1253" y="128"/>
                  <a:pt x="1256" y="113"/>
                  <a:pt x="1261" y="99"/>
                </a:cubicBezTo>
                <a:cubicBezTo>
                  <a:pt x="1267" y="86"/>
                  <a:pt x="1275" y="76"/>
                  <a:pt x="1286" y="70"/>
                </a:cubicBezTo>
                <a:cubicBezTo>
                  <a:pt x="1297" y="63"/>
                  <a:pt x="1310" y="60"/>
                  <a:pt x="1323" y="60"/>
                </a:cubicBezTo>
                <a:cubicBezTo>
                  <a:pt x="1339" y="60"/>
                  <a:pt x="1353" y="64"/>
                  <a:pt x="1364" y="73"/>
                </a:cubicBezTo>
                <a:cubicBezTo>
                  <a:pt x="1374" y="82"/>
                  <a:pt x="1381" y="95"/>
                  <a:pt x="1384" y="112"/>
                </a:cubicBezTo>
                <a:lnTo>
                  <a:pt x="1359" y="116"/>
                </a:lnTo>
                <a:cubicBezTo>
                  <a:pt x="1356" y="105"/>
                  <a:pt x="1352" y="96"/>
                  <a:pt x="1346" y="91"/>
                </a:cubicBezTo>
                <a:cubicBezTo>
                  <a:pt x="1340" y="85"/>
                  <a:pt x="1333" y="82"/>
                  <a:pt x="1324" y="82"/>
                </a:cubicBezTo>
                <a:cubicBezTo>
                  <a:pt x="1311" y="82"/>
                  <a:pt x="1300" y="87"/>
                  <a:pt x="1292" y="97"/>
                </a:cubicBezTo>
                <a:cubicBezTo>
                  <a:pt x="1284" y="108"/>
                  <a:pt x="1280" y="123"/>
                  <a:pt x="1280" y="145"/>
                </a:cubicBezTo>
                <a:cubicBezTo>
                  <a:pt x="1280" y="167"/>
                  <a:pt x="1284" y="183"/>
                  <a:pt x="1291" y="193"/>
                </a:cubicBezTo>
                <a:cubicBezTo>
                  <a:pt x="1299" y="203"/>
                  <a:pt x="1310" y="208"/>
                  <a:pt x="1322" y="208"/>
                </a:cubicBezTo>
                <a:cubicBezTo>
                  <a:pt x="1333" y="208"/>
                  <a:pt x="1341" y="205"/>
                  <a:pt x="1348" y="198"/>
                </a:cubicBezTo>
                <a:cubicBezTo>
                  <a:pt x="1355" y="192"/>
                  <a:pt x="1359" y="181"/>
                  <a:pt x="1361" y="167"/>
                </a:cubicBezTo>
                <a:close/>
                <a:moveTo>
                  <a:pt x="1409" y="32"/>
                </a:moveTo>
                <a:lnTo>
                  <a:pt x="1409" y="0"/>
                </a:lnTo>
                <a:lnTo>
                  <a:pt x="1435" y="0"/>
                </a:lnTo>
                <a:lnTo>
                  <a:pt x="1435" y="32"/>
                </a:lnTo>
                <a:lnTo>
                  <a:pt x="1409" y="32"/>
                </a:lnTo>
                <a:close/>
                <a:moveTo>
                  <a:pt x="1409" y="228"/>
                </a:moveTo>
                <a:lnTo>
                  <a:pt x="1409" y="63"/>
                </a:lnTo>
                <a:lnTo>
                  <a:pt x="1435" y="63"/>
                </a:lnTo>
                <a:lnTo>
                  <a:pt x="1435" y="228"/>
                </a:lnTo>
                <a:lnTo>
                  <a:pt x="1409" y="228"/>
                </a:lnTo>
                <a:close/>
                <a:moveTo>
                  <a:pt x="1531" y="203"/>
                </a:moveTo>
                <a:lnTo>
                  <a:pt x="1534" y="228"/>
                </a:lnTo>
                <a:cubicBezTo>
                  <a:pt x="1527" y="229"/>
                  <a:pt x="1521" y="230"/>
                  <a:pt x="1515" y="230"/>
                </a:cubicBezTo>
                <a:cubicBezTo>
                  <a:pt x="1505" y="230"/>
                  <a:pt x="1498" y="228"/>
                  <a:pt x="1493" y="225"/>
                </a:cubicBezTo>
                <a:cubicBezTo>
                  <a:pt x="1488" y="222"/>
                  <a:pt x="1484" y="218"/>
                  <a:pt x="1482" y="213"/>
                </a:cubicBezTo>
                <a:cubicBezTo>
                  <a:pt x="1480" y="207"/>
                  <a:pt x="1479" y="196"/>
                  <a:pt x="1479" y="180"/>
                </a:cubicBezTo>
                <a:lnTo>
                  <a:pt x="1479" y="85"/>
                </a:lnTo>
                <a:lnTo>
                  <a:pt x="1460" y="85"/>
                </a:lnTo>
                <a:lnTo>
                  <a:pt x="1460" y="63"/>
                </a:lnTo>
                <a:lnTo>
                  <a:pt x="1479" y="63"/>
                </a:lnTo>
                <a:lnTo>
                  <a:pt x="1479" y="22"/>
                </a:lnTo>
                <a:lnTo>
                  <a:pt x="1505" y="5"/>
                </a:lnTo>
                <a:lnTo>
                  <a:pt x="1505" y="63"/>
                </a:lnTo>
                <a:lnTo>
                  <a:pt x="1531" y="63"/>
                </a:lnTo>
                <a:lnTo>
                  <a:pt x="1531" y="85"/>
                </a:lnTo>
                <a:lnTo>
                  <a:pt x="1505" y="85"/>
                </a:lnTo>
                <a:lnTo>
                  <a:pt x="1505" y="181"/>
                </a:lnTo>
                <a:cubicBezTo>
                  <a:pt x="1505" y="189"/>
                  <a:pt x="1505" y="194"/>
                  <a:pt x="1506" y="197"/>
                </a:cubicBezTo>
                <a:cubicBezTo>
                  <a:pt x="1507" y="199"/>
                  <a:pt x="1509" y="201"/>
                  <a:pt x="1511" y="202"/>
                </a:cubicBezTo>
                <a:cubicBezTo>
                  <a:pt x="1513" y="203"/>
                  <a:pt x="1516" y="204"/>
                  <a:pt x="1519" y="204"/>
                </a:cubicBezTo>
                <a:cubicBezTo>
                  <a:pt x="1522" y="204"/>
                  <a:pt x="1526" y="204"/>
                  <a:pt x="1531" y="203"/>
                </a:cubicBezTo>
                <a:close/>
                <a:moveTo>
                  <a:pt x="1555" y="291"/>
                </a:moveTo>
                <a:lnTo>
                  <a:pt x="1552" y="265"/>
                </a:lnTo>
                <a:cubicBezTo>
                  <a:pt x="1558" y="267"/>
                  <a:pt x="1563" y="268"/>
                  <a:pt x="1567" y="268"/>
                </a:cubicBezTo>
                <a:cubicBezTo>
                  <a:pt x="1573" y="268"/>
                  <a:pt x="1578" y="267"/>
                  <a:pt x="1581" y="265"/>
                </a:cubicBezTo>
                <a:cubicBezTo>
                  <a:pt x="1585" y="263"/>
                  <a:pt x="1588" y="260"/>
                  <a:pt x="1590" y="256"/>
                </a:cubicBezTo>
                <a:cubicBezTo>
                  <a:pt x="1591" y="253"/>
                  <a:pt x="1594" y="246"/>
                  <a:pt x="1598" y="235"/>
                </a:cubicBezTo>
                <a:cubicBezTo>
                  <a:pt x="1598" y="234"/>
                  <a:pt x="1599" y="231"/>
                  <a:pt x="1600" y="228"/>
                </a:cubicBezTo>
                <a:lnTo>
                  <a:pt x="1542" y="63"/>
                </a:lnTo>
                <a:lnTo>
                  <a:pt x="1570" y="63"/>
                </a:lnTo>
                <a:lnTo>
                  <a:pt x="1602" y="158"/>
                </a:lnTo>
                <a:cubicBezTo>
                  <a:pt x="1606" y="170"/>
                  <a:pt x="1609" y="183"/>
                  <a:pt x="1613" y="196"/>
                </a:cubicBezTo>
                <a:cubicBezTo>
                  <a:pt x="1616" y="184"/>
                  <a:pt x="1619" y="171"/>
                  <a:pt x="1623" y="159"/>
                </a:cubicBezTo>
                <a:lnTo>
                  <a:pt x="1656" y="63"/>
                </a:lnTo>
                <a:lnTo>
                  <a:pt x="1682" y="63"/>
                </a:lnTo>
                <a:lnTo>
                  <a:pt x="1624" y="231"/>
                </a:lnTo>
                <a:cubicBezTo>
                  <a:pt x="1618" y="249"/>
                  <a:pt x="1613" y="261"/>
                  <a:pt x="1609" y="268"/>
                </a:cubicBezTo>
                <a:cubicBezTo>
                  <a:pt x="1605" y="277"/>
                  <a:pt x="1600" y="284"/>
                  <a:pt x="1594" y="288"/>
                </a:cubicBezTo>
                <a:cubicBezTo>
                  <a:pt x="1588" y="292"/>
                  <a:pt x="1580" y="294"/>
                  <a:pt x="1572" y="294"/>
                </a:cubicBezTo>
                <a:cubicBezTo>
                  <a:pt x="1567" y="294"/>
                  <a:pt x="1561" y="293"/>
                  <a:pt x="1555" y="29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2" name="Freeform 62">
            <a:extLst>
              <a:ext uri="{FF2B5EF4-FFF2-40B4-BE49-F238E27FC236}">
                <a16:creationId xmlns:a16="http://schemas.microsoft.com/office/drawing/2014/main" id="{52901DA4-6C7B-4766-8EC3-92ACCA4B9044}"/>
              </a:ext>
            </a:extLst>
          </p:cNvPr>
          <p:cNvSpPr>
            <a:spLocks noEditPoints="1"/>
          </p:cNvSpPr>
          <p:nvPr/>
        </p:nvSpPr>
        <p:spPr bwMode="auto">
          <a:xfrm>
            <a:off x="8810626" y="5065713"/>
            <a:ext cx="554038" cy="84138"/>
          </a:xfrm>
          <a:custGeom>
            <a:avLst/>
            <a:gdLst>
              <a:gd name="T0" fmla="*/ 99 w 1535"/>
              <a:gd name="T1" fmla="*/ 235 h 235"/>
              <a:gd name="T2" fmla="*/ 13 w 1535"/>
              <a:gd name="T3" fmla="*/ 54 h 235"/>
              <a:gd name="T4" fmla="*/ 183 w 1535"/>
              <a:gd name="T5" fmla="*/ 66 h 235"/>
              <a:gd name="T6" fmla="*/ 59 w 1535"/>
              <a:gd name="T7" fmla="*/ 38 h 235"/>
              <a:gd name="T8" fmla="*/ 61 w 1535"/>
              <a:gd name="T9" fmla="*/ 198 h 235"/>
              <a:gd name="T10" fmla="*/ 209 w 1535"/>
              <a:gd name="T11" fmla="*/ 149 h 235"/>
              <a:gd name="T12" fmla="*/ 352 w 1535"/>
              <a:gd name="T13" fmla="*/ 146 h 235"/>
              <a:gd name="T14" fmla="*/ 229 w 1535"/>
              <a:gd name="T15" fmla="*/ 212 h 235"/>
              <a:gd name="T16" fmla="*/ 281 w 1535"/>
              <a:gd name="T17" fmla="*/ 212 h 235"/>
              <a:gd name="T18" fmla="*/ 281 w 1535"/>
              <a:gd name="T19" fmla="*/ 86 h 235"/>
              <a:gd name="T20" fmla="*/ 383 w 1535"/>
              <a:gd name="T21" fmla="*/ 66 h 235"/>
              <a:gd name="T22" fmla="*/ 481 w 1535"/>
              <a:gd name="T23" fmla="*/ 68 h 235"/>
              <a:gd name="T24" fmla="*/ 507 w 1535"/>
              <a:gd name="T25" fmla="*/ 231 h 235"/>
              <a:gd name="T26" fmla="*/ 468 w 1535"/>
              <a:gd name="T27" fmla="*/ 92 h 235"/>
              <a:gd name="T28" fmla="*/ 409 w 1535"/>
              <a:gd name="T29" fmla="*/ 231 h 235"/>
              <a:gd name="T30" fmla="*/ 575 w 1535"/>
              <a:gd name="T31" fmla="*/ 203 h 235"/>
              <a:gd name="T32" fmla="*/ 630 w 1535"/>
              <a:gd name="T33" fmla="*/ 171 h 235"/>
              <a:gd name="T34" fmla="*/ 542 w 1535"/>
              <a:gd name="T35" fmla="*/ 110 h 235"/>
              <a:gd name="T36" fmla="*/ 598 w 1535"/>
              <a:gd name="T37" fmla="*/ 63 h 235"/>
              <a:gd name="T38" fmla="*/ 633 w 1535"/>
              <a:gd name="T39" fmla="*/ 113 h 235"/>
              <a:gd name="T40" fmla="*/ 567 w 1535"/>
              <a:gd name="T41" fmla="*/ 107 h 235"/>
              <a:gd name="T42" fmla="*/ 641 w 1535"/>
              <a:gd name="T43" fmla="*/ 144 h 235"/>
              <a:gd name="T44" fmla="*/ 635 w 1535"/>
              <a:gd name="T45" fmla="*/ 228 h 235"/>
              <a:gd name="T46" fmla="*/ 686 w 1535"/>
              <a:gd name="T47" fmla="*/ 149 h 235"/>
              <a:gd name="T48" fmla="*/ 829 w 1535"/>
              <a:gd name="T49" fmla="*/ 146 h 235"/>
              <a:gd name="T50" fmla="*/ 705 w 1535"/>
              <a:gd name="T51" fmla="*/ 212 h 235"/>
              <a:gd name="T52" fmla="*/ 758 w 1535"/>
              <a:gd name="T53" fmla="*/ 212 h 235"/>
              <a:gd name="T54" fmla="*/ 758 w 1535"/>
              <a:gd name="T55" fmla="*/ 86 h 235"/>
              <a:gd name="T56" fmla="*/ 859 w 1535"/>
              <a:gd name="T57" fmla="*/ 4 h 235"/>
              <a:gd name="T58" fmla="*/ 926 w 1535"/>
              <a:gd name="T59" fmla="*/ 35 h 235"/>
              <a:gd name="T60" fmla="*/ 926 w 1535"/>
              <a:gd name="T61" fmla="*/ 35 h 235"/>
              <a:gd name="T62" fmla="*/ 952 w 1535"/>
              <a:gd name="T63" fmla="*/ 231 h 235"/>
              <a:gd name="T64" fmla="*/ 1048 w 1535"/>
              <a:gd name="T65" fmla="*/ 235 h 235"/>
              <a:gd name="T66" fmla="*/ 989 w 1535"/>
              <a:gd name="T67" fmla="*/ 104 h 235"/>
              <a:gd name="T68" fmla="*/ 1089 w 1535"/>
              <a:gd name="T69" fmla="*/ 85 h 235"/>
              <a:gd name="T70" fmla="*/ 1090 w 1535"/>
              <a:gd name="T71" fmla="*/ 231 h 235"/>
              <a:gd name="T72" fmla="*/ 1079 w 1535"/>
              <a:gd name="T73" fmla="*/ 197 h 235"/>
              <a:gd name="T74" fmla="*/ 1020 w 1535"/>
              <a:gd name="T75" fmla="*/ 101 h 235"/>
              <a:gd name="T76" fmla="*/ 1199 w 1535"/>
              <a:gd name="T77" fmla="*/ 235 h 235"/>
              <a:gd name="T78" fmla="*/ 1166 w 1535"/>
              <a:gd name="T79" fmla="*/ 150 h 235"/>
              <a:gd name="T80" fmla="*/ 1254 w 1535"/>
              <a:gd name="T81" fmla="*/ 119 h 235"/>
              <a:gd name="T82" fmla="*/ 1177 w 1535"/>
              <a:gd name="T83" fmla="*/ 117 h 235"/>
              <a:gd name="T84" fmla="*/ 1221 w 1535"/>
              <a:gd name="T85" fmla="*/ 63 h 235"/>
              <a:gd name="T86" fmla="*/ 1280 w 1535"/>
              <a:gd name="T87" fmla="*/ 125 h 235"/>
              <a:gd name="T88" fmla="*/ 1261 w 1535"/>
              <a:gd name="T89" fmla="*/ 231 h 235"/>
              <a:gd name="T90" fmla="*/ 1189 w 1535"/>
              <a:gd name="T91" fmla="*/ 165 h 235"/>
              <a:gd name="T92" fmla="*/ 1206 w 1535"/>
              <a:gd name="T93" fmla="*/ 213 h 235"/>
              <a:gd name="T94" fmla="*/ 1254 w 1535"/>
              <a:gd name="T95" fmla="*/ 148 h 235"/>
              <a:gd name="T96" fmla="*/ 1339 w 1535"/>
              <a:gd name="T97" fmla="*/ 228 h 235"/>
              <a:gd name="T98" fmla="*/ 1306 w 1535"/>
              <a:gd name="T99" fmla="*/ 88 h 235"/>
              <a:gd name="T100" fmla="*/ 1351 w 1535"/>
              <a:gd name="T101" fmla="*/ 9 h 235"/>
              <a:gd name="T102" fmla="*/ 1351 w 1535"/>
              <a:gd name="T103" fmla="*/ 88 h 235"/>
              <a:gd name="T104" fmla="*/ 1366 w 1535"/>
              <a:gd name="T105" fmla="*/ 207 h 235"/>
              <a:gd name="T106" fmla="*/ 1511 w 1535"/>
              <a:gd name="T107" fmla="*/ 221 h 235"/>
              <a:gd name="T108" fmla="*/ 1414 w 1535"/>
              <a:gd name="T109" fmla="*/ 86 h 235"/>
              <a:gd name="T110" fmla="*/ 1535 w 1535"/>
              <a:gd name="T111" fmla="*/ 156 h 235"/>
              <a:gd name="T112" fmla="*/ 1491 w 1535"/>
              <a:gd name="T113" fmla="*/ 204 h 235"/>
              <a:gd name="T114" fmla="*/ 1498 w 1535"/>
              <a:gd name="T115" fmla="*/ 102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535" h="235">
                <a:moveTo>
                  <a:pt x="159" y="151"/>
                </a:moveTo>
                <a:lnTo>
                  <a:pt x="187" y="159"/>
                </a:lnTo>
                <a:cubicBezTo>
                  <a:pt x="181" y="184"/>
                  <a:pt x="171" y="202"/>
                  <a:pt x="155" y="215"/>
                </a:cubicBezTo>
                <a:cubicBezTo>
                  <a:pt x="140" y="228"/>
                  <a:pt x="121" y="235"/>
                  <a:pt x="99" y="235"/>
                </a:cubicBezTo>
                <a:cubicBezTo>
                  <a:pt x="77" y="235"/>
                  <a:pt x="58" y="230"/>
                  <a:pt x="44" y="220"/>
                </a:cubicBezTo>
                <a:cubicBezTo>
                  <a:pt x="30" y="210"/>
                  <a:pt x="19" y="195"/>
                  <a:pt x="11" y="177"/>
                </a:cubicBezTo>
                <a:cubicBezTo>
                  <a:pt x="4" y="158"/>
                  <a:pt x="0" y="137"/>
                  <a:pt x="0" y="116"/>
                </a:cubicBezTo>
                <a:cubicBezTo>
                  <a:pt x="0" y="92"/>
                  <a:pt x="4" y="71"/>
                  <a:pt x="13" y="54"/>
                </a:cubicBezTo>
                <a:cubicBezTo>
                  <a:pt x="21" y="36"/>
                  <a:pt x="33" y="23"/>
                  <a:pt x="49" y="14"/>
                </a:cubicBezTo>
                <a:cubicBezTo>
                  <a:pt x="64" y="4"/>
                  <a:pt x="81" y="0"/>
                  <a:pt x="100" y="0"/>
                </a:cubicBezTo>
                <a:cubicBezTo>
                  <a:pt x="121" y="0"/>
                  <a:pt x="139" y="6"/>
                  <a:pt x="153" y="17"/>
                </a:cubicBezTo>
                <a:cubicBezTo>
                  <a:pt x="168" y="29"/>
                  <a:pt x="178" y="45"/>
                  <a:pt x="183" y="66"/>
                </a:cubicBezTo>
                <a:lnTo>
                  <a:pt x="156" y="73"/>
                </a:lnTo>
                <a:cubicBezTo>
                  <a:pt x="151" y="57"/>
                  <a:pt x="144" y="44"/>
                  <a:pt x="135" y="37"/>
                </a:cubicBezTo>
                <a:cubicBezTo>
                  <a:pt x="125" y="29"/>
                  <a:pt x="114" y="26"/>
                  <a:pt x="99" y="26"/>
                </a:cubicBezTo>
                <a:cubicBezTo>
                  <a:pt x="83" y="26"/>
                  <a:pt x="70" y="30"/>
                  <a:pt x="59" y="38"/>
                </a:cubicBezTo>
                <a:cubicBezTo>
                  <a:pt x="48" y="47"/>
                  <a:pt x="40" y="58"/>
                  <a:pt x="36" y="72"/>
                </a:cubicBezTo>
                <a:cubicBezTo>
                  <a:pt x="31" y="86"/>
                  <a:pt x="29" y="101"/>
                  <a:pt x="29" y="116"/>
                </a:cubicBezTo>
                <a:cubicBezTo>
                  <a:pt x="29" y="135"/>
                  <a:pt x="32" y="152"/>
                  <a:pt x="37" y="166"/>
                </a:cubicBezTo>
                <a:cubicBezTo>
                  <a:pt x="42" y="181"/>
                  <a:pt x="50" y="191"/>
                  <a:pt x="61" y="198"/>
                </a:cubicBezTo>
                <a:cubicBezTo>
                  <a:pt x="72" y="206"/>
                  <a:pt x="84" y="209"/>
                  <a:pt x="97" y="209"/>
                </a:cubicBezTo>
                <a:cubicBezTo>
                  <a:pt x="113" y="209"/>
                  <a:pt x="126" y="204"/>
                  <a:pt x="137" y="195"/>
                </a:cubicBezTo>
                <a:cubicBezTo>
                  <a:pt x="148" y="185"/>
                  <a:pt x="155" y="170"/>
                  <a:pt x="159" y="151"/>
                </a:cubicBezTo>
                <a:close/>
                <a:moveTo>
                  <a:pt x="209" y="149"/>
                </a:moveTo>
                <a:cubicBezTo>
                  <a:pt x="209" y="118"/>
                  <a:pt x="217" y="96"/>
                  <a:pt x="232" y="81"/>
                </a:cubicBezTo>
                <a:cubicBezTo>
                  <a:pt x="246" y="69"/>
                  <a:pt x="262" y="63"/>
                  <a:pt x="281" y="63"/>
                </a:cubicBezTo>
                <a:cubicBezTo>
                  <a:pt x="302" y="63"/>
                  <a:pt x="319" y="70"/>
                  <a:pt x="332" y="85"/>
                </a:cubicBezTo>
                <a:cubicBezTo>
                  <a:pt x="346" y="100"/>
                  <a:pt x="352" y="120"/>
                  <a:pt x="352" y="146"/>
                </a:cubicBezTo>
                <a:cubicBezTo>
                  <a:pt x="352" y="167"/>
                  <a:pt x="349" y="184"/>
                  <a:pt x="344" y="196"/>
                </a:cubicBezTo>
                <a:cubicBezTo>
                  <a:pt x="338" y="208"/>
                  <a:pt x="329" y="218"/>
                  <a:pt x="318" y="224"/>
                </a:cubicBezTo>
                <a:cubicBezTo>
                  <a:pt x="306" y="231"/>
                  <a:pt x="294" y="235"/>
                  <a:pt x="281" y="235"/>
                </a:cubicBezTo>
                <a:cubicBezTo>
                  <a:pt x="259" y="235"/>
                  <a:pt x="242" y="227"/>
                  <a:pt x="229" y="212"/>
                </a:cubicBezTo>
                <a:cubicBezTo>
                  <a:pt x="215" y="198"/>
                  <a:pt x="209" y="176"/>
                  <a:pt x="209" y="149"/>
                </a:cubicBezTo>
                <a:close/>
                <a:moveTo>
                  <a:pt x="235" y="149"/>
                </a:moveTo>
                <a:cubicBezTo>
                  <a:pt x="235" y="170"/>
                  <a:pt x="240" y="186"/>
                  <a:pt x="248" y="196"/>
                </a:cubicBezTo>
                <a:cubicBezTo>
                  <a:pt x="257" y="206"/>
                  <a:pt x="268" y="212"/>
                  <a:pt x="281" y="212"/>
                </a:cubicBezTo>
                <a:cubicBezTo>
                  <a:pt x="294" y="212"/>
                  <a:pt x="304" y="206"/>
                  <a:pt x="313" y="196"/>
                </a:cubicBezTo>
                <a:cubicBezTo>
                  <a:pt x="322" y="185"/>
                  <a:pt x="326" y="169"/>
                  <a:pt x="326" y="148"/>
                </a:cubicBezTo>
                <a:cubicBezTo>
                  <a:pt x="326" y="127"/>
                  <a:pt x="321" y="112"/>
                  <a:pt x="313" y="102"/>
                </a:cubicBezTo>
                <a:cubicBezTo>
                  <a:pt x="304" y="91"/>
                  <a:pt x="293" y="86"/>
                  <a:pt x="281" y="86"/>
                </a:cubicBezTo>
                <a:cubicBezTo>
                  <a:pt x="268" y="86"/>
                  <a:pt x="257" y="91"/>
                  <a:pt x="248" y="102"/>
                </a:cubicBezTo>
                <a:cubicBezTo>
                  <a:pt x="240" y="112"/>
                  <a:pt x="235" y="128"/>
                  <a:pt x="235" y="149"/>
                </a:cubicBezTo>
                <a:close/>
                <a:moveTo>
                  <a:pt x="383" y="231"/>
                </a:moveTo>
                <a:lnTo>
                  <a:pt x="383" y="66"/>
                </a:lnTo>
                <a:lnTo>
                  <a:pt x="406" y="66"/>
                </a:lnTo>
                <a:lnTo>
                  <a:pt x="406" y="90"/>
                </a:lnTo>
                <a:cubicBezTo>
                  <a:pt x="418" y="72"/>
                  <a:pt x="434" y="63"/>
                  <a:pt x="455" y="63"/>
                </a:cubicBezTo>
                <a:cubicBezTo>
                  <a:pt x="464" y="63"/>
                  <a:pt x="473" y="65"/>
                  <a:pt x="481" y="68"/>
                </a:cubicBezTo>
                <a:cubicBezTo>
                  <a:pt x="488" y="72"/>
                  <a:pt x="494" y="76"/>
                  <a:pt x="498" y="82"/>
                </a:cubicBezTo>
                <a:cubicBezTo>
                  <a:pt x="502" y="88"/>
                  <a:pt x="505" y="95"/>
                  <a:pt x="506" y="103"/>
                </a:cubicBezTo>
                <a:cubicBezTo>
                  <a:pt x="507" y="108"/>
                  <a:pt x="507" y="117"/>
                  <a:pt x="507" y="130"/>
                </a:cubicBezTo>
                <a:lnTo>
                  <a:pt x="507" y="231"/>
                </a:lnTo>
                <a:lnTo>
                  <a:pt x="481" y="231"/>
                </a:lnTo>
                <a:lnTo>
                  <a:pt x="481" y="131"/>
                </a:lnTo>
                <a:cubicBezTo>
                  <a:pt x="481" y="120"/>
                  <a:pt x="480" y="111"/>
                  <a:pt x="478" y="105"/>
                </a:cubicBezTo>
                <a:cubicBezTo>
                  <a:pt x="476" y="100"/>
                  <a:pt x="473" y="95"/>
                  <a:pt x="468" y="92"/>
                </a:cubicBezTo>
                <a:cubicBezTo>
                  <a:pt x="463" y="89"/>
                  <a:pt x="456" y="87"/>
                  <a:pt x="450" y="87"/>
                </a:cubicBezTo>
                <a:cubicBezTo>
                  <a:pt x="439" y="87"/>
                  <a:pt x="429" y="91"/>
                  <a:pt x="421" y="98"/>
                </a:cubicBezTo>
                <a:cubicBezTo>
                  <a:pt x="413" y="106"/>
                  <a:pt x="409" y="120"/>
                  <a:pt x="409" y="141"/>
                </a:cubicBezTo>
                <a:lnTo>
                  <a:pt x="409" y="231"/>
                </a:lnTo>
                <a:lnTo>
                  <a:pt x="383" y="231"/>
                </a:lnTo>
                <a:close/>
                <a:moveTo>
                  <a:pt x="537" y="182"/>
                </a:moveTo>
                <a:lnTo>
                  <a:pt x="563" y="177"/>
                </a:lnTo>
                <a:cubicBezTo>
                  <a:pt x="564" y="188"/>
                  <a:pt x="568" y="197"/>
                  <a:pt x="575" y="203"/>
                </a:cubicBezTo>
                <a:cubicBezTo>
                  <a:pt x="582" y="209"/>
                  <a:pt x="591" y="212"/>
                  <a:pt x="603" y="212"/>
                </a:cubicBezTo>
                <a:cubicBezTo>
                  <a:pt x="615" y="212"/>
                  <a:pt x="623" y="209"/>
                  <a:pt x="629" y="204"/>
                </a:cubicBezTo>
                <a:cubicBezTo>
                  <a:pt x="635" y="199"/>
                  <a:pt x="638" y="193"/>
                  <a:pt x="638" y="185"/>
                </a:cubicBezTo>
                <a:cubicBezTo>
                  <a:pt x="638" y="179"/>
                  <a:pt x="635" y="174"/>
                  <a:pt x="630" y="171"/>
                </a:cubicBezTo>
                <a:cubicBezTo>
                  <a:pt x="627" y="168"/>
                  <a:pt x="618" y="165"/>
                  <a:pt x="604" y="161"/>
                </a:cubicBezTo>
                <a:cubicBezTo>
                  <a:pt x="585" y="156"/>
                  <a:pt x="571" y="152"/>
                  <a:pt x="564" y="148"/>
                </a:cubicBezTo>
                <a:cubicBezTo>
                  <a:pt x="557" y="144"/>
                  <a:pt x="551" y="139"/>
                  <a:pt x="547" y="132"/>
                </a:cubicBezTo>
                <a:cubicBezTo>
                  <a:pt x="543" y="126"/>
                  <a:pt x="542" y="118"/>
                  <a:pt x="542" y="110"/>
                </a:cubicBezTo>
                <a:cubicBezTo>
                  <a:pt x="542" y="103"/>
                  <a:pt x="543" y="96"/>
                  <a:pt x="546" y="90"/>
                </a:cubicBezTo>
                <a:cubicBezTo>
                  <a:pt x="549" y="84"/>
                  <a:pt x="554" y="78"/>
                  <a:pt x="559" y="74"/>
                </a:cubicBezTo>
                <a:cubicBezTo>
                  <a:pt x="563" y="71"/>
                  <a:pt x="569" y="68"/>
                  <a:pt x="575" y="66"/>
                </a:cubicBezTo>
                <a:cubicBezTo>
                  <a:pt x="583" y="64"/>
                  <a:pt x="590" y="63"/>
                  <a:pt x="598" y="63"/>
                </a:cubicBezTo>
                <a:cubicBezTo>
                  <a:pt x="610" y="63"/>
                  <a:pt x="621" y="65"/>
                  <a:pt x="630" y="68"/>
                </a:cubicBezTo>
                <a:cubicBezTo>
                  <a:pt x="639" y="72"/>
                  <a:pt x="645" y="77"/>
                  <a:pt x="650" y="84"/>
                </a:cubicBezTo>
                <a:cubicBezTo>
                  <a:pt x="654" y="90"/>
                  <a:pt x="657" y="98"/>
                  <a:pt x="659" y="109"/>
                </a:cubicBezTo>
                <a:lnTo>
                  <a:pt x="633" y="113"/>
                </a:lnTo>
                <a:cubicBezTo>
                  <a:pt x="632" y="104"/>
                  <a:pt x="629" y="98"/>
                  <a:pt x="623" y="93"/>
                </a:cubicBezTo>
                <a:cubicBezTo>
                  <a:pt x="618" y="88"/>
                  <a:pt x="610" y="86"/>
                  <a:pt x="600" y="86"/>
                </a:cubicBezTo>
                <a:cubicBezTo>
                  <a:pt x="588" y="86"/>
                  <a:pt x="579" y="88"/>
                  <a:pt x="574" y="92"/>
                </a:cubicBezTo>
                <a:cubicBezTo>
                  <a:pt x="569" y="96"/>
                  <a:pt x="567" y="101"/>
                  <a:pt x="567" y="107"/>
                </a:cubicBezTo>
                <a:cubicBezTo>
                  <a:pt x="567" y="110"/>
                  <a:pt x="568" y="114"/>
                  <a:pt x="570" y="117"/>
                </a:cubicBezTo>
                <a:cubicBezTo>
                  <a:pt x="572" y="120"/>
                  <a:pt x="575" y="122"/>
                  <a:pt x="580" y="124"/>
                </a:cubicBezTo>
                <a:cubicBezTo>
                  <a:pt x="582" y="125"/>
                  <a:pt x="590" y="127"/>
                  <a:pt x="603" y="131"/>
                </a:cubicBezTo>
                <a:cubicBezTo>
                  <a:pt x="621" y="136"/>
                  <a:pt x="634" y="141"/>
                  <a:pt x="641" y="144"/>
                </a:cubicBezTo>
                <a:cubicBezTo>
                  <a:pt x="648" y="147"/>
                  <a:pt x="654" y="152"/>
                  <a:pt x="658" y="159"/>
                </a:cubicBezTo>
                <a:cubicBezTo>
                  <a:pt x="663" y="165"/>
                  <a:pt x="665" y="173"/>
                  <a:pt x="665" y="183"/>
                </a:cubicBezTo>
                <a:cubicBezTo>
                  <a:pt x="665" y="192"/>
                  <a:pt x="662" y="201"/>
                  <a:pt x="657" y="209"/>
                </a:cubicBezTo>
                <a:cubicBezTo>
                  <a:pt x="652" y="217"/>
                  <a:pt x="645" y="223"/>
                  <a:pt x="635" y="228"/>
                </a:cubicBezTo>
                <a:cubicBezTo>
                  <a:pt x="626" y="232"/>
                  <a:pt x="615" y="235"/>
                  <a:pt x="603" y="235"/>
                </a:cubicBezTo>
                <a:cubicBezTo>
                  <a:pt x="583" y="235"/>
                  <a:pt x="568" y="230"/>
                  <a:pt x="557" y="221"/>
                </a:cubicBezTo>
                <a:cubicBezTo>
                  <a:pt x="547" y="212"/>
                  <a:pt x="540" y="199"/>
                  <a:pt x="537" y="182"/>
                </a:cubicBezTo>
                <a:close/>
                <a:moveTo>
                  <a:pt x="686" y="149"/>
                </a:moveTo>
                <a:cubicBezTo>
                  <a:pt x="686" y="118"/>
                  <a:pt x="693" y="96"/>
                  <a:pt x="709" y="81"/>
                </a:cubicBezTo>
                <a:cubicBezTo>
                  <a:pt x="722" y="69"/>
                  <a:pt x="739" y="63"/>
                  <a:pt x="758" y="63"/>
                </a:cubicBezTo>
                <a:cubicBezTo>
                  <a:pt x="779" y="63"/>
                  <a:pt x="796" y="70"/>
                  <a:pt x="809" y="85"/>
                </a:cubicBezTo>
                <a:cubicBezTo>
                  <a:pt x="823" y="100"/>
                  <a:pt x="829" y="120"/>
                  <a:pt x="829" y="146"/>
                </a:cubicBezTo>
                <a:cubicBezTo>
                  <a:pt x="829" y="167"/>
                  <a:pt x="826" y="184"/>
                  <a:pt x="820" y="196"/>
                </a:cubicBezTo>
                <a:cubicBezTo>
                  <a:pt x="815" y="208"/>
                  <a:pt x="806" y="218"/>
                  <a:pt x="795" y="224"/>
                </a:cubicBezTo>
                <a:cubicBezTo>
                  <a:pt x="783" y="231"/>
                  <a:pt x="771" y="235"/>
                  <a:pt x="758" y="235"/>
                </a:cubicBezTo>
                <a:cubicBezTo>
                  <a:pt x="736" y="235"/>
                  <a:pt x="719" y="227"/>
                  <a:pt x="705" y="212"/>
                </a:cubicBezTo>
                <a:cubicBezTo>
                  <a:pt x="692" y="198"/>
                  <a:pt x="686" y="176"/>
                  <a:pt x="686" y="149"/>
                </a:cubicBezTo>
                <a:close/>
                <a:moveTo>
                  <a:pt x="712" y="149"/>
                </a:moveTo>
                <a:cubicBezTo>
                  <a:pt x="712" y="170"/>
                  <a:pt x="717" y="186"/>
                  <a:pt x="725" y="196"/>
                </a:cubicBezTo>
                <a:cubicBezTo>
                  <a:pt x="734" y="206"/>
                  <a:pt x="745" y="212"/>
                  <a:pt x="758" y="212"/>
                </a:cubicBezTo>
                <a:cubicBezTo>
                  <a:pt x="770" y="212"/>
                  <a:pt x="781" y="206"/>
                  <a:pt x="790" y="196"/>
                </a:cubicBezTo>
                <a:cubicBezTo>
                  <a:pt x="798" y="185"/>
                  <a:pt x="803" y="169"/>
                  <a:pt x="803" y="148"/>
                </a:cubicBezTo>
                <a:cubicBezTo>
                  <a:pt x="803" y="127"/>
                  <a:pt x="798" y="112"/>
                  <a:pt x="790" y="102"/>
                </a:cubicBezTo>
                <a:cubicBezTo>
                  <a:pt x="781" y="91"/>
                  <a:pt x="770" y="86"/>
                  <a:pt x="758" y="86"/>
                </a:cubicBezTo>
                <a:cubicBezTo>
                  <a:pt x="745" y="86"/>
                  <a:pt x="734" y="91"/>
                  <a:pt x="725" y="102"/>
                </a:cubicBezTo>
                <a:cubicBezTo>
                  <a:pt x="717" y="112"/>
                  <a:pt x="712" y="128"/>
                  <a:pt x="712" y="149"/>
                </a:cubicBezTo>
                <a:close/>
                <a:moveTo>
                  <a:pt x="859" y="231"/>
                </a:moveTo>
                <a:lnTo>
                  <a:pt x="859" y="4"/>
                </a:lnTo>
                <a:lnTo>
                  <a:pt x="885" y="4"/>
                </a:lnTo>
                <a:lnTo>
                  <a:pt x="885" y="231"/>
                </a:lnTo>
                <a:lnTo>
                  <a:pt x="859" y="231"/>
                </a:lnTo>
                <a:close/>
                <a:moveTo>
                  <a:pt x="926" y="35"/>
                </a:moveTo>
                <a:lnTo>
                  <a:pt x="926" y="4"/>
                </a:lnTo>
                <a:lnTo>
                  <a:pt x="952" y="4"/>
                </a:lnTo>
                <a:lnTo>
                  <a:pt x="952" y="35"/>
                </a:lnTo>
                <a:lnTo>
                  <a:pt x="926" y="35"/>
                </a:lnTo>
                <a:close/>
                <a:moveTo>
                  <a:pt x="926" y="231"/>
                </a:moveTo>
                <a:lnTo>
                  <a:pt x="926" y="66"/>
                </a:lnTo>
                <a:lnTo>
                  <a:pt x="952" y="66"/>
                </a:lnTo>
                <a:lnTo>
                  <a:pt x="952" y="231"/>
                </a:lnTo>
                <a:lnTo>
                  <a:pt x="926" y="231"/>
                </a:lnTo>
                <a:close/>
                <a:moveTo>
                  <a:pt x="1090" y="231"/>
                </a:moveTo>
                <a:lnTo>
                  <a:pt x="1090" y="210"/>
                </a:lnTo>
                <a:cubicBezTo>
                  <a:pt x="1081" y="226"/>
                  <a:pt x="1066" y="235"/>
                  <a:pt x="1048" y="235"/>
                </a:cubicBezTo>
                <a:cubicBezTo>
                  <a:pt x="1035" y="235"/>
                  <a:pt x="1024" y="231"/>
                  <a:pt x="1014" y="224"/>
                </a:cubicBezTo>
                <a:cubicBezTo>
                  <a:pt x="1004" y="216"/>
                  <a:pt x="996" y="206"/>
                  <a:pt x="990" y="193"/>
                </a:cubicBezTo>
                <a:cubicBezTo>
                  <a:pt x="984" y="181"/>
                  <a:pt x="982" y="166"/>
                  <a:pt x="982" y="149"/>
                </a:cubicBezTo>
                <a:cubicBezTo>
                  <a:pt x="982" y="132"/>
                  <a:pt x="984" y="118"/>
                  <a:pt x="989" y="104"/>
                </a:cubicBezTo>
                <a:cubicBezTo>
                  <a:pt x="994" y="91"/>
                  <a:pt x="1002" y="81"/>
                  <a:pt x="1012" y="73"/>
                </a:cubicBezTo>
                <a:cubicBezTo>
                  <a:pt x="1022" y="66"/>
                  <a:pt x="1034" y="63"/>
                  <a:pt x="1046" y="63"/>
                </a:cubicBezTo>
                <a:cubicBezTo>
                  <a:pt x="1056" y="63"/>
                  <a:pt x="1064" y="65"/>
                  <a:pt x="1071" y="69"/>
                </a:cubicBezTo>
                <a:cubicBezTo>
                  <a:pt x="1078" y="73"/>
                  <a:pt x="1084" y="79"/>
                  <a:pt x="1089" y="85"/>
                </a:cubicBezTo>
                <a:lnTo>
                  <a:pt x="1089" y="4"/>
                </a:lnTo>
                <a:lnTo>
                  <a:pt x="1115" y="4"/>
                </a:lnTo>
                <a:lnTo>
                  <a:pt x="1115" y="231"/>
                </a:lnTo>
                <a:lnTo>
                  <a:pt x="1090" y="231"/>
                </a:lnTo>
                <a:close/>
                <a:moveTo>
                  <a:pt x="1008" y="149"/>
                </a:moveTo>
                <a:cubicBezTo>
                  <a:pt x="1008" y="170"/>
                  <a:pt x="1012" y="186"/>
                  <a:pt x="1021" y="196"/>
                </a:cubicBezTo>
                <a:cubicBezTo>
                  <a:pt x="1029" y="206"/>
                  <a:pt x="1039" y="212"/>
                  <a:pt x="1050" y="212"/>
                </a:cubicBezTo>
                <a:cubicBezTo>
                  <a:pt x="1061" y="212"/>
                  <a:pt x="1071" y="207"/>
                  <a:pt x="1079" y="197"/>
                </a:cubicBezTo>
                <a:cubicBezTo>
                  <a:pt x="1087" y="187"/>
                  <a:pt x="1091" y="172"/>
                  <a:pt x="1091" y="151"/>
                </a:cubicBezTo>
                <a:cubicBezTo>
                  <a:pt x="1091" y="129"/>
                  <a:pt x="1087" y="112"/>
                  <a:pt x="1079" y="102"/>
                </a:cubicBezTo>
                <a:cubicBezTo>
                  <a:pt x="1071" y="91"/>
                  <a:pt x="1061" y="86"/>
                  <a:pt x="1049" y="86"/>
                </a:cubicBezTo>
                <a:cubicBezTo>
                  <a:pt x="1037" y="86"/>
                  <a:pt x="1028" y="91"/>
                  <a:pt x="1020" y="101"/>
                </a:cubicBezTo>
                <a:cubicBezTo>
                  <a:pt x="1012" y="111"/>
                  <a:pt x="1008" y="127"/>
                  <a:pt x="1008" y="149"/>
                </a:cubicBezTo>
                <a:close/>
                <a:moveTo>
                  <a:pt x="1256" y="210"/>
                </a:moveTo>
                <a:cubicBezTo>
                  <a:pt x="1246" y="219"/>
                  <a:pt x="1237" y="225"/>
                  <a:pt x="1228" y="229"/>
                </a:cubicBezTo>
                <a:cubicBezTo>
                  <a:pt x="1219" y="233"/>
                  <a:pt x="1210" y="235"/>
                  <a:pt x="1199" y="235"/>
                </a:cubicBezTo>
                <a:cubicBezTo>
                  <a:pt x="1183" y="235"/>
                  <a:pt x="1170" y="230"/>
                  <a:pt x="1161" y="221"/>
                </a:cubicBezTo>
                <a:cubicBezTo>
                  <a:pt x="1151" y="213"/>
                  <a:pt x="1147" y="201"/>
                  <a:pt x="1147" y="188"/>
                </a:cubicBezTo>
                <a:cubicBezTo>
                  <a:pt x="1147" y="180"/>
                  <a:pt x="1149" y="172"/>
                  <a:pt x="1152" y="165"/>
                </a:cubicBezTo>
                <a:cubicBezTo>
                  <a:pt x="1156" y="159"/>
                  <a:pt x="1160" y="154"/>
                  <a:pt x="1166" y="150"/>
                </a:cubicBezTo>
                <a:cubicBezTo>
                  <a:pt x="1171" y="145"/>
                  <a:pt x="1177" y="142"/>
                  <a:pt x="1184" y="140"/>
                </a:cubicBezTo>
                <a:cubicBezTo>
                  <a:pt x="1189" y="139"/>
                  <a:pt x="1197" y="138"/>
                  <a:pt x="1207" y="136"/>
                </a:cubicBezTo>
                <a:cubicBezTo>
                  <a:pt x="1228" y="134"/>
                  <a:pt x="1244" y="130"/>
                  <a:pt x="1254" y="127"/>
                </a:cubicBezTo>
                <a:cubicBezTo>
                  <a:pt x="1254" y="123"/>
                  <a:pt x="1254" y="120"/>
                  <a:pt x="1254" y="119"/>
                </a:cubicBezTo>
                <a:cubicBezTo>
                  <a:pt x="1254" y="108"/>
                  <a:pt x="1252" y="100"/>
                  <a:pt x="1247" y="95"/>
                </a:cubicBezTo>
                <a:cubicBezTo>
                  <a:pt x="1240" y="89"/>
                  <a:pt x="1230" y="86"/>
                  <a:pt x="1217" y="86"/>
                </a:cubicBezTo>
                <a:cubicBezTo>
                  <a:pt x="1205" y="86"/>
                  <a:pt x="1196" y="88"/>
                  <a:pt x="1190" y="93"/>
                </a:cubicBezTo>
                <a:cubicBezTo>
                  <a:pt x="1184" y="97"/>
                  <a:pt x="1180" y="106"/>
                  <a:pt x="1177" y="117"/>
                </a:cubicBezTo>
                <a:lnTo>
                  <a:pt x="1151" y="114"/>
                </a:lnTo>
                <a:cubicBezTo>
                  <a:pt x="1154" y="102"/>
                  <a:pt x="1157" y="92"/>
                  <a:pt x="1163" y="85"/>
                </a:cubicBezTo>
                <a:cubicBezTo>
                  <a:pt x="1168" y="78"/>
                  <a:pt x="1176" y="73"/>
                  <a:pt x="1186" y="69"/>
                </a:cubicBezTo>
                <a:cubicBezTo>
                  <a:pt x="1196" y="65"/>
                  <a:pt x="1208" y="63"/>
                  <a:pt x="1221" y="63"/>
                </a:cubicBezTo>
                <a:cubicBezTo>
                  <a:pt x="1234" y="63"/>
                  <a:pt x="1245" y="64"/>
                  <a:pt x="1253" y="68"/>
                </a:cubicBezTo>
                <a:cubicBezTo>
                  <a:pt x="1261" y="71"/>
                  <a:pt x="1267" y="75"/>
                  <a:pt x="1271" y="80"/>
                </a:cubicBezTo>
                <a:cubicBezTo>
                  <a:pt x="1275" y="85"/>
                  <a:pt x="1277" y="92"/>
                  <a:pt x="1279" y="99"/>
                </a:cubicBezTo>
                <a:cubicBezTo>
                  <a:pt x="1280" y="104"/>
                  <a:pt x="1280" y="113"/>
                  <a:pt x="1280" y="125"/>
                </a:cubicBezTo>
                <a:lnTo>
                  <a:pt x="1280" y="162"/>
                </a:lnTo>
                <a:cubicBezTo>
                  <a:pt x="1280" y="188"/>
                  <a:pt x="1281" y="204"/>
                  <a:pt x="1282" y="211"/>
                </a:cubicBezTo>
                <a:cubicBezTo>
                  <a:pt x="1283" y="218"/>
                  <a:pt x="1285" y="225"/>
                  <a:pt x="1288" y="231"/>
                </a:cubicBezTo>
                <a:lnTo>
                  <a:pt x="1261" y="231"/>
                </a:lnTo>
                <a:cubicBezTo>
                  <a:pt x="1259" y="225"/>
                  <a:pt x="1257" y="218"/>
                  <a:pt x="1256" y="210"/>
                </a:cubicBezTo>
                <a:close/>
                <a:moveTo>
                  <a:pt x="1254" y="148"/>
                </a:moveTo>
                <a:cubicBezTo>
                  <a:pt x="1245" y="153"/>
                  <a:pt x="1230" y="156"/>
                  <a:pt x="1211" y="159"/>
                </a:cubicBezTo>
                <a:cubicBezTo>
                  <a:pt x="1201" y="161"/>
                  <a:pt x="1193" y="162"/>
                  <a:pt x="1189" y="165"/>
                </a:cubicBezTo>
                <a:cubicBezTo>
                  <a:pt x="1184" y="167"/>
                  <a:pt x="1181" y="170"/>
                  <a:pt x="1178" y="174"/>
                </a:cubicBezTo>
                <a:cubicBezTo>
                  <a:pt x="1176" y="177"/>
                  <a:pt x="1175" y="182"/>
                  <a:pt x="1175" y="187"/>
                </a:cubicBezTo>
                <a:cubicBezTo>
                  <a:pt x="1175" y="194"/>
                  <a:pt x="1177" y="200"/>
                  <a:pt x="1183" y="205"/>
                </a:cubicBezTo>
                <a:cubicBezTo>
                  <a:pt x="1188" y="210"/>
                  <a:pt x="1196" y="213"/>
                  <a:pt x="1206" y="213"/>
                </a:cubicBezTo>
                <a:cubicBezTo>
                  <a:pt x="1216" y="213"/>
                  <a:pt x="1225" y="210"/>
                  <a:pt x="1232" y="206"/>
                </a:cubicBezTo>
                <a:cubicBezTo>
                  <a:pt x="1240" y="201"/>
                  <a:pt x="1246" y="195"/>
                  <a:pt x="1250" y="186"/>
                </a:cubicBezTo>
                <a:cubicBezTo>
                  <a:pt x="1253" y="180"/>
                  <a:pt x="1254" y="171"/>
                  <a:pt x="1254" y="159"/>
                </a:cubicBezTo>
                <a:lnTo>
                  <a:pt x="1254" y="148"/>
                </a:lnTo>
                <a:close/>
                <a:moveTo>
                  <a:pt x="1377" y="206"/>
                </a:moveTo>
                <a:lnTo>
                  <a:pt x="1380" y="231"/>
                </a:lnTo>
                <a:cubicBezTo>
                  <a:pt x="1373" y="232"/>
                  <a:pt x="1367" y="233"/>
                  <a:pt x="1361" y="233"/>
                </a:cubicBezTo>
                <a:cubicBezTo>
                  <a:pt x="1351" y="233"/>
                  <a:pt x="1344" y="232"/>
                  <a:pt x="1339" y="228"/>
                </a:cubicBezTo>
                <a:cubicBezTo>
                  <a:pt x="1334" y="225"/>
                  <a:pt x="1330" y="221"/>
                  <a:pt x="1328" y="216"/>
                </a:cubicBezTo>
                <a:cubicBezTo>
                  <a:pt x="1326" y="211"/>
                  <a:pt x="1325" y="200"/>
                  <a:pt x="1325" y="183"/>
                </a:cubicBezTo>
                <a:lnTo>
                  <a:pt x="1325" y="88"/>
                </a:lnTo>
                <a:lnTo>
                  <a:pt x="1306" y="88"/>
                </a:lnTo>
                <a:lnTo>
                  <a:pt x="1306" y="66"/>
                </a:lnTo>
                <a:lnTo>
                  <a:pt x="1325" y="66"/>
                </a:lnTo>
                <a:lnTo>
                  <a:pt x="1325" y="26"/>
                </a:lnTo>
                <a:lnTo>
                  <a:pt x="1351" y="9"/>
                </a:lnTo>
                <a:lnTo>
                  <a:pt x="1351" y="66"/>
                </a:lnTo>
                <a:lnTo>
                  <a:pt x="1377" y="66"/>
                </a:lnTo>
                <a:lnTo>
                  <a:pt x="1377" y="88"/>
                </a:lnTo>
                <a:lnTo>
                  <a:pt x="1351" y="88"/>
                </a:lnTo>
                <a:lnTo>
                  <a:pt x="1351" y="184"/>
                </a:lnTo>
                <a:cubicBezTo>
                  <a:pt x="1351" y="192"/>
                  <a:pt x="1351" y="197"/>
                  <a:pt x="1352" y="200"/>
                </a:cubicBezTo>
                <a:cubicBezTo>
                  <a:pt x="1353" y="202"/>
                  <a:pt x="1355" y="204"/>
                  <a:pt x="1357" y="205"/>
                </a:cubicBezTo>
                <a:cubicBezTo>
                  <a:pt x="1359" y="207"/>
                  <a:pt x="1362" y="207"/>
                  <a:pt x="1366" y="207"/>
                </a:cubicBezTo>
                <a:cubicBezTo>
                  <a:pt x="1368" y="207"/>
                  <a:pt x="1372" y="207"/>
                  <a:pt x="1377" y="206"/>
                </a:cubicBezTo>
                <a:close/>
                <a:moveTo>
                  <a:pt x="1507" y="178"/>
                </a:moveTo>
                <a:lnTo>
                  <a:pt x="1534" y="182"/>
                </a:lnTo>
                <a:cubicBezTo>
                  <a:pt x="1530" y="198"/>
                  <a:pt x="1522" y="211"/>
                  <a:pt x="1511" y="221"/>
                </a:cubicBezTo>
                <a:cubicBezTo>
                  <a:pt x="1499" y="230"/>
                  <a:pt x="1485" y="235"/>
                  <a:pt x="1467" y="235"/>
                </a:cubicBezTo>
                <a:cubicBezTo>
                  <a:pt x="1444" y="235"/>
                  <a:pt x="1427" y="227"/>
                  <a:pt x="1414" y="212"/>
                </a:cubicBezTo>
                <a:cubicBezTo>
                  <a:pt x="1401" y="198"/>
                  <a:pt x="1394" y="177"/>
                  <a:pt x="1394" y="150"/>
                </a:cubicBezTo>
                <a:cubicBezTo>
                  <a:pt x="1394" y="122"/>
                  <a:pt x="1401" y="101"/>
                  <a:pt x="1414" y="86"/>
                </a:cubicBezTo>
                <a:cubicBezTo>
                  <a:pt x="1427" y="70"/>
                  <a:pt x="1444" y="63"/>
                  <a:pt x="1465" y="63"/>
                </a:cubicBezTo>
                <a:cubicBezTo>
                  <a:pt x="1486" y="63"/>
                  <a:pt x="1503" y="70"/>
                  <a:pt x="1516" y="85"/>
                </a:cubicBezTo>
                <a:cubicBezTo>
                  <a:pt x="1529" y="100"/>
                  <a:pt x="1535" y="121"/>
                  <a:pt x="1535" y="148"/>
                </a:cubicBezTo>
                <a:cubicBezTo>
                  <a:pt x="1535" y="150"/>
                  <a:pt x="1535" y="153"/>
                  <a:pt x="1535" y="156"/>
                </a:cubicBezTo>
                <a:lnTo>
                  <a:pt x="1421" y="156"/>
                </a:lnTo>
                <a:cubicBezTo>
                  <a:pt x="1422" y="174"/>
                  <a:pt x="1426" y="188"/>
                  <a:pt x="1435" y="197"/>
                </a:cubicBezTo>
                <a:cubicBezTo>
                  <a:pt x="1443" y="207"/>
                  <a:pt x="1454" y="212"/>
                  <a:pt x="1467" y="212"/>
                </a:cubicBezTo>
                <a:cubicBezTo>
                  <a:pt x="1476" y="212"/>
                  <a:pt x="1485" y="209"/>
                  <a:pt x="1491" y="204"/>
                </a:cubicBezTo>
                <a:cubicBezTo>
                  <a:pt x="1498" y="198"/>
                  <a:pt x="1503" y="190"/>
                  <a:pt x="1507" y="178"/>
                </a:cubicBezTo>
                <a:close/>
                <a:moveTo>
                  <a:pt x="1422" y="133"/>
                </a:moveTo>
                <a:lnTo>
                  <a:pt x="1508" y="133"/>
                </a:lnTo>
                <a:cubicBezTo>
                  <a:pt x="1506" y="119"/>
                  <a:pt x="1503" y="109"/>
                  <a:pt x="1498" y="102"/>
                </a:cubicBezTo>
                <a:cubicBezTo>
                  <a:pt x="1489" y="91"/>
                  <a:pt x="1479" y="86"/>
                  <a:pt x="1466" y="86"/>
                </a:cubicBezTo>
                <a:cubicBezTo>
                  <a:pt x="1454" y="86"/>
                  <a:pt x="1444" y="90"/>
                  <a:pt x="1436" y="98"/>
                </a:cubicBezTo>
                <a:cubicBezTo>
                  <a:pt x="1427" y="107"/>
                  <a:pt x="1423" y="119"/>
                  <a:pt x="1422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3" name="Freeform 63">
            <a:extLst>
              <a:ext uri="{FF2B5EF4-FFF2-40B4-BE49-F238E27FC236}">
                <a16:creationId xmlns:a16="http://schemas.microsoft.com/office/drawing/2014/main" id="{BAEAEAA6-0AC9-4749-9891-AA5030040A73}"/>
              </a:ext>
            </a:extLst>
          </p:cNvPr>
          <p:cNvSpPr>
            <a:spLocks noEditPoints="1"/>
          </p:cNvSpPr>
          <p:nvPr/>
        </p:nvSpPr>
        <p:spPr bwMode="auto">
          <a:xfrm>
            <a:off x="2800351" y="6081713"/>
            <a:ext cx="366713" cy="85725"/>
          </a:xfrm>
          <a:custGeom>
            <a:avLst/>
            <a:gdLst>
              <a:gd name="T0" fmla="*/ 155 w 1018"/>
              <a:gd name="T1" fmla="*/ 216 h 235"/>
              <a:gd name="T2" fmla="*/ 11 w 1018"/>
              <a:gd name="T3" fmla="*/ 177 h 235"/>
              <a:gd name="T4" fmla="*/ 48 w 1018"/>
              <a:gd name="T5" fmla="*/ 14 h 235"/>
              <a:gd name="T6" fmla="*/ 183 w 1018"/>
              <a:gd name="T7" fmla="*/ 66 h 235"/>
              <a:gd name="T8" fmla="*/ 99 w 1018"/>
              <a:gd name="T9" fmla="*/ 26 h 235"/>
              <a:gd name="T10" fmla="*/ 29 w 1018"/>
              <a:gd name="T11" fmla="*/ 116 h 235"/>
              <a:gd name="T12" fmla="*/ 97 w 1018"/>
              <a:gd name="T13" fmla="*/ 209 h 235"/>
              <a:gd name="T14" fmla="*/ 208 w 1018"/>
              <a:gd name="T15" fmla="*/ 149 h 235"/>
              <a:gd name="T16" fmla="*/ 332 w 1018"/>
              <a:gd name="T17" fmla="*/ 85 h 235"/>
              <a:gd name="T18" fmla="*/ 317 w 1018"/>
              <a:gd name="T19" fmla="*/ 225 h 235"/>
              <a:gd name="T20" fmla="*/ 208 w 1018"/>
              <a:gd name="T21" fmla="*/ 149 h 235"/>
              <a:gd name="T22" fmla="*/ 280 w 1018"/>
              <a:gd name="T23" fmla="*/ 212 h 235"/>
              <a:gd name="T24" fmla="*/ 313 w 1018"/>
              <a:gd name="T25" fmla="*/ 102 h 235"/>
              <a:gd name="T26" fmla="*/ 235 w 1018"/>
              <a:gd name="T27" fmla="*/ 149 h 235"/>
              <a:gd name="T28" fmla="*/ 406 w 1018"/>
              <a:gd name="T29" fmla="*/ 67 h 235"/>
              <a:gd name="T30" fmla="*/ 480 w 1018"/>
              <a:gd name="T31" fmla="*/ 68 h 235"/>
              <a:gd name="T32" fmla="*/ 507 w 1018"/>
              <a:gd name="T33" fmla="*/ 130 h 235"/>
              <a:gd name="T34" fmla="*/ 481 w 1018"/>
              <a:gd name="T35" fmla="*/ 131 h 235"/>
              <a:gd name="T36" fmla="*/ 449 w 1018"/>
              <a:gd name="T37" fmla="*/ 87 h 235"/>
              <a:gd name="T38" fmla="*/ 409 w 1018"/>
              <a:gd name="T39" fmla="*/ 231 h 235"/>
              <a:gd name="T40" fmla="*/ 607 w 1018"/>
              <a:gd name="T41" fmla="*/ 231 h 235"/>
              <a:gd name="T42" fmla="*/ 555 w 1018"/>
              <a:gd name="T43" fmla="*/ 216 h 235"/>
              <a:gd name="T44" fmla="*/ 532 w 1018"/>
              <a:gd name="T45" fmla="*/ 88 h 235"/>
              <a:gd name="T46" fmla="*/ 552 w 1018"/>
              <a:gd name="T47" fmla="*/ 26 h 235"/>
              <a:gd name="T48" fmla="*/ 604 w 1018"/>
              <a:gd name="T49" fmla="*/ 67 h 235"/>
              <a:gd name="T50" fmla="*/ 578 w 1018"/>
              <a:gd name="T51" fmla="*/ 185 h 235"/>
              <a:gd name="T52" fmla="*/ 592 w 1018"/>
              <a:gd name="T53" fmla="*/ 207 h 235"/>
              <a:gd name="T54" fmla="*/ 761 w 1018"/>
              <a:gd name="T55" fmla="*/ 182 h 235"/>
              <a:gd name="T56" fmla="*/ 640 w 1018"/>
              <a:gd name="T57" fmla="*/ 213 h 235"/>
              <a:gd name="T58" fmla="*/ 692 w 1018"/>
              <a:gd name="T59" fmla="*/ 63 h 235"/>
              <a:gd name="T60" fmla="*/ 762 w 1018"/>
              <a:gd name="T61" fmla="*/ 156 h 235"/>
              <a:gd name="T62" fmla="*/ 694 w 1018"/>
              <a:gd name="T63" fmla="*/ 212 h 235"/>
              <a:gd name="T64" fmla="*/ 649 w 1018"/>
              <a:gd name="T65" fmla="*/ 133 h 235"/>
              <a:gd name="T66" fmla="*/ 692 w 1018"/>
              <a:gd name="T67" fmla="*/ 86 h 235"/>
              <a:gd name="T68" fmla="*/ 794 w 1018"/>
              <a:gd name="T69" fmla="*/ 231 h 235"/>
              <a:gd name="T70" fmla="*/ 817 w 1018"/>
              <a:gd name="T71" fmla="*/ 90 h 235"/>
              <a:gd name="T72" fmla="*/ 909 w 1018"/>
              <a:gd name="T73" fmla="*/ 82 h 235"/>
              <a:gd name="T74" fmla="*/ 918 w 1018"/>
              <a:gd name="T75" fmla="*/ 231 h 235"/>
              <a:gd name="T76" fmla="*/ 889 w 1018"/>
              <a:gd name="T77" fmla="*/ 106 h 235"/>
              <a:gd name="T78" fmla="*/ 832 w 1018"/>
              <a:gd name="T79" fmla="*/ 98 h 235"/>
              <a:gd name="T80" fmla="*/ 794 w 1018"/>
              <a:gd name="T81" fmla="*/ 231 h 235"/>
              <a:gd name="T82" fmla="*/ 999 w 1018"/>
              <a:gd name="T83" fmla="*/ 234 h 235"/>
              <a:gd name="T84" fmla="*/ 963 w 1018"/>
              <a:gd name="T85" fmla="*/ 183 h 235"/>
              <a:gd name="T86" fmla="*/ 944 w 1018"/>
              <a:gd name="T87" fmla="*/ 67 h 235"/>
              <a:gd name="T88" fmla="*/ 989 w 1018"/>
              <a:gd name="T89" fmla="*/ 9 h 235"/>
              <a:gd name="T90" fmla="*/ 1015 w 1018"/>
              <a:gd name="T91" fmla="*/ 88 h 235"/>
              <a:gd name="T92" fmla="*/ 990 w 1018"/>
              <a:gd name="T93" fmla="*/ 200 h 235"/>
              <a:gd name="T94" fmla="*/ 1015 w 1018"/>
              <a:gd name="T95" fmla="*/ 206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018" h="235">
                <a:moveTo>
                  <a:pt x="159" y="152"/>
                </a:moveTo>
                <a:lnTo>
                  <a:pt x="187" y="159"/>
                </a:lnTo>
                <a:cubicBezTo>
                  <a:pt x="181" y="184"/>
                  <a:pt x="170" y="203"/>
                  <a:pt x="155" y="216"/>
                </a:cubicBezTo>
                <a:cubicBezTo>
                  <a:pt x="140" y="229"/>
                  <a:pt x="121" y="235"/>
                  <a:pt x="99" y="235"/>
                </a:cubicBezTo>
                <a:cubicBezTo>
                  <a:pt x="76" y="235"/>
                  <a:pt x="58" y="230"/>
                  <a:pt x="44" y="220"/>
                </a:cubicBezTo>
                <a:cubicBezTo>
                  <a:pt x="29" y="210"/>
                  <a:pt x="18" y="196"/>
                  <a:pt x="11" y="177"/>
                </a:cubicBezTo>
                <a:cubicBezTo>
                  <a:pt x="4" y="158"/>
                  <a:pt x="0" y="138"/>
                  <a:pt x="0" y="116"/>
                </a:cubicBezTo>
                <a:cubicBezTo>
                  <a:pt x="0" y="92"/>
                  <a:pt x="4" y="72"/>
                  <a:pt x="12" y="54"/>
                </a:cubicBezTo>
                <a:cubicBezTo>
                  <a:pt x="21" y="36"/>
                  <a:pt x="33" y="23"/>
                  <a:pt x="48" y="14"/>
                </a:cubicBezTo>
                <a:cubicBezTo>
                  <a:pt x="64" y="5"/>
                  <a:pt x="81" y="0"/>
                  <a:pt x="100" y="0"/>
                </a:cubicBezTo>
                <a:cubicBezTo>
                  <a:pt x="121" y="0"/>
                  <a:pt x="139" y="6"/>
                  <a:pt x="153" y="18"/>
                </a:cubicBezTo>
                <a:cubicBezTo>
                  <a:pt x="167" y="29"/>
                  <a:pt x="178" y="45"/>
                  <a:pt x="183" y="66"/>
                </a:cubicBezTo>
                <a:lnTo>
                  <a:pt x="156" y="73"/>
                </a:lnTo>
                <a:cubicBezTo>
                  <a:pt x="151" y="57"/>
                  <a:pt x="144" y="45"/>
                  <a:pt x="134" y="37"/>
                </a:cubicBezTo>
                <a:cubicBezTo>
                  <a:pt x="125" y="30"/>
                  <a:pt x="113" y="26"/>
                  <a:pt x="99" y="26"/>
                </a:cubicBezTo>
                <a:cubicBezTo>
                  <a:pt x="83" y="26"/>
                  <a:pt x="69" y="30"/>
                  <a:pt x="58" y="38"/>
                </a:cubicBezTo>
                <a:cubicBezTo>
                  <a:pt x="47" y="47"/>
                  <a:pt x="40" y="58"/>
                  <a:pt x="35" y="72"/>
                </a:cubicBezTo>
                <a:cubicBezTo>
                  <a:pt x="31" y="86"/>
                  <a:pt x="29" y="101"/>
                  <a:pt x="29" y="116"/>
                </a:cubicBezTo>
                <a:cubicBezTo>
                  <a:pt x="29" y="135"/>
                  <a:pt x="31" y="152"/>
                  <a:pt x="37" y="166"/>
                </a:cubicBezTo>
                <a:cubicBezTo>
                  <a:pt x="42" y="181"/>
                  <a:pt x="50" y="192"/>
                  <a:pt x="61" y="199"/>
                </a:cubicBezTo>
                <a:cubicBezTo>
                  <a:pt x="72" y="206"/>
                  <a:pt x="84" y="209"/>
                  <a:pt x="97" y="209"/>
                </a:cubicBezTo>
                <a:cubicBezTo>
                  <a:pt x="113" y="209"/>
                  <a:pt x="126" y="205"/>
                  <a:pt x="137" y="195"/>
                </a:cubicBezTo>
                <a:cubicBezTo>
                  <a:pt x="147" y="185"/>
                  <a:pt x="155" y="171"/>
                  <a:pt x="159" y="152"/>
                </a:cubicBezTo>
                <a:close/>
                <a:moveTo>
                  <a:pt x="208" y="149"/>
                </a:moveTo>
                <a:cubicBezTo>
                  <a:pt x="208" y="118"/>
                  <a:pt x="216" y="96"/>
                  <a:pt x="232" y="81"/>
                </a:cubicBezTo>
                <a:cubicBezTo>
                  <a:pt x="245" y="69"/>
                  <a:pt x="261" y="63"/>
                  <a:pt x="280" y="63"/>
                </a:cubicBezTo>
                <a:cubicBezTo>
                  <a:pt x="301" y="63"/>
                  <a:pt x="319" y="70"/>
                  <a:pt x="332" y="85"/>
                </a:cubicBezTo>
                <a:cubicBezTo>
                  <a:pt x="345" y="100"/>
                  <a:pt x="352" y="120"/>
                  <a:pt x="352" y="147"/>
                </a:cubicBezTo>
                <a:cubicBezTo>
                  <a:pt x="352" y="168"/>
                  <a:pt x="349" y="184"/>
                  <a:pt x="343" y="196"/>
                </a:cubicBezTo>
                <a:cubicBezTo>
                  <a:pt x="337" y="209"/>
                  <a:pt x="329" y="218"/>
                  <a:pt x="317" y="225"/>
                </a:cubicBezTo>
                <a:cubicBezTo>
                  <a:pt x="306" y="231"/>
                  <a:pt x="294" y="235"/>
                  <a:pt x="280" y="235"/>
                </a:cubicBezTo>
                <a:cubicBezTo>
                  <a:pt x="259" y="235"/>
                  <a:pt x="242" y="227"/>
                  <a:pt x="228" y="213"/>
                </a:cubicBezTo>
                <a:cubicBezTo>
                  <a:pt x="215" y="198"/>
                  <a:pt x="208" y="177"/>
                  <a:pt x="208" y="149"/>
                </a:cubicBezTo>
                <a:close/>
                <a:moveTo>
                  <a:pt x="235" y="149"/>
                </a:moveTo>
                <a:cubicBezTo>
                  <a:pt x="235" y="170"/>
                  <a:pt x="239" y="186"/>
                  <a:pt x="248" y="196"/>
                </a:cubicBezTo>
                <a:cubicBezTo>
                  <a:pt x="256" y="207"/>
                  <a:pt x="267" y="212"/>
                  <a:pt x="280" y="212"/>
                </a:cubicBezTo>
                <a:cubicBezTo>
                  <a:pt x="293" y="212"/>
                  <a:pt x="304" y="207"/>
                  <a:pt x="313" y="196"/>
                </a:cubicBezTo>
                <a:cubicBezTo>
                  <a:pt x="321" y="186"/>
                  <a:pt x="326" y="170"/>
                  <a:pt x="326" y="148"/>
                </a:cubicBezTo>
                <a:cubicBezTo>
                  <a:pt x="326" y="128"/>
                  <a:pt x="321" y="112"/>
                  <a:pt x="313" y="102"/>
                </a:cubicBezTo>
                <a:cubicBezTo>
                  <a:pt x="304" y="91"/>
                  <a:pt x="293" y="86"/>
                  <a:pt x="280" y="86"/>
                </a:cubicBezTo>
                <a:cubicBezTo>
                  <a:pt x="267" y="86"/>
                  <a:pt x="256" y="91"/>
                  <a:pt x="248" y="102"/>
                </a:cubicBezTo>
                <a:cubicBezTo>
                  <a:pt x="239" y="112"/>
                  <a:pt x="235" y="128"/>
                  <a:pt x="235" y="149"/>
                </a:cubicBezTo>
                <a:close/>
                <a:moveTo>
                  <a:pt x="383" y="231"/>
                </a:moveTo>
                <a:lnTo>
                  <a:pt x="383" y="67"/>
                </a:lnTo>
                <a:lnTo>
                  <a:pt x="406" y="67"/>
                </a:lnTo>
                <a:lnTo>
                  <a:pt x="406" y="90"/>
                </a:lnTo>
                <a:cubicBezTo>
                  <a:pt x="417" y="72"/>
                  <a:pt x="434" y="63"/>
                  <a:pt x="455" y="63"/>
                </a:cubicBezTo>
                <a:cubicBezTo>
                  <a:pt x="464" y="63"/>
                  <a:pt x="473" y="65"/>
                  <a:pt x="480" y="68"/>
                </a:cubicBezTo>
                <a:cubicBezTo>
                  <a:pt x="488" y="72"/>
                  <a:pt x="494" y="77"/>
                  <a:pt x="498" y="82"/>
                </a:cubicBezTo>
                <a:cubicBezTo>
                  <a:pt x="502" y="88"/>
                  <a:pt x="504" y="95"/>
                  <a:pt x="506" y="103"/>
                </a:cubicBezTo>
                <a:cubicBezTo>
                  <a:pt x="507" y="108"/>
                  <a:pt x="507" y="117"/>
                  <a:pt x="507" y="130"/>
                </a:cubicBezTo>
                <a:lnTo>
                  <a:pt x="507" y="231"/>
                </a:lnTo>
                <a:lnTo>
                  <a:pt x="481" y="231"/>
                </a:lnTo>
                <a:lnTo>
                  <a:pt x="481" y="131"/>
                </a:lnTo>
                <a:cubicBezTo>
                  <a:pt x="481" y="120"/>
                  <a:pt x="480" y="111"/>
                  <a:pt x="478" y="106"/>
                </a:cubicBezTo>
                <a:cubicBezTo>
                  <a:pt x="476" y="100"/>
                  <a:pt x="473" y="96"/>
                  <a:pt x="467" y="92"/>
                </a:cubicBezTo>
                <a:cubicBezTo>
                  <a:pt x="462" y="89"/>
                  <a:pt x="456" y="87"/>
                  <a:pt x="449" y="87"/>
                </a:cubicBezTo>
                <a:cubicBezTo>
                  <a:pt x="438" y="87"/>
                  <a:pt x="429" y="91"/>
                  <a:pt x="421" y="98"/>
                </a:cubicBezTo>
                <a:cubicBezTo>
                  <a:pt x="413" y="106"/>
                  <a:pt x="409" y="120"/>
                  <a:pt x="409" y="141"/>
                </a:cubicBezTo>
                <a:lnTo>
                  <a:pt x="409" y="231"/>
                </a:lnTo>
                <a:lnTo>
                  <a:pt x="383" y="231"/>
                </a:lnTo>
                <a:close/>
                <a:moveTo>
                  <a:pt x="604" y="206"/>
                </a:moveTo>
                <a:lnTo>
                  <a:pt x="607" y="231"/>
                </a:lnTo>
                <a:cubicBezTo>
                  <a:pt x="600" y="233"/>
                  <a:pt x="593" y="234"/>
                  <a:pt x="588" y="234"/>
                </a:cubicBezTo>
                <a:cubicBezTo>
                  <a:pt x="578" y="234"/>
                  <a:pt x="571" y="232"/>
                  <a:pt x="566" y="229"/>
                </a:cubicBezTo>
                <a:cubicBezTo>
                  <a:pt x="561" y="225"/>
                  <a:pt x="557" y="221"/>
                  <a:pt x="555" y="216"/>
                </a:cubicBezTo>
                <a:cubicBezTo>
                  <a:pt x="553" y="211"/>
                  <a:pt x="552" y="200"/>
                  <a:pt x="552" y="183"/>
                </a:cubicBezTo>
                <a:lnTo>
                  <a:pt x="552" y="88"/>
                </a:lnTo>
                <a:lnTo>
                  <a:pt x="532" y="88"/>
                </a:lnTo>
                <a:lnTo>
                  <a:pt x="532" y="67"/>
                </a:lnTo>
                <a:lnTo>
                  <a:pt x="552" y="67"/>
                </a:lnTo>
                <a:lnTo>
                  <a:pt x="552" y="26"/>
                </a:lnTo>
                <a:lnTo>
                  <a:pt x="578" y="9"/>
                </a:lnTo>
                <a:lnTo>
                  <a:pt x="578" y="67"/>
                </a:lnTo>
                <a:lnTo>
                  <a:pt x="604" y="67"/>
                </a:lnTo>
                <a:lnTo>
                  <a:pt x="604" y="88"/>
                </a:lnTo>
                <a:lnTo>
                  <a:pt x="578" y="88"/>
                </a:lnTo>
                <a:lnTo>
                  <a:pt x="578" y="185"/>
                </a:lnTo>
                <a:cubicBezTo>
                  <a:pt x="578" y="193"/>
                  <a:pt x="578" y="198"/>
                  <a:pt x="579" y="200"/>
                </a:cubicBezTo>
                <a:cubicBezTo>
                  <a:pt x="580" y="202"/>
                  <a:pt x="581" y="204"/>
                  <a:pt x="583" y="205"/>
                </a:cubicBezTo>
                <a:cubicBezTo>
                  <a:pt x="586" y="207"/>
                  <a:pt x="588" y="207"/>
                  <a:pt x="592" y="207"/>
                </a:cubicBezTo>
                <a:cubicBezTo>
                  <a:pt x="595" y="207"/>
                  <a:pt x="599" y="207"/>
                  <a:pt x="604" y="206"/>
                </a:cubicBezTo>
                <a:close/>
                <a:moveTo>
                  <a:pt x="734" y="178"/>
                </a:moveTo>
                <a:lnTo>
                  <a:pt x="761" y="182"/>
                </a:lnTo>
                <a:cubicBezTo>
                  <a:pt x="757" y="199"/>
                  <a:pt x="749" y="212"/>
                  <a:pt x="738" y="221"/>
                </a:cubicBezTo>
                <a:cubicBezTo>
                  <a:pt x="726" y="230"/>
                  <a:pt x="711" y="235"/>
                  <a:pt x="694" y="235"/>
                </a:cubicBezTo>
                <a:cubicBezTo>
                  <a:pt x="671" y="235"/>
                  <a:pt x="654" y="227"/>
                  <a:pt x="640" y="213"/>
                </a:cubicBezTo>
                <a:cubicBezTo>
                  <a:pt x="627" y="198"/>
                  <a:pt x="621" y="177"/>
                  <a:pt x="621" y="150"/>
                </a:cubicBezTo>
                <a:cubicBezTo>
                  <a:pt x="621" y="123"/>
                  <a:pt x="627" y="101"/>
                  <a:pt x="641" y="86"/>
                </a:cubicBezTo>
                <a:cubicBezTo>
                  <a:pt x="654" y="71"/>
                  <a:pt x="671" y="63"/>
                  <a:pt x="692" y="63"/>
                </a:cubicBezTo>
                <a:cubicBezTo>
                  <a:pt x="713" y="63"/>
                  <a:pt x="729" y="70"/>
                  <a:pt x="742" y="85"/>
                </a:cubicBezTo>
                <a:cubicBezTo>
                  <a:pt x="755" y="100"/>
                  <a:pt x="762" y="121"/>
                  <a:pt x="762" y="149"/>
                </a:cubicBezTo>
                <a:cubicBezTo>
                  <a:pt x="762" y="150"/>
                  <a:pt x="762" y="153"/>
                  <a:pt x="762" y="156"/>
                </a:cubicBezTo>
                <a:lnTo>
                  <a:pt x="647" y="156"/>
                </a:lnTo>
                <a:cubicBezTo>
                  <a:pt x="648" y="174"/>
                  <a:pt x="653" y="188"/>
                  <a:pt x="662" y="198"/>
                </a:cubicBezTo>
                <a:cubicBezTo>
                  <a:pt x="670" y="207"/>
                  <a:pt x="681" y="212"/>
                  <a:pt x="694" y="212"/>
                </a:cubicBezTo>
                <a:cubicBezTo>
                  <a:pt x="703" y="212"/>
                  <a:pt x="711" y="209"/>
                  <a:pt x="718" y="204"/>
                </a:cubicBezTo>
                <a:cubicBezTo>
                  <a:pt x="725" y="198"/>
                  <a:pt x="730" y="190"/>
                  <a:pt x="734" y="178"/>
                </a:cubicBezTo>
                <a:close/>
                <a:moveTo>
                  <a:pt x="649" y="133"/>
                </a:moveTo>
                <a:lnTo>
                  <a:pt x="734" y="133"/>
                </a:lnTo>
                <a:cubicBezTo>
                  <a:pt x="733" y="119"/>
                  <a:pt x="730" y="109"/>
                  <a:pt x="725" y="102"/>
                </a:cubicBezTo>
                <a:cubicBezTo>
                  <a:pt x="716" y="91"/>
                  <a:pt x="706" y="86"/>
                  <a:pt x="692" y="86"/>
                </a:cubicBezTo>
                <a:cubicBezTo>
                  <a:pt x="680" y="86"/>
                  <a:pt x="670" y="90"/>
                  <a:pt x="662" y="99"/>
                </a:cubicBezTo>
                <a:cubicBezTo>
                  <a:pt x="654" y="107"/>
                  <a:pt x="650" y="119"/>
                  <a:pt x="649" y="133"/>
                </a:cubicBezTo>
                <a:close/>
                <a:moveTo>
                  <a:pt x="794" y="231"/>
                </a:moveTo>
                <a:lnTo>
                  <a:pt x="794" y="67"/>
                </a:lnTo>
                <a:lnTo>
                  <a:pt x="817" y="67"/>
                </a:lnTo>
                <a:lnTo>
                  <a:pt x="817" y="90"/>
                </a:lnTo>
                <a:cubicBezTo>
                  <a:pt x="828" y="72"/>
                  <a:pt x="845" y="63"/>
                  <a:pt x="866" y="63"/>
                </a:cubicBezTo>
                <a:cubicBezTo>
                  <a:pt x="875" y="63"/>
                  <a:pt x="884" y="65"/>
                  <a:pt x="891" y="68"/>
                </a:cubicBezTo>
                <a:cubicBezTo>
                  <a:pt x="899" y="72"/>
                  <a:pt x="905" y="77"/>
                  <a:pt x="909" y="82"/>
                </a:cubicBezTo>
                <a:cubicBezTo>
                  <a:pt x="913" y="88"/>
                  <a:pt x="915" y="95"/>
                  <a:pt x="917" y="103"/>
                </a:cubicBezTo>
                <a:cubicBezTo>
                  <a:pt x="918" y="108"/>
                  <a:pt x="918" y="117"/>
                  <a:pt x="918" y="130"/>
                </a:cubicBezTo>
                <a:lnTo>
                  <a:pt x="918" y="231"/>
                </a:lnTo>
                <a:lnTo>
                  <a:pt x="892" y="231"/>
                </a:lnTo>
                <a:lnTo>
                  <a:pt x="892" y="131"/>
                </a:lnTo>
                <a:cubicBezTo>
                  <a:pt x="892" y="120"/>
                  <a:pt x="891" y="111"/>
                  <a:pt x="889" y="106"/>
                </a:cubicBezTo>
                <a:cubicBezTo>
                  <a:pt x="887" y="100"/>
                  <a:pt x="884" y="96"/>
                  <a:pt x="879" y="92"/>
                </a:cubicBezTo>
                <a:cubicBezTo>
                  <a:pt x="873" y="89"/>
                  <a:pt x="867" y="87"/>
                  <a:pt x="861" y="87"/>
                </a:cubicBezTo>
                <a:cubicBezTo>
                  <a:pt x="849" y="87"/>
                  <a:pt x="840" y="91"/>
                  <a:pt x="832" y="98"/>
                </a:cubicBezTo>
                <a:cubicBezTo>
                  <a:pt x="824" y="106"/>
                  <a:pt x="820" y="120"/>
                  <a:pt x="820" y="141"/>
                </a:cubicBezTo>
                <a:lnTo>
                  <a:pt x="820" y="231"/>
                </a:lnTo>
                <a:lnTo>
                  <a:pt x="794" y="231"/>
                </a:lnTo>
                <a:close/>
                <a:moveTo>
                  <a:pt x="1015" y="206"/>
                </a:moveTo>
                <a:lnTo>
                  <a:pt x="1018" y="231"/>
                </a:lnTo>
                <a:cubicBezTo>
                  <a:pt x="1011" y="233"/>
                  <a:pt x="1005" y="234"/>
                  <a:pt x="999" y="234"/>
                </a:cubicBezTo>
                <a:cubicBezTo>
                  <a:pt x="989" y="234"/>
                  <a:pt x="982" y="232"/>
                  <a:pt x="977" y="229"/>
                </a:cubicBezTo>
                <a:cubicBezTo>
                  <a:pt x="972" y="225"/>
                  <a:pt x="968" y="221"/>
                  <a:pt x="966" y="216"/>
                </a:cubicBezTo>
                <a:cubicBezTo>
                  <a:pt x="964" y="211"/>
                  <a:pt x="963" y="200"/>
                  <a:pt x="963" y="183"/>
                </a:cubicBezTo>
                <a:lnTo>
                  <a:pt x="963" y="88"/>
                </a:lnTo>
                <a:lnTo>
                  <a:pt x="944" y="88"/>
                </a:lnTo>
                <a:lnTo>
                  <a:pt x="944" y="67"/>
                </a:lnTo>
                <a:lnTo>
                  <a:pt x="963" y="67"/>
                </a:lnTo>
                <a:lnTo>
                  <a:pt x="963" y="26"/>
                </a:lnTo>
                <a:lnTo>
                  <a:pt x="989" y="9"/>
                </a:lnTo>
                <a:lnTo>
                  <a:pt x="989" y="67"/>
                </a:lnTo>
                <a:lnTo>
                  <a:pt x="1015" y="67"/>
                </a:lnTo>
                <a:lnTo>
                  <a:pt x="1015" y="88"/>
                </a:lnTo>
                <a:lnTo>
                  <a:pt x="989" y="88"/>
                </a:lnTo>
                <a:lnTo>
                  <a:pt x="989" y="185"/>
                </a:lnTo>
                <a:cubicBezTo>
                  <a:pt x="989" y="193"/>
                  <a:pt x="989" y="198"/>
                  <a:pt x="990" y="200"/>
                </a:cubicBezTo>
                <a:cubicBezTo>
                  <a:pt x="991" y="202"/>
                  <a:pt x="993" y="204"/>
                  <a:pt x="995" y="205"/>
                </a:cubicBezTo>
                <a:cubicBezTo>
                  <a:pt x="997" y="207"/>
                  <a:pt x="1000" y="207"/>
                  <a:pt x="1004" y="207"/>
                </a:cubicBezTo>
                <a:cubicBezTo>
                  <a:pt x="1006" y="207"/>
                  <a:pt x="1010" y="207"/>
                  <a:pt x="1015" y="20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4" name="Freeform 64">
            <a:extLst>
              <a:ext uri="{FF2B5EF4-FFF2-40B4-BE49-F238E27FC236}">
                <a16:creationId xmlns:a16="http://schemas.microsoft.com/office/drawing/2014/main" id="{200BEA36-D59B-42E6-9FF2-C7C2FD995527}"/>
              </a:ext>
            </a:extLst>
          </p:cNvPr>
          <p:cNvSpPr>
            <a:spLocks noEditPoints="1"/>
          </p:cNvSpPr>
          <p:nvPr/>
        </p:nvSpPr>
        <p:spPr bwMode="auto">
          <a:xfrm>
            <a:off x="8178801" y="5067301"/>
            <a:ext cx="300038" cy="82550"/>
          </a:xfrm>
          <a:custGeom>
            <a:avLst/>
            <a:gdLst>
              <a:gd name="T0" fmla="*/ 94 w 833"/>
              <a:gd name="T1" fmla="*/ 0 h 231"/>
              <a:gd name="T2" fmla="*/ 169 w 833"/>
              <a:gd name="T3" fmla="*/ 62 h 231"/>
              <a:gd name="T4" fmla="*/ 127 w 833"/>
              <a:gd name="T5" fmla="*/ 135 h 231"/>
              <a:gd name="T6" fmla="*/ 151 w 833"/>
              <a:gd name="T7" fmla="*/ 227 h 231"/>
              <a:gd name="T8" fmla="*/ 89 w 833"/>
              <a:gd name="T9" fmla="*/ 133 h 231"/>
              <a:gd name="T10" fmla="*/ 28 w 833"/>
              <a:gd name="T11" fmla="*/ 126 h 231"/>
              <a:gd name="T12" fmla="*/ 28 w 833"/>
              <a:gd name="T13" fmla="*/ 100 h 231"/>
              <a:gd name="T14" fmla="*/ 135 w 833"/>
              <a:gd name="T15" fmla="*/ 82 h 231"/>
              <a:gd name="T16" fmla="*/ 95 w 833"/>
              <a:gd name="T17" fmla="*/ 25 h 231"/>
              <a:gd name="T18" fmla="*/ 196 w 833"/>
              <a:gd name="T19" fmla="*/ 145 h 231"/>
              <a:gd name="T20" fmla="*/ 319 w 833"/>
              <a:gd name="T21" fmla="*/ 81 h 231"/>
              <a:gd name="T22" fmla="*/ 305 w 833"/>
              <a:gd name="T23" fmla="*/ 220 h 231"/>
              <a:gd name="T24" fmla="*/ 196 w 833"/>
              <a:gd name="T25" fmla="*/ 145 h 231"/>
              <a:gd name="T26" fmla="*/ 268 w 833"/>
              <a:gd name="T27" fmla="*/ 208 h 231"/>
              <a:gd name="T28" fmla="*/ 300 w 833"/>
              <a:gd name="T29" fmla="*/ 98 h 231"/>
              <a:gd name="T30" fmla="*/ 222 w 833"/>
              <a:gd name="T31" fmla="*/ 145 h 231"/>
              <a:gd name="T32" fmla="*/ 410 w 833"/>
              <a:gd name="T33" fmla="*/ 229 h 231"/>
              <a:gd name="T34" fmla="*/ 374 w 833"/>
              <a:gd name="T35" fmla="*/ 179 h 231"/>
              <a:gd name="T36" fmla="*/ 355 w 833"/>
              <a:gd name="T37" fmla="*/ 62 h 231"/>
              <a:gd name="T38" fmla="*/ 400 w 833"/>
              <a:gd name="T39" fmla="*/ 5 h 231"/>
              <a:gd name="T40" fmla="*/ 426 w 833"/>
              <a:gd name="T41" fmla="*/ 84 h 231"/>
              <a:gd name="T42" fmla="*/ 402 w 833"/>
              <a:gd name="T43" fmla="*/ 196 h 231"/>
              <a:gd name="T44" fmla="*/ 426 w 833"/>
              <a:gd name="T45" fmla="*/ 202 h 231"/>
              <a:gd name="T46" fmla="*/ 497 w 833"/>
              <a:gd name="T47" fmla="*/ 231 h 231"/>
              <a:gd name="T48" fmla="*/ 450 w 833"/>
              <a:gd name="T49" fmla="*/ 161 h 231"/>
              <a:gd name="T50" fmla="*/ 505 w 833"/>
              <a:gd name="T51" fmla="*/ 132 h 231"/>
              <a:gd name="T52" fmla="*/ 544 w 833"/>
              <a:gd name="T53" fmla="*/ 91 h 231"/>
              <a:gd name="T54" fmla="*/ 475 w 833"/>
              <a:gd name="T55" fmla="*/ 113 h 231"/>
              <a:gd name="T56" fmla="*/ 484 w 833"/>
              <a:gd name="T57" fmla="*/ 65 h 231"/>
              <a:gd name="T58" fmla="*/ 569 w 833"/>
              <a:gd name="T59" fmla="*/ 76 h 231"/>
              <a:gd name="T60" fmla="*/ 578 w 833"/>
              <a:gd name="T61" fmla="*/ 158 h 231"/>
              <a:gd name="T62" fmla="*/ 559 w 833"/>
              <a:gd name="T63" fmla="*/ 227 h 231"/>
              <a:gd name="T64" fmla="*/ 509 w 833"/>
              <a:gd name="T65" fmla="*/ 155 h 231"/>
              <a:gd name="T66" fmla="*/ 472 w 833"/>
              <a:gd name="T67" fmla="*/ 183 h 231"/>
              <a:gd name="T68" fmla="*/ 530 w 833"/>
              <a:gd name="T69" fmla="*/ 202 h 231"/>
              <a:gd name="T70" fmla="*/ 552 w 833"/>
              <a:gd name="T71" fmla="*/ 144 h 231"/>
              <a:gd name="T72" fmla="*/ 658 w 833"/>
              <a:gd name="T73" fmla="*/ 229 h 231"/>
              <a:gd name="T74" fmla="*/ 622 w 833"/>
              <a:gd name="T75" fmla="*/ 179 h 231"/>
              <a:gd name="T76" fmla="*/ 603 w 833"/>
              <a:gd name="T77" fmla="*/ 62 h 231"/>
              <a:gd name="T78" fmla="*/ 648 w 833"/>
              <a:gd name="T79" fmla="*/ 5 h 231"/>
              <a:gd name="T80" fmla="*/ 675 w 833"/>
              <a:gd name="T81" fmla="*/ 84 h 231"/>
              <a:gd name="T82" fmla="*/ 650 w 833"/>
              <a:gd name="T83" fmla="*/ 196 h 231"/>
              <a:gd name="T84" fmla="*/ 675 w 833"/>
              <a:gd name="T85" fmla="*/ 202 h 231"/>
              <a:gd name="T86" fmla="*/ 808 w 833"/>
              <a:gd name="T87" fmla="*/ 217 h 231"/>
              <a:gd name="T88" fmla="*/ 692 w 833"/>
              <a:gd name="T89" fmla="*/ 146 h 231"/>
              <a:gd name="T90" fmla="*/ 813 w 833"/>
              <a:gd name="T91" fmla="*/ 81 h 231"/>
              <a:gd name="T92" fmla="*/ 718 w 833"/>
              <a:gd name="T93" fmla="*/ 152 h 231"/>
              <a:gd name="T94" fmla="*/ 789 w 833"/>
              <a:gd name="T95" fmla="*/ 200 h 231"/>
              <a:gd name="T96" fmla="*/ 805 w 833"/>
              <a:gd name="T97" fmla="*/ 129 h 231"/>
              <a:gd name="T98" fmla="*/ 733 w 833"/>
              <a:gd name="T99" fmla="*/ 94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33" h="231">
                <a:moveTo>
                  <a:pt x="0" y="227"/>
                </a:moveTo>
                <a:lnTo>
                  <a:pt x="0" y="0"/>
                </a:lnTo>
                <a:lnTo>
                  <a:pt x="94" y="0"/>
                </a:lnTo>
                <a:cubicBezTo>
                  <a:pt x="113" y="0"/>
                  <a:pt x="127" y="2"/>
                  <a:pt x="137" y="6"/>
                </a:cubicBezTo>
                <a:cubicBezTo>
                  <a:pt x="147" y="10"/>
                  <a:pt x="155" y="17"/>
                  <a:pt x="160" y="27"/>
                </a:cubicBezTo>
                <a:cubicBezTo>
                  <a:pt x="166" y="38"/>
                  <a:pt x="169" y="49"/>
                  <a:pt x="169" y="62"/>
                </a:cubicBezTo>
                <a:cubicBezTo>
                  <a:pt x="169" y="78"/>
                  <a:pt x="164" y="91"/>
                  <a:pt x="155" y="102"/>
                </a:cubicBezTo>
                <a:cubicBezTo>
                  <a:pt x="145" y="114"/>
                  <a:pt x="130" y="121"/>
                  <a:pt x="110" y="124"/>
                </a:cubicBezTo>
                <a:cubicBezTo>
                  <a:pt x="117" y="127"/>
                  <a:pt x="123" y="131"/>
                  <a:pt x="127" y="135"/>
                </a:cubicBezTo>
                <a:cubicBezTo>
                  <a:pt x="135" y="143"/>
                  <a:pt x="142" y="153"/>
                  <a:pt x="150" y="165"/>
                </a:cubicBezTo>
                <a:lnTo>
                  <a:pt x="186" y="227"/>
                </a:lnTo>
                <a:lnTo>
                  <a:pt x="151" y="227"/>
                </a:lnTo>
                <a:lnTo>
                  <a:pt x="123" y="180"/>
                </a:lnTo>
                <a:cubicBezTo>
                  <a:pt x="115" y="166"/>
                  <a:pt x="108" y="156"/>
                  <a:pt x="103" y="148"/>
                </a:cubicBezTo>
                <a:cubicBezTo>
                  <a:pt x="98" y="141"/>
                  <a:pt x="93" y="136"/>
                  <a:pt x="89" y="133"/>
                </a:cubicBezTo>
                <a:cubicBezTo>
                  <a:pt x="85" y="130"/>
                  <a:pt x="80" y="128"/>
                  <a:pt x="76" y="127"/>
                </a:cubicBezTo>
                <a:cubicBezTo>
                  <a:pt x="73" y="126"/>
                  <a:pt x="68" y="126"/>
                  <a:pt x="61" y="126"/>
                </a:cubicBezTo>
                <a:lnTo>
                  <a:pt x="28" y="126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28" y="100"/>
                </a:moveTo>
                <a:lnTo>
                  <a:pt x="88" y="100"/>
                </a:lnTo>
                <a:cubicBezTo>
                  <a:pt x="101" y="100"/>
                  <a:pt x="111" y="99"/>
                  <a:pt x="118" y="96"/>
                </a:cubicBezTo>
                <a:cubicBezTo>
                  <a:pt x="125" y="93"/>
                  <a:pt x="131" y="88"/>
                  <a:pt x="135" y="82"/>
                </a:cubicBezTo>
                <a:cubicBezTo>
                  <a:pt x="138" y="76"/>
                  <a:pt x="140" y="69"/>
                  <a:pt x="140" y="62"/>
                </a:cubicBezTo>
                <a:cubicBezTo>
                  <a:pt x="140" y="51"/>
                  <a:pt x="137" y="42"/>
                  <a:pt x="129" y="35"/>
                </a:cubicBezTo>
                <a:cubicBezTo>
                  <a:pt x="122" y="28"/>
                  <a:pt x="111" y="25"/>
                  <a:pt x="95" y="25"/>
                </a:cubicBezTo>
                <a:lnTo>
                  <a:pt x="28" y="25"/>
                </a:lnTo>
                <a:lnTo>
                  <a:pt x="28" y="100"/>
                </a:lnTo>
                <a:close/>
                <a:moveTo>
                  <a:pt x="196" y="145"/>
                </a:moveTo>
                <a:cubicBezTo>
                  <a:pt x="196" y="114"/>
                  <a:pt x="203" y="92"/>
                  <a:pt x="219" y="77"/>
                </a:cubicBezTo>
                <a:cubicBezTo>
                  <a:pt x="232" y="65"/>
                  <a:pt x="249" y="59"/>
                  <a:pt x="268" y="59"/>
                </a:cubicBezTo>
                <a:cubicBezTo>
                  <a:pt x="289" y="59"/>
                  <a:pt x="306" y="66"/>
                  <a:pt x="319" y="81"/>
                </a:cubicBezTo>
                <a:cubicBezTo>
                  <a:pt x="333" y="96"/>
                  <a:pt x="339" y="116"/>
                  <a:pt x="339" y="142"/>
                </a:cubicBezTo>
                <a:cubicBezTo>
                  <a:pt x="339" y="163"/>
                  <a:pt x="336" y="180"/>
                  <a:pt x="330" y="192"/>
                </a:cubicBezTo>
                <a:cubicBezTo>
                  <a:pt x="325" y="204"/>
                  <a:pt x="316" y="214"/>
                  <a:pt x="305" y="220"/>
                </a:cubicBezTo>
                <a:cubicBezTo>
                  <a:pt x="293" y="227"/>
                  <a:pt x="281" y="231"/>
                  <a:pt x="268" y="231"/>
                </a:cubicBezTo>
                <a:cubicBezTo>
                  <a:pt x="246" y="231"/>
                  <a:pt x="229" y="223"/>
                  <a:pt x="215" y="208"/>
                </a:cubicBezTo>
                <a:cubicBezTo>
                  <a:pt x="202" y="194"/>
                  <a:pt x="196" y="172"/>
                  <a:pt x="196" y="145"/>
                </a:cubicBezTo>
                <a:close/>
                <a:moveTo>
                  <a:pt x="222" y="145"/>
                </a:moveTo>
                <a:cubicBezTo>
                  <a:pt x="222" y="166"/>
                  <a:pt x="227" y="182"/>
                  <a:pt x="235" y="192"/>
                </a:cubicBezTo>
                <a:cubicBezTo>
                  <a:pt x="244" y="202"/>
                  <a:pt x="255" y="208"/>
                  <a:pt x="268" y="208"/>
                </a:cubicBezTo>
                <a:cubicBezTo>
                  <a:pt x="280" y="208"/>
                  <a:pt x="291" y="202"/>
                  <a:pt x="300" y="192"/>
                </a:cubicBezTo>
                <a:cubicBezTo>
                  <a:pt x="308" y="181"/>
                  <a:pt x="313" y="165"/>
                  <a:pt x="313" y="144"/>
                </a:cubicBezTo>
                <a:cubicBezTo>
                  <a:pt x="313" y="123"/>
                  <a:pt x="308" y="108"/>
                  <a:pt x="300" y="98"/>
                </a:cubicBezTo>
                <a:cubicBezTo>
                  <a:pt x="291" y="87"/>
                  <a:pt x="280" y="82"/>
                  <a:pt x="268" y="82"/>
                </a:cubicBezTo>
                <a:cubicBezTo>
                  <a:pt x="255" y="82"/>
                  <a:pt x="244" y="87"/>
                  <a:pt x="235" y="98"/>
                </a:cubicBezTo>
                <a:cubicBezTo>
                  <a:pt x="227" y="108"/>
                  <a:pt x="222" y="124"/>
                  <a:pt x="222" y="145"/>
                </a:cubicBezTo>
                <a:close/>
                <a:moveTo>
                  <a:pt x="426" y="202"/>
                </a:moveTo>
                <a:lnTo>
                  <a:pt x="430" y="227"/>
                </a:lnTo>
                <a:cubicBezTo>
                  <a:pt x="423" y="228"/>
                  <a:pt x="416" y="229"/>
                  <a:pt x="410" y="229"/>
                </a:cubicBezTo>
                <a:cubicBezTo>
                  <a:pt x="401" y="229"/>
                  <a:pt x="394" y="228"/>
                  <a:pt x="388" y="224"/>
                </a:cubicBezTo>
                <a:cubicBezTo>
                  <a:pt x="383" y="221"/>
                  <a:pt x="380" y="217"/>
                  <a:pt x="377" y="212"/>
                </a:cubicBezTo>
                <a:cubicBezTo>
                  <a:pt x="375" y="207"/>
                  <a:pt x="374" y="196"/>
                  <a:pt x="374" y="179"/>
                </a:cubicBezTo>
                <a:lnTo>
                  <a:pt x="374" y="84"/>
                </a:lnTo>
                <a:lnTo>
                  <a:pt x="355" y="84"/>
                </a:lnTo>
                <a:lnTo>
                  <a:pt x="355" y="62"/>
                </a:lnTo>
                <a:lnTo>
                  <a:pt x="374" y="62"/>
                </a:lnTo>
                <a:lnTo>
                  <a:pt x="374" y="22"/>
                </a:lnTo>
                <a:lnTo>
                  <a:pt x="400" y="5"/>
                </a:lnTo>
                <a:lnTo>
                  <a:pt x="400" y="62"/>
                </a:lnTo>
                <a:lnTo>
                  <a:pt x="426" y="62"/>
                </a:lnTo>
                <a:lnTo>
                  <a:pt x="426" y="84"/>
                </a:lnTo>
                <a:lnTo>
                  <a:pt x="400" y="84"/>
                </a:lnTo>
                <a:lnTo>
                  <a:pt x="400" y="180"/>
                </a:lnTo>
                <a:cubicBezTo>
                  <a:pt x="400" y="188"/>
                  <a:pt x="401" y="193"/>
                  <a:pt x="402" y="196"/>
                </a:cubicBezTo>
                <a:cubicBezTo>
                  <a:pt x="403" y="198"/>
                  <a:pt x="404" y="200"/>
                  <a:pt x="406" y="201"/>
                </a:cubicBezTo>
                <a:cubicBezTo>
                  <a:pt x="408" y="203"/>
                  <a:pt x="411" y="203"/>
                  <a:pt x="415" y="203"/>
                </a:cubicBezTo>
                <a:cubicBezTo>
                  <a:pt x="418" y="203"/>
                  <a:pt x="422" y="203"/>
                  <a:pt x="426" y="202"/>
                </a:cubicBezTo>
                <a:close/>
                <a:moveTo>
                  <a:pt x="554" y="206"/>
                </a:moveTo>
                <a:cubicBezTo>
                  <a:pt x="544" y="215"/>
                  <a:pt x="535" y="221"/>
                  <a:pt x="526" y="225"/>
                </a:cubicBezTo>
                <a:cubicBezTo>
                  <a:pt x="517" y="229"/>
                  <a:pt x="507" y="231"/>
                  <a:pt x="497" y="231"/>
                </a:cubicBezTo>
                <a:cubicBezTo>
                  <a:pt x="480" y="231"/>
                  <a:pt x="467" y="226"/>
                  <a:pt x="458" y="217"/>
                </a:cubicBezTo>
                <a:cubicBezTo>
                  <a:pt x="449" y="209"/>
                  <a:pt x="445" y="197"/>
                  <a:pt x="445" y="184"/>
                </a:cubicBezTo>
                <a:cubicBezTo>
                  <a:pt x="445" y="176"/>
                  <a:pt x="446" y="168"/>
                  <a:pt x="450" y="161"/>
                </a:cubicBezTo>
                <a:cubicBezTo>
                  <a:pt x="453" y="155"/>
                  <a:pt x="458" y="150"/>
                  <a:pt x="463" y="146"/>
                </a:cubicBezTo>
                <a:cubicBezTo>
                  <a:pt x="469" y="141"/>
                  <a:pt x="475" y="138"/>
                  <a:pt x="482" y="136"/>
                </a:cubicBezTo>
                <a:cubicBezTo>
                  <a:pt x="487" y="135"/>
                  <a:pt x="495" y="134"/>
                  <a:pt x="505" y="132"/>
                </a:cubicBezTo>
                <a:cubicBezTo>
                  <a:pt x="526" y="130"/>
                  <a:pt x="542" y="126"/>
                  <a:pt x="552" y="123"/>
                </a:cubicBezTo>
                <a:cubicBezTo>
                  <a:pt x="552" y="119"/>
                  <a:pt x="552" y="116"/>
                  <a:pt x="552" y="115"/>
                </a:cubicBezTo>
                <a:cubicBezTo>
                  <a:pt x="552" y="104"/>
                  <a:pt x="549" y="96"/>
                  <a:pt x="544" y="91"/>
                </a:cubicBezTo>
                <a:cubicBezTo>
                  <a:pt x="538" y="85"/>
                  <a:pt x="528" y="82"/>
                  <a:pt x="515" y="82"/>
                </a:cubicBezTo>
                <a:cubicBezTo>
                  <a:pt x="502" y="82"/>
                  <a:pt x="493" y="84"/>
                  <a:pt x="487" y="89"/>
                </a:cubicBezTo>
                <a:cubicBezTo>
                  <a:pt x="482" y="93"/>
                  <a:pt x="477" y="102"/>
                  <a:pt x="475" y="113"/>
                </a:cubicBezTo>
                <a:lnTo>
                  <a:pt x="449" y="110"/>
                </a:lnTo>
                <a:cubicBezTo>
                  <a:pt x="451" y="98"/>
                  <a:pt x="455" y="88"/>
                  <a:pt x="461" y="81"/>
                </a:cubicBezTo>
                <a:cubicBezTo>
                  <a:pt x="466" y="74"/>
                  <a:pt x="474" y="69"/>
                  <a:pt x="484" y="65"/>
                </a:cubicBezTo>
                <a:cubicBezTo>
                  <a:pt x="494" y="61"/>
                  <a:pt x="505" y="59"/>
                  <a:pt x="518" y="59"/>
                </a:cubicBezTo>
                <a:cubicBezTo>
                  <a:pt x="532" y="59"/>
                  <a:pt x="542" y="60"/>
                  <a:pt x="551" y="64"/>
                </a:cubicBezTo>
                <a:cubicBezTo>
                  <a:pt x="559" y="67"/>
                  <a:pt x="565" y="71"/>
                  <a:pt x="569" y="76"/>
                </a:cubicBezTo>
                <a:cubicBezTo>
                  <a:pt x="572" y="81"/>
                  <a:pt x="575" y="88"/>
                  <a:pt x="577" y="95"/>
                </a:cubicBezTo>
                <a:cubicBezTo>
                  <a:pt x="578" y="100"/>
                  <a:pt x="578" y="109"/>
                  <a:pt x="578" y="121"/>
                </a:cubicBezTo>
                <a:lnTo>
                  <a:pt x="578" y="158"/>
                </a:lnTo>
                <a:cubicBezTo>
                  <a:pt x="578" y="184"/>
                  <a:pt x="579" y="200"/>
                  <a:pt x="580" y="207"/>
                </a:cubicBezTo>
                <a:cubicBezTo>
                  <a:pt x="581" y="214"/>
                  <a:pt x="583" y="221"/>
                  <a:pt x="586" y="227"/>
                </a:cubicBezTo>
                <a:lnTo>
                  <a:pt x="559" y="227"/>
                </a:lnTo>
                <a:cubicBezTo>
                  <a:pt x="556" y="221"/>
                  <a:pt x="555" y="214"/>
                  <a:pt x="554" y="206"/>
                </a:cubicBezTo>
                <a:close/>
                <a:moveTo>
                  <a:pt x="552" y="144"/>
                </a:moveTo>
                <a:cubicBezTo>
                  <a:pt x="542" y="149"/>
                  <a:pt x="528" y="152"/>
                  <a:pt x="509" y="155"/>
                </a:cubicBezTo>
                <a:cubicBezTo>
                  <a:pt x="498" y="157"/>
                  <a:pt x="491" y="158"/>
                  <a:pt x="486" y="161"/>
                </a:cubicBezTo>
                <a:cubicBezTo>
                  <a:pt x="482" y="163"/>
                  <a:pt x="478" y="166"/>
                  <a:pt x="476" y="170"/>
                </a:cubicBezTo>
                <a:cubicBezTo>
                  <a:pt x="474" y="173"/>
                  <a:pt x="472" y="178"/>
                  <a:pt x="472" y="183"/>
                </a:cubicBezTo>
                <a:cubicBezTo>
                  <a:pt x="472" y="190"/>
                  <a:pt x="475" y="196"/>
                  <a:pt x="480" y="201"/>
                </a:cubicBezTo>
                <a:cubicBezTo>
                  <a:pt x="486" y="206"/>
                  <a:pt x="493" y="209"/>
                  <a:pt x="503" y="209"/>
                </a:cubicBezTo>
                <a:cubicBezTo>
                  <a:pt x="513" y="209"/>
                  <a:pt x="522" y="206"/>
                  <a:pt x="530" y="202"/>
                </a:cubicBezTo>
                <a:cubicBezTo>
                  <a:pt x="538" y="197"/>
                  <a:pt x="544" y="191"/>
                  <a:pt x="547" y="182"/>
                </a:cubicBezTo>
                <a:cubicBezTo>
                  <a:pt x="550" y="176"/>
                  <a:pt x="552" y="167"/>
                  <a:pt x="552" y="155"/>
                </a:cubicBezTo>
                <a:lnTo>
                  <a:pt x="552" y="144"/>
                </a:lnTo>
                <a:close/>
                <a:moveTo>
                  <a:pt x="675" y="202"/>
                </a:moveTo>
                <a:lnTo>
                  <a:pt x="678" y="227"/>
                </a:lnTo>
                <a:cubicBezTo>
                  <a:pt x="671" y="228"/>
                  <a:pt x="664" y="229"/>
                  <a:pt x="658" y="229"/>
                </a:cubicBezTo>
                <a:cubicBezTo>
                  <a:pt x="649" y="229"/>
                  <a:pt x="642" y="228"/>
                  <a:pt x="637" y="224"/>
                </a:cubicBezTo>
                <a:cubicBezTo>
                  <a:pt x="631" y="221"/>
                  <a:pt x="628" y="217"/>
                  <a:pt x="626" y="212"/>
                </a:cubicBezTo>
                <a:cubicBezTo>
                  <a:pt x="623" y="207"/>
                  <a:pt x="622" y="196"/>
                  <a:pt x="622" y="179"/>
                </a:cubicBezTo>
                <a:lnTo>
                  <a:pt x="622" y="84"/>
                </a:lnTo>
                <a:lnTo>
                  <a:pt x="603" y="84"/>
                </a:lnTo>
                <a:lnTo>
                  <a:pt x="603" y="62"/>
                </a:lnTo>
                <a:lnTo>
                  <a:pt x="622" y="62"/>
                </a:lnTo>
                <a:lnTo>
                  <a:pt x="622" y="22"/>
                </a:lnTo>
                <a:lnTo>
                  <a:pt x="648" y="5"/>
                </a:lnTo>
                <a:lnTo>
                  <a:pt x="648" y="62"/>
                </a:lnTo>
                <a:lnTo>
                  <a:pt x="675" y="62"/>
                </a:lnTo>
                <a:lnTo>
                  <a:pt x="675" y="84"/>
                </a:lnTo>
                <a:lnTo>
                  <a:pt x="648" y="84"/>
                </a:lnTo>
                <a:lnTo>
                  <a:pt x="648" y="180"/>
                </a:lnTo>
                <a:cubicBezTo>
                  <a:pt x="648" y="188"/>
                  <a:pt x="649" y="193"/>
                  <a:pt x="650" y="196"/>
                </a:cubicBezTo>
                <a:cubicBezTo>
                  <a:pt x="651" y="198"/>
                  <a:pt x="652" y="200"/>
                  <a:pt x="654" y="201"/>
                </a:cubicBezTo>
                <a:cubicBezTo>
                  <a:pt x="656" y="203"/>
                  <a:pt x="659" y="203"/>
                  <a:pt x="663" y="203"/>
                </a:cubicBezTo>
                <a:cubicBezTo>
                  <a:pt x="666" y="203"/>
                  <a:pt x="670" y="203"/>
                  <a:pt x="675" y="202"/>
                </a:cubicBezTo>
                <a:close/>
                <a:moveTo>
                  <a:pt x="805" y="174"/>
                </a:moveTo>
                <a:lnTo>
                  <a:pt x="832" y="178"/>
                </a:lnTo>
                <a:cubicBezTo>
                  <a:pt x="828" y="194"/>
                  <a:pt x="820" y="207"/>
                  <a:pt x="808" y="217"/>
                </a:cubicBezTo>
                <a:cubicBezTo>
                  <a:pt x="797" y="226"/>
                  <a:pt x="782" y="231"/>
                  <a:pt x="765" y="231"/>
                </a:cubicBezTo>
                <a:cubicBezTo>
                  <a:pt x="742" y="231"/>
                  <a:pt x="724" y="223"/>
                  <a:pt x="711" y="208"/>
                </a:cubicBezTo>
                <a:cubicBezTo>
                  <a:pt x="698" y="194"/>
                  <a:pt x="692" y="173"/>
                  <a:pt x="692" y="146"/>
                </a:cubicBezTo>
                <a:cubicBezTo>
                  <a:pt x="692" y="118"/>
                  <a:pt x="698" y="97"/>
                  <a:pt x="711" y="82"/>
                </a:cubicBezTo>
                <a:cubicBezTo>
                  <a:pt x="725" y="66"/>
                  <a:pt x="742" y="59"/>
                  <a:pt x="763" y="59"/>
                </a:cubicBezTo>
                <a:cubicBezTo>
                  <a:pt x="784" y="59"/>
                  <a:pt x="800" y="66"/>
                  <a:pt x="813" y="81"/>
                </a:cubicBezTo>
                <a:cubicBezTo>
                  <a:pt x="826" y="96"/>
                  <a:pt x="833" y="117"/>
                  <a:pt x="833" y="144"/>
                </a:cubicBezTo>
                <a:cubicBezTo>
                  <a:pt x="833" y="146"/>
                  <a:pt x="833" y="149"/>
                  <a:pt x="833" y="152"/>
                </a:cubicBezTo>
                <a:lnTo>
                  <a:pt x="718" y="152"/>
                </a:lnTo>
                <a:cubicBezTo>
                  <a:pt x="719" y="170"/>
                  <a:pt x="724" y="184"/>
                  <a:pt x="733" y="193"/>
                </a:cubicBezTo>
                <a:cubicBezTo>
                  <a:pt x="741" y="203"/>
                  <a:pt x="752" y="208"/>
                  <a:pt x="765" y="208"/>
                </a:cubicBezTo>
                <a:cubicBezTo>
                  <a:pt x="774" y="208"/>
                  <a:pt x="782" y="205"/>
                  <a:pt x="789" y="200"/>
                </a:cubicBezTo>
                <a:cubicBezTo>
                  <a:pt x="796" y="194"/>
                  <a:pt x="801" y="186"/>
                  <a:pt x="805" y="174"/>
                </a:cubicBezTo>
                <a:close/>
                <a:moveTo>
                  <a:pt x="720" y="129"/>
                </a:moveTo>
                <a:lnTo>
                  <a:pt x="805" y="129"/>
                </a:lnTo>
                <a:cubicBezTo>
                  <a:pt x="804" y="115"/>
                  <a:pt x="801" y="105"/>
                  <a:pt x="795" y="98"/>
                </a:cubicBezTo>
                <a:cubicBezTo>
                  <a:pt x="787" y="87"/>
                  <a:pt x="776" y="82"/>
                  <a:pt x="763" y="82"/>
                </a:cubicBezTo>
                <a:cubicBezTo>
                  <a:pt x="751" y="82"/>
                  <a:pt x="741" y="86"/>
                  <a:pt x="733" y="94"/>
                </a:cubicBezTo>
                <a:cubicBezTo>
                  <a:pt x="725" y="103"/>
                  <a:pt x="721" y="115"/>
                  <a:pt x="720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5" name="Freeform 65">
            <a:extLst>
              <a:ext uri="{FF2B5EF4-FFF2-40B4-BE49-F238E27FC236}">
                <a16:creationId xmlns:a16="http://schemas.microsoft.com/office/drawing/2014/main" id="{5B87DF75-30EE-4CFE-B031-CA2D33467EC8}"/>
              </a:ext>
            </a:extLst>
          </p:cNvPr>
          <p:cNvSpPr>
            <a:spLocks noEditPoints="1"/>
          </p:cNvSpPr>
          <p:nvPr/>
        </p:nvSpPr>
        <p:spPr bwMode="auto">
          <a:xfrm>
            <a:off x="4229101" y="6083301"/>
            <a:ext cx="574675" cy="198438"/>
          </a:xfrm>
          <a:custGeom>
            <a:avLst/>
            <a:gdLst>
              <a:gd name="T0" fmla="*/ 365 w 1596"/>
              <a:gd name="T1" fmla="*/ 97 h 548"/>
              <a:gd name="T2" fmla="*/ 0 w 1596"/>
              <a:gd name="T3" fmla="*/ 545 h 548"/>
              <a:gd name="T4" fmla="*/ 142 w 1596"/>
              <a:gd name="T5" fmla="*/ 403 h 548"/>
              <a:gd name="T6" fmla="*/ 115 w 1596"/>
              <a:gd name="T7" fmla="*/ 541 h 548"/>
              <a:gd name="T8" fmla="*/ 116 w 1596"/>
              <a:gd name="T9" fmla="*/ 399 h 548"/>
              <a:gd name="T10" fmla="*/ 28 w 1596"/>
              <a:gd name="T11" fmla="*/ 413 h 548"/>
              <a:gd name="T12" fmla="*/ 131 w 1596"/>
              <a:gd name="T13" fmla="*/ 479 h 548"/>
              <a:gd name="T14" fmla="*/ 295 w 1596"/>
              <a:gd name="T15" fmla="*/ 524 h 548"/>
              <a:gd name="T16" fmla="*/ 205 w 1596"/>
              <a:gd name="T17" fmla="*/ 463 h 548"/>
              <a:gd name="T18" fmla="*/ 256 w 1596"/>
              <a:gd name="T19" fmla="*/ 400 h 548"/>
              <a:gd name="T20" fmla="*/ 260 w 1596"/>
              <a:gd name="T21" fmla="*/ 377 h 548"/>
              <a:gd name="T22" fmla="*/ 321 w 1596"/>
              <a:gd name="T23" fmla="*/ 525 h 548"/>
              <a:gd name="T24" fmla="*/ 228 w 1596"/>
              <a:gd name="T25" fmla="*/ 478 h 548"/>
              <a:gd name="T26" fmla="*/ 289 w 1596"/>
              <a:gd name="T27" fmla="*/ 500 h 548"/>
              <a:gd name="T28" fmla="*/ 383 w 1596"/>
              <a:gd name="T29" fmla="*/ 403 h 548"/>
              <a:gd name="T30" fmla="*/ 484 w 1596"/>
              <a:gd name="T31" fmla="*/ 545 h 548"/>
              <a:gd name="T32" fmla="*/ 397 w 1596"/>
              <a:gd name="T33" fmla="*/ 412 h 548"/>
              <a:gd name="T34" fmla="*/ 550 w 1596"/>
              <a:gd name="T35" fmla="*/ 317 h 548"/>
              <a:gd name="T36" fmla="*/ 619 w 1596"/>
              <a:gd name="T37" fmla="*/ 545 h 548"/>
              <a:gd name="T38" fmla="*/ 759 w 1596"/>
              <a:gd name="T39" fmla="*/ 317 h 548"/>
              <a:gd name="T40" fmla="*/ 886 w 1596"/>
              <a:gd name="T41" fmla="*/ 442 h 548"/>
              <a:gd name="T42" fmla="*/ 980 w 1596"/>
              <a:gd name="T43" fmla="*/ 548 h 548"/>
              <a:gd name="T44" fmla="*/ 954 w 1596"/>
              <a:gd name="T45" fmla="*/ 380 h 548"/>
              <a:gd name="T46" fmla="*/ 1022 w 1596"/>
              <a:gd name="T47" fmla="*/ 500 h 548"/>
              <a:gd name="T48" fmla="*/ 1083 w 1596"/>
              <a:gd name="T49" fmla="*/ 496 h 548"/>
              <a:gd name="T50" fmla="*/ 1176 w 1596"/>
              <a:gd name="T51" fmla="*/ 484 h 548"/>
              <a:gd name="T52" fmla="*/ 1105 w 1596"/>
              <a:gd name="T53" fmla="*/ 388 h 548"/>
              <a:gd name="T54" fmla="*/ 1179 w 1596"/>
              <a:gd name="T55" fmla="*/ 427 h 548"/>
              <a:gd name="T56" fmla="*/ 1126 w 1596"/>
              <a:gd name="T57" fmla="*/ 438 h 548"/>
              <a:gd name="T58" fmla="*/ 1181 w 1596"/>
              <a:gd name="T59" fmla="*/ 542 h 548"/>
              <a:gd name="T60" fmla="*/ 1267 w 1596"/>
              <a:gd name="T61" fmla="*/ 317 h 548"/>
              <a:gd name="T62" fmla="*/ 1267 w 1596"/>
              <a:gd name="T63" fmla="*/ 545 h 548"/>
              <a:gd name="T64" fmla="*/ 1441 w 1596"/>
              <a:gd name="T65" fmla="*/ 460 h 548"/>
              <a:gd name="T66" fmla="*/ 1324 w 1596"/>
              <a:gd name="T67" fmla="*/ 462 h 548"/>
              <a:gd name="T68" fmla="*/ 1369 w 1596"/>
              <a:gd name="T69" fmla="*/ 400 h 548"/>
              <a:gd name="T70" fmla="*/ 1495 w 1596"/>
              <a:gd name="T71" fmla="*/ 403 h 548"/>
              <a:gd name="T72" fmla="*/ 1596 w 1596"/>
              <a:gd name="T73" fmla="*/ 545 h 548"/>
              <a:gd name="T74" fmla="*/ 1509 w 1596"/>
              <a:gd name="T75" fmla="*/ 412 h 548"/>
              <a:gd name="T76" fmla="*/ 536 w 1596"/>
              <a:gd name="T77" fmla="*/ 0 h 548"/>
              <a:gd name="T78" fmla="*/ 536 w 1596"/>
              <a:gd name="T79" fmla="*/ 227 h 548"/>
              <a:gd name="T80" fmla="*/ 647 w 1596"/>
              <a:gd name="T81" fmla="*/ 59 h 548"/>
              <a:gd name="T82" fmla="*/ 674 w 1596"/>
              <a:gd name="T83" fmla="*/ 227 h 548"/>
              <a:gd name="T84" fmla="*/ 601 w 1596"/>
              <a:gd name="T85" fmla="*/ 137 h 548"/>
              <a:gd name="T86" fmla="*/ 758 w 1596"/>
              <a:gd name="T87" fmla="*/ 225 h 548"/>
              <a:gd name="T88" fmla="*/ 744 w 1596"/>
              <a:gd name="T89" fmla="*/ 63 h 548"/>
              <a:gd name="T90" fmla="*/ 770 w 1596"/>
              <a:gd name="T91" fmla="*/ 84 h 548"/>
              <a:gd name="T92" fmla="*/ 927 w 1596"/>
              <a:gd name="T93" fmla="*/ 174 h 548"/>
              <a:gd name="T94" fmla="*/ 833 w 1596"/>
              <a:gd name="T95" fmla="*/ 82 h 548"/>
              <a:gd name="T96" fmla="*/ 854 w 1596"/>
              <a:gd name="T97" fmla="*/ 194 h 548"/>
              <a:gd name="T98" fmla="*/ 917 w 1596"/>
              <a:gd name="T99" fmla="*/ 98 h 548"/>
              <a:gd name="T100" fmla="*/ 1091 w 1596"/>
              <a:gd name="T101" fmla="*/ 215 h 548"/>
              <a:gd name="T102" fmla="*/ 1049 w 1596"/>
              <a:gd name="T103" fmla="*/ 59 h 548"/>
              <a:gd name="T104" fmla="*/ 1018 w 1596"/>
              <a:gd name="T105" fmla="*/ 97 h 548"/>
              <a:gd name="T106" fmla="*/ 1134 w 1596"/>
              <a:gd name="T107" fmla="*/ 227 h 548"/>
              <a:gd name="T108" fmla="*/ 1254 w 1596"/>
              <a:gd name="T109" fmla="*/ 86 h 548"/>
              <a:gd name="T110" fmla="*/ 1201 w 1596"/>
              <a:gd name="T111" fmla="*/ 83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596" h="548">
                <a:moveTo>
                  <a:pt x="337" y="227"/>
                </a:moveTo>
                <a:lnTo>
                  <a:pt x="337" y="0"/>
                </a:lnTo>
                <a:lnTo>
                  <a:pt x="479" y="0"/>
                </a:lnTo>
                <a:lnTo>
                  <a:pt x="479" y="27"/>
                </a:lnTo>
                <a:lnTo>
                  <a:pt x="365" y="27"/>
                </a:lnTo>
                <a:lnTo>
                  <a:pt x="365" y="97"/>
                </a:lnTo>
                <a:lnTo>
                  <a:pt x="464" y="97"/>
                </a:lnTo>
                <a:lnTo>
                  <a:pt x="464" y="124"/>
                </a:lnTo>
                <a:lnTo>
                  <a:pt x="365" y="124"/>
                </a:lnTo>
                <a:lnTo>
                  <a:pt x="365" y="227"/>
                </a:lnTo>
                <a:lnTo>
                  <a:pt x="337" y="227"/>
                </a:lnTo>
                <a:close/>
                <a:moveTo>
                  <a:pt x="0" y="545"/>
                </a:moveTo>
                <a:lnTo>
                  <a:pt x="0" y="317"/>
                </a:lnTo>
                <a:lnTo>
                  <a:pt x="79" y="317"/>
                </a:lnTo>
                <a:cubicBezTo>
                  <a:pt x="95" y="317"/>
                  <a:pt x="108" y="320"/>
                  <a:pt x="118" y="324"/>
                </a:cubicBezTo>
                <a:cubicBezTo>
                  <a:pt x="128" y="329"/>
                  <a:pt x="135" y="336"/>
                  <a:pt x="141" y="346"/>
                </a:cubicBezTo>
                <a:cubicBezTo>
                  <a:pt x="147" y="355"/>
                  <a:pt x="149" y="365"/>
                  <a:pt x="149" y="376"/>
                </a:cubicBezTo>
                <a:cubicBezTo>
                  <a:pt x="149" y="385"/>
                  <a:pt x="147" y="394"/>
                  <a:pt x="142" y="403"/>
                </a:cubicBezTo>
                <a:cubicBezTo>
                  <a:pt x="137" y="412"/>
                  <a:pt x="130" y="419"/>
                  <a:pt x="120" y="424"/>
                </a:cubicBezTo>
                <a:cubicBezTo>
                  <a:pt x="133" y="428"/>
                  <a:pt x="142" y="435"/>
                  <a:pt x="149" y="444"/>
                </a:cubicBezTo>
                <a:cubicBezTo>
                  <a:pt x="156" y="454"/>
                  <a:pt x="160" y="466"/>
                  <a:pt x="160" y="479"/>
                </a:cubicBezTo>
                <a:cubicBezTo>
                  <a:pt x="160" y="490"/>
                  <a:pt x="158" y="499"/>
                  <a:pt x="153" y="509"/>
                </a:cubicBezTo>
                <a:cubicBezTo>
                  <a:pt x="149" y="518"/>
                  <a:pt x="144" y="525"/>
                  <a:pt x="138" y="530"/>
                </a:cubicBezTo>
                <a:cubicBezTo>
                  <a:pt x="132" y="535"/>
                  <a:pt x="124" y="538"/>
                  <a:pt x="115" y="541"/>
                </a:cubicBezTo>
                <a:cubicBezTo>
                  <a:pt x="105" y="544"/>
                  <a:pt x="94" y="545"/>
                  <a:pt x="80" y="545"/>
                </a:cubicBezTo>
                <a:lnTo>
                  <a:pt x="0" y="545"/>
                </a:lnTo>
                <a:close/>
                <a:moveTo>
                  <a:pt x="28" y="413"/>
                </a:moveTo>
                <a:lnTo>
                  <a:pt x="74" y="413"/>
                </a:lnTo>
                <a:cubicBezTo>
                  <a:pt x="86" y="413"/>
                  <a:pt x="95" y="412"/>
                  <a:pt x="100" y="410"/>
                </a:cubicBezTo>
                <a:cubicBezTo>
                  <a:pt x="107" y="408"/>
                  <a:pt x="113" y="404"/>
                  <a:pt x="116" y="399"/>
                </a:cubicBezTo>
                <a:cubicBezTo>
                  <a:pt x="120" y="394"/>
                  <a:pt x="122" y="387"/>
                  <a:pt x="122" y="379"/>
                </a:cubicBezTo>
                <a:cubicBezTo>
                  <a:pt x="122" y="372"/>
                  <a:pt x="120" y="365"/>
                  <a:pt x="117" y="359"/>
                </a:cubicBezTo>
                <a:cubicBezTo>
                  <a:pt x="113" y="353"/>
                  <a:pt x="109" y="349"/>
                  <a:pt x="102" y="347"/>
                </a:cubicBezTo>
                <a:cubicBezTo>
                  <a:pt x="96" y="345"/>
                  <a:pt x="85" y="344"/>
                  <a:pt x="70" y="344"/>
                </a:cubicBezTo>
                <a:lnTo>
                  <a:pt x="28" y="344"/>
                </a:lnTo>
                <a:lnTo>
                  <a:pt x="28" y="413"/>
                </a:lnTo>
                <a:close/>
                <a:moveTo>
                  <a:pt x="28" y="518"/>
                </a:moveTo>
                <a:lnTo>
                  <a:pt x="80" y="518"/>
                </a:lnTo>
                <a:cubicBezTo>
                  <a:pt x="90" y="518"/>
                  <a:pt x="96" y="518"/>
                  <a:pt x="100" y="517"/>
                </a:cubicBezTo>
                <a:cubicBezTo>
                  <a:pt x="106" y="516"/>
                  <a:pt x="111" y="514"/>
                  <a:pt x="116" y="511"/>
                </a:cubicBezTo>
                <a:cubicBezTo>
                  <a:pt x="120" y="508"/>
                  <a:pt x="124" y="504"/>
                  <a:pt x="126" y="498"/>
                </a:cubicBezTo>
                <a:cubicBezTo>
                  <a:pt x="129" y="493"/>
                  <a:pt x="131" y="486"/>
                  <a:pt x="131" y="479"/>
                </a:cubicBezTo>
                <a:cubicBezTo>
                  <a:pt x="131" y="470"/>
                  <a:pt x="129" y="463"/>
                  <a:pt x="125" y="457"/>
                </a:cubicBezTo>
                <a:cubicBezTo>
                  <a:pt x="121" y="450"/>
                  <a:pt x="115" y="446"/>
                  <a:pt x="108" y="444"/>
                </a:cubicBezTo>
                <a:cubicBezTo>
                  <a:pt x="101" y="441"/>
                  <a:pt x="90" y="440"/>
                  <a:pt x="77" y="440"/>
                </a:cubicBezTo>
                <a:lnTo>
                  <a:pt x="28" y="440"/>
                </a:lnTo>
                <a:lnTo>
                  <a:pt x="28" y="518"/>
                </a:lnTo>
                <a:close/>
                <a:moveTo>
                  <a:pt x="295" y="524"/>
                </a:moveTo>
                <a:cubicBezTo>
                  <a:pt x="285" y="533"/>
                  <a:pt x="276" y="539"/>
                  <a:pt x="267" y="543"/>
                </a:cubicBezTo>
                <a:cubicBezTo>
                  <a:pt x="258" y="546"/>
                  <a:pt x="249" y="548"/>
                  <a:pt x="239" y="548"/>
                </a:cubicBezTo>
                <a:cubicBezTo>
                  <a:pt x="222" y="548"/>
                  <a:pt x="209" y="544"/>
                  <a:pt x="200" y="535"/>
                </a:cubicBezTo>
                <a:cubicBezTo>
                  <a:pt x="191" y="526"/>
                  <a:pt x="186" y="515"/>
                  <a:pt x="186" y="501"/>
                </a:cubicBezTo>
                <a:cubicBezTo>
                  <a:pt x="186" y="493"/>
                  <a:pt x="188" y="486"/>
                  <a:pt x="191" y="479"/>
                </a:cubicBezTo>
                <a:cubicBezTo>
                  <a:pt x="195" y="473"/>
                  <a:pt x="199" y="467"/>
                  <a:pt x="205" y="463"/>
                </a:cubicBezTo>
                <a:cubicBezTo>
                  <a:pt x="210" y="459"/>
                  <a:pt x="216" y="456"/>
                  <a:pt x="223" y="454"/>
                </a:cubicBezTo>
                <a:cubicBezTo>
                  <a:pt x="228" y="453"/>
                  <a:pt x="236" y="451"/>
                  <a:pt x="246" y="450"/>
                </a:cubicBezTo>
                <a:cubicBezTo>
                  <a:pt x="267" y="447"/>
                  <a:pt x="283" y="444"/>
                  <a:pt x="293" y="440"/>
                </a:cubicBezTo>
                <a:cubicBezTo>
                  <a:pt x="293" y="437"/>
                  <a:pt x="293" y="434"/>
                  <a:pt x="293" y="433"/>
                </a:cubicBezTo>
                <a:cubicBezTo>
                  <a:pt x="293" y="422"/>
                  <a:pt x="291" y="414"/>
                  <a:pt x="286" y="409"/>
                </a:cubicBezTo>
                <a:cubicBezTo>
                  <a:pt x="279" y="403"/>
                  <a:pt x="269" y="400"/>
                  <a:pt x="256" y="400"/>
                </a:cubicBezTo>
                <a:cubicBezTo>
                  <a:pt x="244" y="400"/>
                  <a:pt x="235" y="402"/>
                  <a:pt x="229" y="407"/>
                </a:cubicBezTo>
                <a:cubicBezTo>
                  <a:pt x="223" y="411"/>
                  <a:pt x="219" y="419"/>
                  <a:pt x="216" y="431"/>
                </a:cubicBezTo>
                <a:lnTo>
                  <a:pt x="190" y="427"/>
                </a:lnTo>
                <a:cubicBezTo>
                  <a:pt x="193" y="416"/>
                  <a:pt x="197" y="406"/>
                  <a:pt x="202" y="399"/>
                </a:cubicBezTo>
                <a:cubicBezTo>
                  <a:pt x="207" y="392"/>
                  <a:pt x="215" y="386"/>
                  <a:pt x="225" y="382"/>
                </a:cubicBezTo>
                <a:cubicBezTo>
                  <a:pt x="235" y="378"/>
                  <a:pt x="247" y="377"/>
                  <a:pt x="260" y="377"/>
                </a:cubicBezTo>
                <a:cubicBezTo>
                  <a:pt x="273" y="377"/>
                  <a:pt x="284" y="378"/>
                  <a:pt x="292" y="381"/>
                </a:cubicBezTo>
                <a:cubicBezTo>
                  <a:pt x="300" y="385"/>
                  <a:pt x="306" y="389"/>
                  <a:pt x="310" y="394"/>
                </a:cubicBezTo>
                <a:cubicBezTo>
                  <a:pt x="314" y="399"/>
                  <a:pt x="317" y="405"/>
                  <a:pt x="318" y="413"/>
                </a:cubicBezTo>
                <a:cubicBezTo>
                  <a:pt x="319" y="418"/>
                  <a:pt x="319" y="426"/>
                  <a:pt x="319" y="439"/>
                </a:cubicBezTo>
                <a:lnTo>
                  <a:pt x="319" y="476"/>
                </a:lnTo>
                <a:cubicBezTo>
                  <a:pt x="319" y="502"/>
                  <a:pt x="320" y="518"/>
                  <a:pt x="321" y="525"/>
                </a:cubicBezTo>
                <a:cubicBezTo>
                  <a:pt x="322" y="532"/>
                  <a:pt x="324" y="538"/>
                  <a:pt x="327" y="545"/>
                </a:cubicBezTo>
                <a:lnTo>
                  <a:pt x="300" y="545"/>
                </a:lnTo>
                <a:cubicBezTo>
                  <a:pt x="298" y="539"/>
                  <a:pt x="296" y="532"/>
                  <a:pt x="295" y="524"/>
                </a:cubicBezTo>
                <a:close/>
                <a:moveTo>
                  <a:pt x="293" y="462"/>
                </a:moveTo>
                <a:cubicBezTo>
                  <a:pt x="284" y="466"/>
                  <a:pt x="269" y="470"/>
                  <a:pt x="250" y="473"/>
                </a:cubicBezTo>
                <a:cubicBezTo>
                  <a:pt x="240" y="474"/>
                  <a:pt x="232" y="476"/>
                  <a:pt x="228" y="478"/>
                </a:cubicBezTo>
                <a:cubicBezTo>
                  <a:pt x="223" y="480"/>
                  <a:pt x="220" y="483"/>
                  <a:pt x="217" y="487"/>
                </a:cubicBezTo>
                <a:cubicBezTo>
                  <a:pt x="215" y="491"/>
                  <a:pt x="214" y="496"/>
                  <a:pt x="214" y="501"/>
                </a:cubicBezTo>
                <a:cubicBezTo>
                  <a:pt x="214" y="508"/>
                  <a:pt x="216" y="514"/>
                  <a:pt x="222" y="519"/>
                </a:cubicBezTo>
                <a:cubicBezTo>
                  <a:pt x="227" y="524"/>
                  <a:pt x="235" y="526"/>
                  <a:pt x="245" y="526"/>
                </a:cubicBezTo>
                <a:cubicBezTo>
                  <a:pt x="255" y="526"/>
                  <a:pt x="264" y="524"/>
                  <a:pt x="272" y="519"/>
                </a:cubicBezTo>
                <a:cubicBezTo>
                  <a:pt x="279" y="515"/>
                  <a:pt x="285" y="508"/>
                  <a:pt x="289" y="500"/>
                </a:cubicBezTo>
                <a:cubicBezTo>
                  <a:pt x="292" y="494"/>
                  <a:pt x="293" y="485"/>
                  <a:pt x="293" y="472"/>
                </a:cubicBezTo>
                <a:lnTo>
                  <a:pt x="293" y="462"/>
                </a:lnTo>
                <a:close/>
                <a:moveTo>
                  <a:pt x="359" y="545"/>
                </a:moveTo>
                <a:lnTo>
                  <a:pt x="359" y="380"/>
                </a:lnTo>
                <a:lnTo>
                  <a:pt x="383" y="380"/>
                </a:lnTo>
                <a:lnTo>
                  <a:pt x="383" y="403"/>
                </a:lnTo>
                <a:cubicBezTo>
                  <a:pt x="394" y="385"/>
                  <a:pt x="410" y="377"/>
                  <a:pt x="432" y="377"/>
                </a:cubicBezTo>
                <a:cubicBezTo>
                  <a:pt x="441" y="377"/>
                  <a:pt x="449" y="378"/>
                  <a:pt x="457" y="382"/>
                </a:cubicBezTo>
                <a:cubicBezTo>
                  <a:pt x="465" y="385"/>
                  <a:pt x="471" y="390"/>
                  <a:pt x="474" y="396"/>
                </a:cubicBezTo>
                <a:cubicBezTo>
                  <a:pt x="478" y="402"/>
                  <a:pt x="481" y="409"/>
                  <a:pt x="482" y="416"/>
                </a:cubicBezTo>
                <a:cubicBezTo>
                  <a:pt x="483" y="422"/>
                  <a:pt x="484" y="431"/>
                  <a:pt x="484" y="444"/>
                </a:cubicBezTo>
                <a:lnTo>
                  <a:pt x="484" y="545"/>
                </a:lnTo>
                <a:lnTo>
                  <a:pt x="458" y="545"/>
                </a:lnTo>
                <a:lnTo>
                  <a:pt x="458" y="445"/>
                </a:lnTo>
                <a:cubicBezTo>
                  <a:pt x="458" y="433"/>
                  <a:pt x="457" y="425"/>
                  <a:pt x="455" y="419"/>
                </a:cubicBezTo>
                <a:cubicBezTo>
                  <a:pt x="453" y="414"/>
                  <a:pt x="449" y="409"/>
                  <a:pt x="444" y="406"/>
                </a:cubicBezTo>
                <a:cubicBezTo>
                  <a:pt x="439" y="402"/>
                  <a:pt x="433" y="401"/>
                  <a:pt x="426" y="401"/>
                </a:cubicBezTo>
                <a:cubicBezTo>
                  <a:pt x="415" y="401"/>
                  <a:pt x="405" y="404"/>
                  <a:pt x="397" y="412"/>
                </a:cubicBezTo>
                <a:cubicBezTo>
                  <a:pt x="389" y="419"/>
                  <a:pt x="385" y="434"/>
                  <a:pt x="385" y="455"/>
                </a:cubicBezTo>
                <a:lnTo>
                  <a:pt x="385" y="545"/>
                </a:lnTo>
                <a:lnTo>
                  <a:pt x="359" y="545"/>
                </a:lnTo>
                <a:close/>
                <a:moveTo>
                  <a:pt x="524" y="545"/>
                </a:moveTo>
                <a:lnTo>
                  <a:pt x="524" y="317"/>
                </a:lnTo>
                <a:lnTo>
                  <a:pt x="550" y="317"/>
                </a:lnTo>
                <a:lnTo>
                  <a:pt x="550" y="447"/>
                </a:lnTo>
                <a:lnTo>
                  <a:pt x="612" y="380"/>
                </a:lnTo>
                <a:lnTo>
                  <a:pt x="645" y="380"/>
                </a:lnTo>
                <a:lnTo>
                  <a:pt x="587" y="441"/>
                </a:lnTo>
                <a:lnTo>
                  <a:pt x="651" y="545"/>
                </a:lnTo>
                <a:lnTo>
                  <a:pt x="619" y="545"/>
                </a:lnTo>
                <a:lnTo>
                  <a:pt x="568" y="461"/>
                </a:lnTo>
                <a:lnTo>
                  <a:pt x="550" y="479"/>
                </a:lnTo>
                <a:lnTo>
                  <a:pt x="550" y="545"/>
                </a:lnTo>
                <a:lnTo>
                  <a:pt x="524" y="545"/>
                </a:lnTo>
                <a:close/>
                <a:moveTo>
                  <a:pt x="759" y="545"/>
                </a:moveTo>
                <a:lnTo>
                  <a:pt x="759" y="317"/>
                </a:lnTo>
                <a:lnTo>
                  <a:pt x="902" y="317"/>
                </a:lnTo>
                <a:lnTo>
                  <a:pt x="902" y="344"/>
                </a:lnTo>
                <a:lnTo>
                  <a:pt x="787" y="344"/>
                </a:lnTo>
                <a:lnTo>
                  <a:pt x="787" y="415"/>
                </a:lnTo>
                <a:lnTo>
                  <a:pt x="886" y="415"/>
                </a:lnTo>
                <a:lnTo>
                  <a:pt x="886" y="442"/>
                </a:lnTo>
                <a:lnTo>
                  <a:pt x="787" y="442"/>
                </a:lnTo>
                <a:lnTo>
                  <a:pt x="787" y="545"/>
                </a:lnTo>
                <a:lnTo>
                  <a:pt x="759" y="545"/>
                </a:lnTo>
                <a:close/>
                <a:moveTo>
                  <a:pt x="1029" y="545"/>
                </a:moveTo>
                <a:lnTo>
                  <a:pt x="1029" y="520"/>
                </a:lnTo>
                <a:cubicBezTo>
                  <a:pt x="1017" y="539"/>
                  <a:pt x="1001" y="548"/>
                  <a:pt x="980" y="548"/>
                </a:cubicBezTo>
                <a:cubicBezTo>
                  <a:pt x="971" y="548"/>
                  <a:pt x="963" y="546"/>
                  <a:pt x="955" y="543"/>
                </a:cubicBezTo>
                <a:cubicBezTo>
                  <a:pt x="947" y="539"/>
                  <a:pt x="942" y="534"/>
                  <a:pt x="938" y="529"/>
                </a:cubicBezTo>
                <a:cubicBezTo>
                  <a:pt x="934" y="523"/>
                  <a:pt x="931" y="516"/>
                  <a:pt x="930" y="508"/>
                </a:cubicBezTo>
                <a:cubicBezTo>
                  <a:pt x="929" y="503"/>
                  <a:pt x="928" y="494"/>
                  <a:pt x="928" y="482"/>
                </a:cubicBezTo>
                <a:lnTo>
                  <a:pt x="928" y="380"/>
                </a:lnTo>
                <a:lnTo>
                  <a:pt x="954" y="380"/>
                </a:lnTo>
                <a:lnTo>
                  <a:pt x="954" y="471"/>
                </a:lnTo>
                <a:cubicBezTo>
                  <a:pt x="954" y="486"/>
                  <a:pt x="955" y="496"/>
                  <a:pt x="956" y="501"/>
                </a:cubicBezTo>
                <a:cubicBezTo>
                  <a:pt x="957" y="508"/>
                  <a:pt x="961" y="514"/>
                  <a:pt x="966" y="518"/>
                </a:cubicBezTo>
                <a:cubicBezTo>
                  <a:pt x="971" y="522"/>
                  <a:pt x="978" y="524"/>
                  <a:pt x="986" y="524"/>
                </a:cubicBezTo>
                <a:cubicBezTo>
                  <a:pt x="994" y="524"/>
                  <a:pt x="1001" y="522"/>
                  <a:pt x="1008" y="518"/>
                </a:cubicBezTo>
                <a:cubicBezTo>
                  <a:pt x="1014" y="513"/>
                  <a:pt x="1019" y="508"/>
                  <a:pt x="1022" y="500"/>
                </a:cubicBezTo>
                <a:cubicBezTo>
                  <a:pt x="1025" y="493"/>
                  <a:pt x="1026" y="482"/>
                  <a:pt x="1026" y="468"/>
                </a:cubicBezTo>
                <a:lnTo>
                  <a:pt x="1026" y="380"/>
                </a:lnTo>
                <a:lnTo>
                  <a:pt x="1052" y="380"/>
                </a:lnTo>
                <a:lnTo>
                  <a:pt x="1052" y="545"/>
                </a:lnTo>
                <a:lnTo>
                  <a:pt x="1029" y="545"/>
                </a:lnTo>
                <a:close/>
                <a:moveTo>
                  <a:pt x="1083" y="496"/>
                </a:moveTo>
                <a:lnTo>
                  <a:pt x="1109" y="491"/>
                </a:lnTo>
                <a:cubicBezTo>
                  <a:pt x="1110" y="502"/>
                  <a:pt x="1114" y="511"/>
                  <a:pt x="1121" y="517"/>
                </a:cubicBezTo>
                <a:cubicBezTo>
                  <a:pt x="1127" y="522"/>
                  <a:pt x="1137" y="525"/>
                  <a:pt x="1148" y="525"/>
                </a:cubicBezTo>
                <a:cubicBezTo>
                  <a:pt x="1160" y="525"/>
                  <a:pt x="1169" y="523"/>
                  <a:pt x="1175" y="518"/>
                </a:cubicBezTo>
                <a:cubicBezTo>
                  <a:pt x="1181" y="512"/>
                  <a:pt x="1184" y="506"/>
                  <a:pt x="1184" y="499"/>
                </a:cubicBezTo>
                <a:cubicBezTo>
                  <a:pt x="1184" y="493"/>
                  <a:pt x="1181" y="488"/>
                  <a:pt x="1176" y="484"/>
                </a:cubicBezTo>
                <a:cubicBezTo>
                  <a:pt x="1172" y="482"/>
                  <a:pt x="1163" y="479"/>
                  <a:pt x="1149" y="475"/>
                </a:cubicBezTo>
                <a:cubicBezTo>
                  <a:pt x="1130" y="470"/>
                  <a:pt x="1117" y="465"/>
                  <a:pt x="1110" y="462"/>
                </a:cubicBezTo>
                <a:cubicBezTo>
                  <a:pt x="1102" y="458"/>
                  <a:pt x="1097" y="453"/>
                  <a:pt x="1093" y="446"/>
                </a:cubicBezTo>
                <a:cubicBezTo>
                  <a:pt x="1089" y="439"/>
                  <a:pt x="1087" y="432"/>
                  <a:pt x="1087" y="424"/>
                </a:cubicBezTo>
                <a:cubicBezTo>
                  <a:pt x="1087" y="417"/>
                  <a:pt x="1089" y="410"/>
                  <a:pt x="1092" y="404"/>
                </a:cubicBezTo>
                <a:cubicBezTo>
                  <a:pt x="1095" y="397"/>
                  <a:pt x="1099" y="392"/>
                  <a:pt x="1105" y="388"/>
                </a:cubicBezTo>
                <a:cubicBezTo>
                  <a:pt x="1109" y="385"/>
                  <a:pt x="1114" y="382"/>
                  <a:pt x="1121" y="380"/>
                </a:cubicBezTo>
                <a:cubicBezTo>
                  <a:pt x="1128" y="378"/>
                  <a:pt x="1136" y="377"/>
                  <a:pt x="1144" y="377"/>
                </a:cubicBezTo>
                <a:cubicBezTo>
                  <a:pt x="1156" y="377"/>
                  <a:pt x="1166" y="378"/>
                  <a:pt x="1175" y="382"/>
                </a:cubicBezTo>
                <a:cubicBezTo>
                  <a:pt x="1185" y="386"/>
                  <a:pt x="1191" y="391"/>
                  <a:pt x="1196" y="397"/>
                </a:cubicBezTo>
                <a:cubicBezTo>
                  <a:pt x="1200" y="404"/>
                  <a:pt x="1203" y="412"/>
                  <a:pt x="1204" y="423"/>
                </a:cubicBezTo>
                <a:lnTo>
                  <a:pt x="1179" y="427"/>
                </a:lnTo>
                <a:cubicBezTo>
                  <a:pt x="1178" y="418"/>
                  <a:pt x="1175" y="411"/>
                  <a:pt x="1169" y="407"/>
                </a:cubicBezTo>
                <a:cubicBezTo>
                  <a:pt x="1164" y="402"/>
                  <a:pt x="1156" y="399"/>
                  <a:pt x="1146" y="399"/>
                </a:cubicBezTo>
                <a:cubicBezTo>
                  <a:pt x="1134" y="399"/>
                  <a:pt x="1125" y="401"/>
                  <a:pt x="1120" y="406"/>
                </a:cubicBezTo>
                <a:cubicBezTo>
                  <a:pt x="1115" y="410"/>
                  <a:pt x="1112" y="415"/>
                  <a:pt x="1112" y="421"/>
                </a:cubicBezTo>
                <a:cubicBezTo>
                  <a:pt x="1112" y="424"/>
                  <a:pt x="1114" y="427"/>
                  <a:pt x="1116" y="430"/>
                </a:cubicBezTo>
                <a:cubicBezTo>
                  <a:pt x="1118" y="433"/>
                  <a:pt x="1121" y="436"/>
                  <a:pt x="1126" y="438"/>
                </a:cubicBezTo>
                <a:cubicBezTo>
                  <a:pt x="1128" y="439"/>
                  <a:pt x="1136" y="441"/>
                  <a:pt x="1149" y="445"/>
                </a:cubicBezTo>
                <a:cubicBezTo>
                  <a:pt x="1167" y="450"/>
                  <a:pt x="1180" y="455"/>
                  <a:pt x="1187" y="458"/>
                </a:cubicBezTo>
                <a:cubicBezTo>
                  <a:pt x="1194" y="461"/>
                  <a:pt x="1200" y="466"/>
                  <a:pt x="1204" y="472"/>
                </a:cubicBezTo>
                <a:cubicBezTo>
                  <a:pt x="1208" y="479"/>
                  <a:pt x="1210" y="487"/>
                  <a:pt x="1210" y="496"/>
                </a:cubicBezTo>
                <a:cubicBezTo>
                  <a:pt x="1210" y="506"/>
                  <a:pt x="1208" y="514"/>
                  <a:pt x="1203" y="523"/>
                </a:cubicBezTo>
                <a:cubicBezTo>
                  <a:pt x="1198" y="531"/>
                  <a:pt x="1190" y="537"/>
                  <a:pt x="1181" y="542"/>
                </a:cubicBezTo>
                <a:cubicBezTo>
                  <a:pt x="1171" y="546"/>
                  <a:pt x="1161" y="548"/>
                  <a:pt x="1149" y="548"/>
                </a:cubicBezTo>
                <a:cubicBezTo>
                  <a:pt x="1129" y="548"/>
                  <a:pt x="1113" y="544"/>
                  <a:pt x="1103" y="535"/>
                </a:cubicBezTo>
                <a:cubicBezTo>
                  <a:pt x="1092" y="526"/>
                  <a:pt x="1086" y="513"/>
                  <a:pt x="1083" y="496"/>
                </a:cubicBezTo>
                <a:close/>
                <a:moveTo>
                  <a:pt x="1241" y="349"/>
                </a:moveTo>
                <a:lnTo>
                  <a:pt x="1241" y="317"/>
                </a:lnTo>
                <a:lnTo>
                  <a:pt x="1267" y="317"/>
                </a:lnTo>
                <a:lnTo>
                  <a:pt x="1267" y="349"/>
                </a:lnTo>
                <a:lnTo>
                  <a:pt x="1241" y="349"/>
                </a:lnTo>
                <a:close/>
                <a:moveTo>
                  <a:pt x="1241" y="545"/>
                </a:moveTo>
                <a:lnTo>
                  <a:pt x="1241" y="380"/>
                </a:lnTo>
                <a:lnTo>
                  <a:pt x="1267" y="380"/>
                </a:lnTo>
                <a:lnTo>
                  <a:pt x="1267" y="545"/>
                </a:lnTo>
                <a:lnTo>
                  <a:pt x="1241" y="545"/>
                </a:lnTo>
                <a:close/>
                <a:moveTo>
                  <a:pt x="1297" y="462"/>
                </a:moveTo>
                <a:cubicBezTo>
                  <a:pt x="1297" y="432"/>
                  <a:pt x="1305" y="409"/>
                  <a:pt x="1321" y="395"/>
                </a:cubicBezTo>
                <a:cubicBezTo>
                  <a:pt x="1334" y="383"/>
                  <a:pt x="1350" y="377"/>
                  <a:pt x="1369" y="377"/>
                </a:cubicBezTo>
                <a:cubicBezTo>
                  <a:pt x="1390" y="377"/>
                  <a:pt x="1407" y="384"/>
                  <a:pt x="1421" y="399"/>
                </a:cubicBezTo>
                <a:cubicBezTo>
                  <a:pt x="1434" y="414"/>
                  <a:pt x="1441" y="434"/>
                  <a:pt x="1441" y="460"/>
                </a:cubicBezTo>
                <a:cubicBezTo>
                  <a:pt x="1441" y="481"/>
                  <a:pt x="1438" y="498"/>
                  <a:pt x="1432" y="510"/>
                </a:cubicBezTo>
                <a:cubicBezTo>
                  <a:pt x="1426" y="522"/>
                  <a:pt x="1417" y="532"/>
                  <a:pt x="1406" y="538"/>
                </a:cubicBezTo>
                <a:cubicBezTo>
                  <a:pt x="1395" y="545"/>
                  <a:pt x="1382" y="548"/>
                  <a:pt x="1369" y="548"/>
                </a:cubicBezTo>
                <a:cubicBezTo>
                  <a:pt x="1348" y="548"/>
                  <a:pt x="1330" y="541"/>
                  <a:pt x="1317" y="526"/>
                </a:cubicBezTo>
                <a:cubicBezTo>
                  <a:pt x="1304" y="511"/>
                  <a:pt x="1297" y="490"/>
                  <a:pt x="1297" y="462"/>
                </a:cubicBezTo>
                <a:close/>
                <a:moveTo>
                  <a:pt x="1324" y="462"/>
                </a:moveTo>
                <a:cubicBezTo>
                  <a:pt x="1324" y="484"/>
                  <a:pt x="1328" y="499"/>
                  <a:pt x="1337" y="510"/>
                </a:cubicBezTo>
                <a:cubicBezTo>
                  <a:pt x="1345" y="520"/>
                  <a:pt x="1356" y="525"/>
                  <a:pt x="1369" y="525"/>
                </a:cubicBezTo>
                <a:cubicBezTo>
                  <a:pt x="1382" y="525"/>
                  <a:pt x="1393" y="520"/>
                  <a:pt x="1401" y="510"/>
                </a:cubicBezTo>
                <a:cubicBezTo>
                  <a:pt x="1410" y="499"/>
                  <a:pt x="1414" y="483"/>
                  <a:pt x="1414" y="462"/>
                </a:cubicBezTo>
                <a:cubicBezTo>
                  <a:pt x="1414" y="441"/>
                  <a:pt x="1410" y="426"/>
                  <a:pt x="1401" y="415"/>
                </a:cubicBezTo>
                <a:cubicBezTo>
                  <a:pt x="1393" y="405"/>
                  <a:pt x="1382" y="400"/>
                  <a:pt x="1369" y="400"/>
                </a:cubicBezTo>
                <a:cubicBezTo>
                  <a:pt x="1356" y="400"/>
                  <a:pt x="1345" y="405"/>
                  <a:pt x="1337" y="415"/>
                </a:cubicBezTo>
                <a:cubicBezTo>
                  <a:pt x="1328" y="426"/>
                  <a:pt x="1324" y="441"/>
                  <a:pt x="1324" y="462"/>
                </a:cubicBezTo>
                <a:close/>
                <a:moveTo>
                  <a:pt x="1471" y="545"/>
                </a:moveTo>
                <a:lnTo>
                  <a:pt x="1471" y="380"/>
                </a:lnTo>
                <a:lnTo>
                  <a:pt x="1495" y="380"/>
                </a:lnTo>
                <a:lnTo>
                  <a:pt x="1495" y="403"/>
                </a:lnTo>
                <a:cubicBezTo>
                  <a:pt x="1506" y="385"/>
                  <a:pt x="1522" y="377"/>
                  <a:pt x="1544" y="377"/>
                </a:cubicBezTo>
                <a:cubicBezTo>
                  <a:pt x="1553" y="377"/>
                  <a:pt x="1561" y="378"/>
                  <a:pt x="1569" y="382"/>
                </a:cubicBezTo>
                <a:cubicBezTo>
                  <a:pt x="1577" y="385"/>
                  <a:pt x="1583" y="390"/>
                  <a:pt x="1586" y="396"/>
                </a:cubicBezTo>
                <a:cubicBezTo>
                  <a:pt x="1590" y="402"/>
                  <a:pt x="1593" y="409"/>
                  <a:pt x="1594" y="416"/>
                </a:cubicBezTo>
                <a:cubicBezTo>
                  <a:pt x="1595" y="422"/>
                  <a:pt x="1596" y="431"/>
                  <a:pt x="1596" y="444"/>
                </a:cubicBezTo>
                <a:lnTo>
                  <a:pt x="1596" y="545"/>
                </a:lnTo>
                <a:lnTo>
                  <a:pt x="1570" y="545"/>
                </a:lnTo>
                <a:lnTo>
                  <a:pt x="1570" y="445"/>
                </a:lnTo>
                <a:cubicBezTo>
                  <a:pt x="1570" y="433"/>
                  <a:pt x="1569" y="425"/>
                  <a:pt x="1567" y="419"/>
                </a:cubicBezTo>
                <a:cubicBezTo>
                  <a:pt x="1565" y="414"/>
                  <a:pt x="1561" y="409"/>
                  <a:pt x="1556" y="406"/>
                </a:cubicBezTo>
                <a:cubicBezTo>
                  <a:pt x="1551" y="402"/>
                  <a:pt x="1545" y="401"/>
                  <a:pt x="1538" y="401"/>
                </a:cubicBezTo>
                <a:cubicBezTo>
                  <a:pt x="1527" y="401"/>
                  <a:pt x="1517" y="404"/>
                  <a:pt x="1509" y="412"/>
                </a:cubicBezTo>
                <a:cubicBezTo>
                  <a:pt x="1501" y="419"/>
                  <a:pt x="1497" y="434"/>
                  <a:pt x="1497" y="455"/>
                </a:cubicBezTo>
                <a:lnTo>
                  <a:pt x="1497" y="545"/>
                </a:lnTo>
                <a:lnTo>
                  <a:pt x="1471" y="545"/>
                </a:lnTo>
                <a:close/>
                <a:moveTo>
                  <a:pt x="510" y="32"/>
                </a:moveTo>
                <a:lnTo>
                  <a:pt x="510" y="0"/>
                </a:lnTo>
                <a:lnTo>
                  <a:pt x="536" y="0"/>
                </a:lnTo>
                <a:lnTo>
                  <a:pt x="536" y="32"/>
                </a:lnTo>
                <a:lnTo>
                  <a:pt x="510" y="32"/>
                </a:lnTo>
                <a:close/>
                <a:moveTo>
                  <a:pt x="510" y="227"/>
                </a:moveTo>
                <a:lnTo>
                  <a:pt x="510" y="63"/>
                </a:lnTo>
                <a:lnTo>
                  <a:pt x="536" y="63"/>
                </a:lnTo>
                <a:lnTo>
                  <a:pt x="536" y="227"/>
                </a:lnTo>
                <a:lnTo>
                  <a:pt x="510" y="227"/>
                </a:lnTo>
                <a:close/>
                <a:moveTo>
                  <a:pt x="575" y="227"/>
                </a:moveTo>
                <a:lnTo>
                  <a:pt x="575" y="63"/>
                </a:lnTo>
                <a:lnTo>
                  <a:pt x="599" y="63"/>
                </a:lnTo>
                <a:lnTo>
                  <a:pt x="599" y="86"/>
                </a:lnTo>
                <a:cubicBezTo>
                  <a:pt x="610" y="68"/>
                  <a:pt x="626" y="59"/>
                  <a:pt x="647" y="59"/>
                </a:cubicBezTo>
                <a:cubicBezTo>
                  <a:pt x="657" y="59"/>
                  <a:pt x="665" y="61"/>
                  <a:pt x="673" y="64"/>
                </a:cubicBezTo>
                <a:cubicBezTo>
                  <a:pt x="681" y="68"/>
                  <a:pt x="686" y="73"/>
                  <a:pt x="690" y="78"/>
                </a:cubicBezTo>
                <a:cubicBezTo>
                  <a:pt x="694" y="84"/>
                  <a:pt x="697" y="91"/>
                  <a:pt x="698" y="99"/>
                </a:cubicBezTo>
                <a:cubicBezTo>
                  <a:pt x="699" y="104"/>
                  <a:pt x="700" y="113"/>
                  <a:pt x="700" y="126"/>
                </a:cubicBezTo>
                <a:lnTo>
                  <a:pt x="700" y="227"/>
                </a:lnTo>
                <a:lnTo>
                  <a:pt x="674" y="227"/>
                </a:lnTo>
                <a:lnTo>
                  <a:pt x="674" y="127"/>
                </a:lnTo>
                <a:cubicBezTo>
                  <a:pt x="674" y="116"/>
                  <a:pt x="673" y="107"/>
                  <a:pt x="671" y="102"/>
                </a:cubicBezTo>
                <a:cubicBezTo>
                  <a:pt x="669" y="96"/>
                  <a:pt x="665" y="92"/>
                  <a:pt x="660" y="88"/>
                </a:cubicBezTo>
                <a:cubicBezTo>
                  <a:pt x="655" y="85"/>
                  <a:pt x="649" y="83"/>
                  <a:pt x="642" y="83"/>
                </a:cubicBezTo>
                <a:cubicBezTo>
                  <a:pt x="631" y="83"/>
                  <a:pt x="621" y="87"/>
                  <a:pt x="613" y="94"/>
                </a:cubicBezTo>
                <a:cubicBezTo>
                  <a:pt x="605" y="102"/>
                  <a:pt x="601" y="116"/>
                  <a:pt x="601" y="137"/>
                </a:cubicBezTo>
                <a:lnTo>
                  <a:pt x="601" y="227"/>
                </a:lnTo>
                <a:lnTo>
                  <a:pt x="575" y="227"/>
                </a:lnTo>
                <a:close/>
                <a:moveTo>
                  <a:pt x="796" y="202"/>
                </a:moveTo>
                <a:lnTo>
                  <a:pt x="800" y="227"/>
                </a:lnTo>
                <a:cubicBezTo>
                  <a:pt x="793" y="229"/>
                  <a:pt x="786" y="230"/>
                  <a:pt x="780" y="230"/>
                </a:cubicBezTo>
                <a:cubicBezTo>
                  <a:pt x="771" y="230"/>
                  <a:pt x="764" y="228"/>
                  <a:pt x="758" y="225"/>
                </a:cubicBezTo>
                <a:cubicBezTo>
                  <a:pt x="753" y="221"/>
                  <a:pt x="750" y="217"/>
                  <a:pt x="747" y="212"/>
                </a:cubicBezTo>
                <a:cubicBezTo>
                  <a:pt x="745" y="207"/>
                  <a:pt x="744" y="196"/>
                  <a:pt x="744" y="179"/>
                </a:cubicBezTo>
                <a:lnTo>
                  <a:pt x="744" y="84"/>
                </a:lnTo>
                <a:lnTo>
                  <a:pt x="725" y="84"/>
                </a:lnTo>
                <a:lnTo>
                  <a:pt x="725" y="63"/>
                </a:lnTo>
                <a:lnTo>
                  <a:pt x="744" y="63"/>
                </a:lnTo>
                <a:lnTo>
                  <a:pt x="744" y="22"/>
                </a:lnTo>
                <a:lnTo>
                  <a:pt x="770" y="5"/>
                </a:lnTo>
                <a:lnTo>
                  <a:pt x="770" y="63"/>
                </a:lnTo>
                <a:lnTo>
                  <a:pt x="796" y="63"/>
                </a:lnTo>
                <a:lnTo>
                  <a:pt x="796" y="84"/>
                </a:lnTo>
                <a:lnTo>
                  <a:pt x="770" y="84"/>
                </a:lnTo>
                <a:lnTo>
                  <a:pt x="770" y="181"/>
                </a:lnTo>
                <a:cubicBezTo>
                  <a:pt x="770" y="189"/>
                  <a:pt x="771" y="194"/>
                  <a:pt x="772" y="196"/>
                </a:cubicBezTo>
                <a:cubicBezTo>
                  <a:pt x="773" y="198"/>
                  <a:pt x="774" y="200"/>
                  <a:pt x="776" y="201"/>
                </a:cubicBezTo>
                <a:cubicBezTo>
                  <a:pt x="778" y="203"/>
                  <a:pt x="781" y="203"/>
                  <a:pt x="785" y="203"/>
                </a:cubicBezTo>
                <a:cubicBezTo>
                  <a:pt x="788" y="203"/>
                  <a:pt x="792" y="203"/>
                  <a:pt x="796" y="202"/>
                </a:cubicBezTo>
                <a:close/>
                <a:moveTo>
                  <a:pt x="927" y="174"/>
                </a:moveTo>
                <a:lnTo>
                  <a:pt x="954" y="178"/>
                </a:lnTo>
                <a:cubicBezTo>
                  <a:pt x="949" y="195"/>
                  <a:pt x="942" y="208"/>
                  <a:pt x="930" y="217"/>
                </a:cubicBezTo>
                <a:cubicBezTo>
                  <a:pt x="919" y="226"/>
                  <a:pt x="904" y="231"/>
                  <a:pt x="886" y="231"/>
                </a:cubicBezTo>
                <a:cubicBezTo>
                  <a:pt x="864" y="231"/>
                  <a:pt x="846" y="223"/>
                  <a:pt x="833" y="209"/>
                </a:cubicBezTo>
                <a:cubicBezTo>
                  <a:pt x="820" y="194"/>
                  <a:pt x="813" y="173"/>
                  <a:pt x="813" y="146"/>
                </a:cubicBezTo>
                <a:cubicBezTo>
                  <a:pt x="813" y="119"/>
                  <a:pt x="820" y="97"/>
                  <a:pt x="833" y="82"/>
                </a:cubicBezTo>
                <a:cubicBezTo>
                  <a:pt x="847" y="67"/>
                  <a:pt x="864" y="59"/>
                  <a:pt x="885" y="59"/>
                </a:cubicBezTo>
                <a:cubicBezTo>
                  <a:pt x="905" y="59"/>
                  <a:pt x="922" y="66"/>
                  <a:pt x="935" y="81"/>
                </a:cubicBezTo>
                <a:cubicBezTo>
                  <a:pt x="948" y="96"/>
                  <a:pt x="955" y="117"/>
                  <a:pt x="955" y="145"/>
                </a:cubicBezTo>
                <a:cubicBezTo>
                  <a:pt x="955" y="146"/>
                  <a:pt x="954" y="149"/>
                  <a:pt x="954" y="152"/>
                </a:cubicBezTo>
                <a:lnTo>
                  <a:pt x="840" y="152"/>
                </a:lnTo>
                <a:cubicBezTo>
                  <a:pt x="841" y="170"/>
                  <a:pt x="846" y="184"/>
                  <a:pt x="854" y="194"/>
                </a:cubicBezTo>
                <a:cubicBezTo>
                  <a:pt x="863" y="203"/>
                  <a:pt x="874" y="208"/>
                  <a:pt x="886" y="208"/>
                </a:cubicBezTo>
                <a:cubicBezTo>
                  <a:pt x="896" y="208"/>
                  <a:pt x="904" y="205"/>
                  <a:pt x="911" y="200"/>
                </a:cubicBezTo>
                <a:cubicBezTo>
                  <a:pt x="917" y="194"/>
                  <a:pt x="923" y="186"/>
                  <a:pt x="927" y="174"/>
                </a:cubicBezTo>
                <a:close/>
                <a:moveTo>
                  <a:pt x="842" y="129"/>
                </a:moveTo>
                <a:lnTo>
                  <a:pt x="927" y="129"/>
                </a:lnTo>
                <a:cubicBezTo>
                  <a:pt x="926" y="115"/>
                  <a:pt x="923" y="105"/>
                  <a:pt x="917" y="98"/>
                </a:cubicBezTo>
                <a:cubicBezTo>
                  <a:pt x="909" y="87"/>
                  <a:pt x="898" y="82"/>
                  <a:pt x="885" y="82"/>
                </a:cubicBezTo>
                <a:cubicBezTo>
                  <a:pt x="873" y="82"/>
                  <a:pt x="863" y="86"/>
                  <a:pt x="855" y="95"/>
                </a:cubicBezTo>
                <a:cubicBezTo>
                  <a:pt x="847" y="103"/>
                  <a:pt x="842" y="115"/>
                  <a:pt x="842" y="129"/>
                </a:cubicBezTo>
                <a:close/>
                <a:moveTo>
                  <a:pt x="1087" y="167"/>
                </a:moveTo>
                <a:lnTo>
                  <a:pt x="1112" y="171"/>
                </a:lnTo>
                <a:cubicBezTo>
                  <a:pt x="1109" y="190"/>
                  <a:pt x="1102" y="204"/>
                  <a:pt x="1091" y="215"/>
                </a:cubicBezTo>
                <a:cubicBezTo>
                  <a:pt x="1079" y="225"/>
                  <a:pt x="1065" y="231"/>
                  <a:pt x="1048" y="231"/>
                </a:cubicBezTo>
                <a:cubicBezTo>
                  <a:pt x="1028" y="231"/>
                  <a:pt x="1011" y="223"/>
                  <a:pt x="998" y="209"/>
                </a:cubicBezTo>
                <a:cubicBezTo>
                  <a:pt x="985" y="194"/>
                  <a:pt x="979" y="173"/>
                  <a:pt x="979" y="146"/>
                </a:cubicBezTo>
                <a:cubicBezTo>
                  <a:pt x="979" y="128"/>
                  <a:pt x="982" y="112"/>
                  <a:pt x="987" y="99"/>
                </a:cubicBezTo>
                <a:cubicBezTo>
                  <a:pt x="993" y="86"/>
                  <a:pt x="1001" y="76"/>
                  <a:pt x="1012" y="69"/>
                </a:cubicBezTo>
                <a:cubicBezTo>
                  <a:pt x="1023" y="62"/>
                  <a:pt x="1035" y="59"/>
                  <a:pt x="1049" y="59"/>
                </a:cubicBezTo>
                <a:cubicBezTo>
                  <a:pt x="1065" y="59"/>
                  <a:pt x="1079" y="64"/>
                  <a:pt x="1089" y="73"/>
                </a:cubicBezTo>
                <a:cubicBezTo>
                  <a:pt x="1100" y="82"/>
                  <a:pt x="1107" y="94"/>
                  <a:pt x="1110" y="111"/>
                </a:cubicBezTo>
                <a:lnTo>
                  <a:pt x="1085" y="115"/>
                </a:lnTo>
                <a:cubicBezTo>
                  <a:pt x="1082" y="104"/>
                  <a:pt x="1078" y="96"/>
                  <a:pt x="1072" y="90"/>
                </a:cubicBezTo>
                <a:cubicBezTo>
                  <a:pt x="1066" y="85"/>
                  <a:pt x="1058" y="82"/>
                  <a:pt x="1050" y="82"/>
                </a:cubicBezTo>
                <a:cubicBezTo>
                  <a:pt x="1037" y="82"/>
                  <a:pt x="1026" y="87"/>
                  <a:pt x="1018" y="97"/>
                </a:cubicBezTo>
                <a:cubicBezTo>
                  <a:pt x="1010" y="107"/>
                  <a:pt x="1005" y="123"/>
                  <a:pt x="1005" y="145"/>
                </a:cubicBezTo>
                <a:cubicBezTo>
                  <a:pt x="1005" y="167"/>
                  <a:pt x="1009" y="183"/>
                  <a:pt x="1017" y="193"/>
                </a:cubicBezTo>
                <a:cubicBezTo>
                  <a:pt x="1025" y="203"/>
                  <a:pt x="1036" y="208"/>
                  <a:pt x="1048" y="208"/>
                </a:cubicBezTo>
                <a:cubicBezTo>
                  <a:pt x="1058" y="208"/>
                  <a:pt x="1067" y="205"/>
                  <a:pt x="1074" y="198"/>
                </a:cubicBezTo>
                <a:cubicBezTo>
                  <a:pt x="1081" y="191"/>
                  <a:pt x="1085" y="181"/>
                  <a:pt x="1087" y="167"/>
                </a:cubicBezTo>
                <a:close/>
                <a:moveTo>
                  <a:pt x="1134" y="227"/>
                </a:moveTo>
                <a:lnTo>
                  <a:pt x="1134" y="0"/>
                </a:lnTo>
                <a:lnTo>
                  <a:pt x="1160" y="0"/>
                </a:lnTo>
                <a:lnTo>
                  <a:pt x="1160" y="82"/>
                </a:lnTo>
                <a:cubicBezTo>
                  <a:pt x="1173" y="67"/>
                  <a:pt x="1188" y="59"/>
                  <a:pt x="1206" y="59"/>
                </a:cubicBezTo>
                <a:cubicBezTo>
                  <a:pt x="1217" y="59"/>
                  <a:pt x="1227" y="61"/>
                  <a:pt x="1236" y="66"/>
                </a:cubicBezTo>
                <a:cubicBezTo>
                  <a:pt x="1244" y="71"/>
                  <a:pt x="1250" y="78"/>
                  <a:pt x="1254" y="86"/>
                </a:cubicBezTo>
                <a:cubicBezTo>
                  <a:pt x="1257" y="95"/>
                  <a:pt x="1259" y="107"/>
                  <a:pt x="1259" y="123"/>
                </a:cubicBezTo>
                <a:lnTo>
                  <a:pt x="1259" y="227"/>
                </a:lnTo>
                <a:lnTo>
                  <a:pt x="1233" y="227"/>
                </a:lnTo>
                <a:lnTo>
                  <a:pt x="1233" y="123"/>
                </a:lnTo>
                <a:cubicBezTo>
                  <a:pt x="1233" y="109"/>
                  <a:pt x="1230" y="99"/>
                  <a:pt x="1225" y="93"/>
                </a:cubicBezTo>
                <a:cubicBezTo>
                  <a:pt x="1219" y="86"/>
                  <a:pt x="1211" y="83"/>
                  <a:pt x="1201" y="83"/>
                </a:cubicBezTo>
                <a:cubicBezTo>
                  <a:pt x="1193" y="83"/>
                  <a:pt x="1186" y="85"/>
                  <a:pt x="1179" y="90"/>
                </a:cubicBezTo>
                <a:cubicBezTo>
                  <a:pt x="1172" y="94"/>
                  <a:pt x="1168" y="100"/>
                  <a:pt x="1165" y="107"/>
                </a:cubicBezTo>
                <a:cubicBezTo>
                  <a:pt x="1162" y="114"/>
                  <a:pt x="1160" y="124"/>
                  <a:pt x="1160" y="137"/>
                </a:cubicBezTo>
                <a:lnTo>
                  <a:pt x="1160" y="227"/>
                </a:lnTo>
                <a:lnTo>
                  <a:pt x="1134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6" name="Freeform 66">
            <a:extLst>
              <a:ext uri="{FF2B5EF4-FFF2-40B4-BE49-F238E27FC236}">
                <a16:creationId xmlns:a16="http://schemas.microsoft.com/office/drawing/2014/main" id="{4FDDDD43-DF26-45FB-98A0-7DC18C2CB2F7}"/>
              </a:ext>
            </a:extLst>
          </p:cNvPr>
          <p:cNvSpPr>
            <a:spLocks noEditPoints="1"/>
          </p:cNvSpPr>
          <p:nvPr/>
        </p:nvSpPr>
        <p:spPr bwMode="auto">
          <a:xfrm>
            <a:off x="7412038" y="4044951"/>
            <a:ext cx="311150" cy="84138"/>
          </a:xfrm>
          <a:custGeom>
            <a:avLst/>
            <a:gdLst>
              <a:gd name="T0" fmla="*/ 0 w 861"/>
              <a:gd name="T1" fmla="*/ 3 h 234"/>
              <a:gd name="T2" fmla="*/ 28 w 861"/>
              <a:gd name="T3" fmla="*/ 204 h 234"/>
              <a:gd name="T4" fmla="*/ 132 w 861"/>
              <a:gd name="T5" fmla="*/ 231 h 234"/>
              <a:gd name="T6" fmla="*/ 162 w 861"/>
              <a:gd name="T7" fmla="*/ 35 h 234"/>
              <a:gd name="T8" fmla="*/ 188 w 861"/>
              <a:gd name="T9" fmla="*/ 3 h 234"/>
              <a:gd name="T10" fmla="*/ 162 w 861"/>
              <a:gd name="T11" fmla="*/ 35 h 234"/>
              <a:gd name="T12" fmla="*/ 162 w 861"/>
              <a:gd name="T13" fmla="*/ 66 h 234"/>
              <a:gd name="T14" fmla="*/ 188 w 861"/>
              <a:gd name="T15" fmla="*/ 231 h 234"/>
              <a:gd name="T16" fmla="*/ 234 w 861"/>
              <a:gd name="T17" fmla="*/ 231 h 234"/>
              <a:gd name="T18" fmla="*/ 211 w 861"/>
              <a:gd name="T19" fmla="*/ 87 h 234"/>
              <a:gd name="T20" fmla="*/ 234 w 861"/>
              <a:gd name="T21" fmla="*/ 66 h 234"/>
              <a:gd name="T22" fmla="*/ 237 w 861"/>
              <a:gd name="T23" fmla="*/ 24 h 234"/>
              <a:gd name="T24" fmla="*/ 277 w 861"/>
              <a:gd name="T25" fmla="*/ 0 h 234"/>
              <a:gd name="T26" fmla="*/ 297 w 861"/>
              <a:gd name="T27" fmla="*/ 27 h 234"/>
              <a:gd name="T28" fmla="*/ 265 w 861"/>
              <a:gd name="T29" fmla="*/ 31 h 234"/>
              <a:gd name="T30" fmla="*/ 260 w 861"/>
              <a:gd name="T31" fmla="*/ 66 h 234"/>
              <a:gd name="T32" fmla="*/ 290 w 861"/>
              <a:gd name="T33" fmla="*/ 87 h 234"/>
              <a:gd name="T34" fmla="*/ 260 w 861"/>
              <a:gd name="T35" fmla="*/ 231 h 234"/>
              <a:gd name="T36" fmla="*/ 368 w 861"/>
              <a:gd name="T37" fmla="*/ 206 h 234"/>
              <a:gd name="T38" fmla="*/ 352 w 861"/>
              <a:gd name="T39" fmla="*/ 233 h 234"/>
              <a:gd name="T40" fmla="*/ 319 w 861"/>
              <a:gd name="T41" fmla="*/ 215 h 234"/>
              <a:gd name="T42" fmla="*/ 316 w 861"/>
              <a:gd name="T43" fmla="*/ 87 h 234"/>
              <a:gd name="T44" fmla="*/ 297 w 861"/>
              <a:gd name="T45" fmla="*/ 66 h 234"/>
              <a:gd name="T46" fmla="*/ 316 w 861"/>
              <a:gd name="T47" fmla="*/ 25 h 234"/>
              <a:gd name="T48" fmla="*/ 342 w 861"/>
              <a:gd name="T49" fmla="*/ 66 h 234"/>
              <a:gd name="T50" fmla="*/ 368 w 861"/>
              <a:gd name="T51" fmla="*/ 87 h 234"/>
              <a:gd name="T52" fmla="*/ 342 w 861"/>
              <a:gd name="T53" fmla="*/ 184 h 234"/>
              <a:gd name="T54" fmla="*/ 348 w 861"/>
              <a:gd name="T55" fmla="*/ 205 h 234"/>
              <a:gd name="T56" fmla="*/ 368 w 861"/>
              <a:gd name="T57" fmla="*/ 206 h 234"/>
              <a:gd name="T58" fmla="*/ 499 w 861"/>
              <a:gd name="T59" fmla="*/ 31 h 234"/>
              <a:gd name="T60" fmla="*/ 625 w 861"/>
              <a:gd name="T61" fmla="*/ 15 h 234"/>
              <a:gd name="T62" fmla="*/ 673 w 861"/>
              <a:gd name="T63" fmla="*/ 117 h 234"/>
              <a:gd name="T64" fmla="*/ 624 w 861"/>
              <a:gd name="T65" fmla="*/ 220 h 234"/>
              <a:gd name="T66" fmla="*/ 519 w 861"/>
              <a:gd name="T67" fmla="*/ 219 h 234"/>
              <a:gd name="T68" fmla="*/ 471 w 861"/>
              <a:gd name="T69" fmla="*/ 120 h 234"/>
              <a:gd name="T70" fmla="*/ 520 w 861"/>
              <a:gd name="T71" fmla="*/ 185 h 234"/>
              <a:gd name="T72" fmla="*/ 624 w 861"/>
              <a:gd name="T73" fmla="*/ 185 h 234"/>
              <a:gd name="T74" fmla="*/ 636 w 861"/>
              <a:gd name="T75" fmla="*/ 69 h 234"/>
              <a:gd name="T76" fmla="*/ 572 w 861"/>
              <a:gd name="T77" fmla="*/ 26 h 234"/>
              <a:gd name="T78" fmla="*/ 500 w 861"/>
              <a:gd name="T79" fmla="*/ 121 h 234"/>
              <a:gd name="T80" fmla="*/ 712 w 861"/>
              <a:gd name="T81" fmla="*/ 87 h 234"/>
              <a:gd name="T82" fmla="*/ 689 w 861"/>
              <a:gd name="T83" fmla="*/ 66 h 234"/>
              <a:gd name="T84" fmla="*/ 712 w 861"/>
              <a:gd name="T85" fmla="*/ 48 h 234"/>
              <a:gd name="T86" fmla="*/ 728 w 861"/>
              <a:gd name="T87" fmla="*/ 6 h 234"/>
              <a:gd name="T88" fmla="*/ 779 w 861"/>
              <a:gd name="T89" fmla="*/ 2 h 234"/>
              <a:gd name="T90" fmla="*/ 760 w 861"/>
              <a:gd name="T91" fmla="*/ 25 h 234"/>
              <a:gd name="T92" fmla="*/ 738 w 861"/>
              <a:gd name="T93" fmla="*/ 51 h 234"/>
              <a:gd name="T94" fmla="*/ 768 w 861"/>
              <a:gd name="T95" fmla="*/ 66 h 234"/>
              <a:gd name="T96" fmla="*/ 739 w 861"/>
              <a:gd name="T97" fmla="*/ 87 h 234"/>
              <a:gd name="T98" fmla="*/ 712 w 861"/>
              <a:gd name="T99" fmla="*/ 231 h 234"/>
              <a:gd name="T100" fmla="*/ 795 w 861"/>
              <a:gd name="T101" fmla="*/ 87 h 234"/>
              <a:gd name="T102" fmla="*/ 772 w 861"/>
              <a:gd name="T103" fmla="*/ 66 h 234"/>
              <a:gd name="T104" fmla="*/ 795 w 861"/>
              <a:gd name="T105" fmla="*/ 48 h 234"/>
              <a:gd name="T106" fmla="*/ 811 w 861"/>
              <a:gd name="T107" fmla="*/ 6 h 234"/>
              <a:gd name="T108" fmla="*/ 861 w 861"/>
              <a:gd name="T109" fmla="*/ 2 h 234"/>
              <a:gd name="T110" fmla="*/ 842 w 861"/>
              <a:gd name="T111" fmla="*/ 25 h 234"/>
              <a:gd name="T112" fmla="*/ 820 w 861"/>
              <a:gd name="T113" fmla="*/ 51 h 234"/>
              <a:gd name="T114" fmla="*/ 850 w 861"/>
              <a:gd name="T115" fmla="*/ 66 h 234"/>
              <a:gd name="T116" fmla="*/ 821 w 861"/>
              <a:gd name="T117" fmla="*/ 87 h 234"/>
              <a:gd name="T118" fmla="*/ 795 w 861"/>
              <a:gd name="T119" fmla="*/ 231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61" h="234">
                <a:moveTo>
                  <a:pt x="0" y="231"/>
                </a:moveTo>
                <a:lnTo>
                  <a:pt x="0" y="3"/>
                </a:lnTo>
                <a:lnTo>
                  <a:pt x="28" y="3"/>
                </a:lnTo>
                <a:lnTo>
                  <a:pt x="28" y="204"/>
                </a:lnTo>
                <a:lnTo>
                  <a:pt x="132" y="204"/>
                </a:lnTo>
                <a:lnTo>
                  <a:pt x="132" y="231"/>
                </a:lnTo>
                <a:lnTo>
                  <a:pt x="0" y="231"/>
                </a:lnTo>
                <a:close/>
                <a:moveTo>
                  <a:pt x="162" y="35"/>
                </a:moveTo>
                <a:lnTo>
                  <a:pt x="162" y="3"/>
                </a:lnTo>
                <a:lnTo>
                  <a:pt x="188" y="3"/>
                </a:lnTo>
                <a:lnTo>
                  <a:pt x="188" y="35"/>
                </a:lnTo>
                <a:lnTo>
                  <a:pt x="162" y="35"/>
                </a:lnTo>
                <a:close/>
                <a:moveTo>
                  <a:pt x="162" y="231"/>
                </a:moveTo>
                <a:lnTo>
                  <a:pt x="162" y="66"/>
                </a:lnTo>
                <a:lnTo>
                  <a:pt x="188" y="66"/>
                </a:lnTo>
                <a:lnTo>
                  <a:pt x="188" y="231"/>
                </a:lnTo>
                <a:lnTo>
                  <a:pt x="162" y="231"/>
                </a:lnTo>
                <a:close/>
                <a:moveTo>
                  <a:pt x="234" y="231"/>
                </a:moveTo>
                <a:lnTo>
                  <a:pt x="234" y="87"/>
                </a:lnTo>
                <a:lnTo>
                  <a:pt x="211" y="87"/>
                </a:lnTo>
                <a:lnTo>
                  <a:pt x="211" y="66"/>
                </a:lnTo>
                <a:lnTo>
                  <a:pt x="234" y="66"/>
                </a:lnTo>
                <a:lnTo>
                  <a:pt x="234" y="48"/>
                </a:lnTo>
                <a:cubicBezTo>
                  <a:pt x="234" y="37"/>
                  <a:pt x="235" y="29"/>
                  <a:pt x="237" y="24"/>
                </a:cubicBezTo>
                <a:cubicBezTo>
                  <a:pt x="240" y="17"/>
                  <a:pt x="244" y="11"/>
                  <a:pt x="250" y="6"/>
                </a:cubicBezTo>
                <a:cubicBezTo>
                  <a:pt x="257" y="2"/>
                  <a:pt x="265" y="0"/>
                  <a:pt x="277" y="0"/>
                </a:cubicBezTo>
                <a:cubicBezTo>
                  <a:pt x="284" y="0"/>
                  <a:pt x="292" y="0"/>
                  <a:pt x="301" y="2"/>
                </a:cubicBezTo>
                <a:lnTo>
                  <a:pt x="297" y="27"/>
                </a:lnTo>
                <a:cubicBezTo>
                  <a:pt x="292" y="26"/>
                  <a:pt x="287" y="25"/>
                  <a:pt x="282" y="25"/>
                </a:cubicBezTo>
                <a:cubicBezTo>
                  <a:pt x="274" y="25"/>
                  <a:pt x="268" y="27"/>
                  <a:pt x="265" y="31"/>
                </a:cubicBezTo>
                <a:cubicBezTo>
                  <a:pt x="262" y="34"/>
                  <a:pt x="260" y="41"/>
                  <a:pt x="260" y="51"/>
                </a:cubicBezTo>
                <a:lnTo>
                  <a:pt x="260" y="66"/>
                </a:lnTo>
                <a:lnTo>
                  <a:pt x="290" y="66"/>
                </a:lnTo>
                <a:lnTo>
                  <a:pt x="290" y="87"/>
                </a:lnTo>
                <a:lnTo>
                  <a:pt x="260" y="87"/>
                </a:lnTo>
                <a:lnTo>
                  <a:pt x="260" y="231"/>
                </a:lnTo>
                <a:lnTo>
                  <a:pt x="234" y="231"/>
                </a:lnTo>
                <a:close/>
                <a:moveTo>
                  <a:pt x="368" y="206"/>
                </a:moveTo>
                <a:lnTo>
                  <a:pt x="372" y="230"/>
                </a:lnTo>
                <a:cubicBezTo>
                  <a:pt x="365" y="232"/>
                  <a:pt x="358" y="233"/>
                  <a:pt x="352" y="233"/>
                </a:cubicBezTo>
                <a:cubicBezTo>
                  <a:pt x="343" y="233"/>
                  <a:pt x="336" y="231"/>
                  <a:pt x="330" y="228"/>
                </a:cubicBezTo>
                <a:cubicBezTo>
                  <a:pt x="325" y="225"/>
                  <a:pt x="322" y="221"/>
                  <a:pt x="319" y="215"/>
                </a:cubicBezTo>
                <a:cubicBezTo>
                  <a:pt x="317" y="210"/>
                  <a:pt x="316" y="199"/>
                  <a:pt x="316" y="182"/>
                </a:cubicBezTo>
                <a:lnTo>
                  <a:pt x="316" y="87"/>
                </a:lnTo>
                <a:lnTo>
                  <a:pt x="297" y="87"/>
                </a:lnTo>
                <a:lnTo>
                  <a:pt x="297" y="66"/>
                </a:lnTo>
                <a:lnTo>
                  <a:pt x="316" y="66"/>
                </a:lnTo>
                <a:lnTo>
                  <a:pt x="316" y="25"/>
                </a:lnTo>
                <a:lnTo>
                  <a:pt x="342" y="8"/>
                </a:lnTo>
                <a:lnTo>
                  <a:pt x="342" y="66"/>
                </a:lnTo>
                <a:lnTo>
                  <a:pt x="368" y="66"/>
                </a:lnTo>
                <a:lnTo>
                  <a:pt x="368" y="87"/>
                </a:lnTo>
                <a:lnTo>
                  <a:pt x="342" y="87"/>
                </a:lnTo>
                <a:lnTo>
                  <a:pt x="342" y="184"/>
                </a:lnTo>
                <a:cubicBezTo>
                  <a:pt x="342" y="192"/>
                  <a:pt x="343" y="197"/>
                  <a:pt x="344" y="199"/>
                </a:cubicBezTo>
                <a:cubicBezTo>
                  <a:pt x="345" y="202"/>
                  <a:pt x="346" y="203"/>
                  <a:pt x="348" y="205"/>
                </a:cubicBezTo>
                <a:cubicBezTo>
                  <a:pt x="350" y="206"/>
                  <a:pt x="353" y="207"/>
                  <a:pt x="357" y="207"/>
                </a:cubicBezTo>
                <a:cubicBezTo>
                  <a:pt x="360" y="207"/>
                  <a:pt x="364" y="206"/>
                  <a:pt x="368" y="206"/>
                </a:cubicBezTo>
                <a:close/>
                <a:moveTo>
                  <a:pt x="471" y="120"/>
                </a:moveTo>
                <a:cubicBezTo>
                  <a:pt x="471" y="82"/>
                  <a:pt x="480" y="53"/>
                  <a:pt x="499" y="31"/>
                </a:cubicBezTo>
                <a:cubicBezTo>
                  <a:pt x="518" y="10"/>
                  <a:pt x="542" y="0"/>
                  <a:pt x="572" y="0"/>
                </a:cubicBezTo>
                <a:cubicBezTo>
                  <a:pt x="592" y="0"/>
                  <a:pt x="609" y="5"/>
                  <a:pt x="625" y="15"/>
                </a:cubicBezTo>
                <a:cubicBezTo>
                  <a:pt x="641" y="25"/>
                  <a:pt x="653" y="39"/>
                  <a:pt x="661" y="56"/>
                </a:cubicBezTo>
                <a:cubicBezTo>
                  <a:pt x="669" y="74"/>
                  <a:pt x="673" y="95"/>
                  <a:pt x="673" y="117"/>
                </a:cubicBezTo>
                <a:cubicBezTo>
                  <a:pt x="673" y="140"/>
                  <a:pt x="669" y="161"/>
                  <a:pt x="660" y="179"/>
                </a:cubicBezTo>
                <a:cubicBezTo>
                  <a:pt x="652" y="197"/>
                  <a:pt x="640" y="211"/>
                  <a:pt x="624" y="220"/>
                </a:cubicBezTo>
                <a:cubicBezTo>
                  <a:pt x="608" y="230"/>
                  <a:pt x="591" y="234"/>
                  <a:pt x="572" y="234"/>
                </a:cubicBezTo>
                <a:cubicBezTo>
                  <a:pt x="552" y="234"/>
                  <a:pt x="534" y="229"/>
                  <a:pt x="519" y="219"/>
                </a:cubicBezTo>
                <a:cubicBezTo>
                  <a:pt x="503" y="209"/>
                  <a:pt x="491" y="195"/>
                  <a:pt x="483" y="177"/>
                </a:cubicBezTo>
                <a:cubicBezTo>
                  <a:pt x="475" y="159"/>
                  <a:pt x="471" y="140"/>
                  <a:pt x="471" y="120"/>
                </a:cubicBezTo>
                <a:close/>
                <a:moveTo>
                  <a:pt x="500" y="121"/>
                </a:moveTo>
                <a:cubicBezTo>
                  <a:pt x="500" y="148"/>
                  <a:pt x="507" y="169"/>
                  <a:pt x="520" y="185"/>
                </a:cubicBezTo>
                <a:cubicBezTo>
                  <a:pt x="534" y="201"/>
                  <a:pt x="551" y="209"/>
                  <a:pt x="572" y="209"/>
                </a:cubicBezTo>
                <a:cubicBezTo>
                  <a:pt x="593" y="209"/>
                  <a:pt x="610" y="201"/>
                  <a:pt x="624" y="185"/>
                </a:cubicBezTo>
                <a:cubicBezTo>
                  <a:pt x="638" y="169"/>
                  <a:pt x="645" y="147"/>
                  <a:pt x="645" y="117"/>
                </a:cubicBezTo>
                <a:cubicBezTo>
                  <a:pt x="645" y="99"/>
                  <a:pt x="642" y="83"/>
                  <a:pt x="636" y="69"/>
                </a:cubicBezTo>
                <a:cubicBezTo>
                  <a:pt x="630" y="55"/>
                  <a:pt x="621" y="45"/>
                  <a:pt x="610" y="37"/>
                </a:cubicBezTo>
                <a:cubicBezTo>
                  <a:pt x="599" y="29"/>
                  <a:pt x="586" y="26"/>
                  <a:pt x="572" y="26"/>
                </a:cubicBezTo>
                <a:cubicBezTo>
                  <a:pt x="553" y="26"/>
                  <a:pt x="536" y="33"/>
                  <a:pt x="521" y="47"/>
                </a:cubicBezTo>
                <a:cubicBezTo>
                  <a:pt x="507" y="62"/>
                  <a:pt x="500" y="86"/>
                  <a:pt x="500" y="121"/>
                </a:cubicBezTo>
                <a:close/>
                <a:moveTo>
                  <a:pt x="712" y="231"/>
                </a:moveTo>
                <a:lnTo>
                  <a:pt x="712" y="87"/>
                </a:lnTo>
                <a:lnTo>
                  <a:pt x="689" y="87"/>
                </a:lnTo>
                <a:lnTo>
                  <a:pt x="689" y="66"/>
                </a:lnTo>
                <a:lnTo>
                  <a:pt x="712" y="66"/>
                </a:lnTo>
                <a:lnTo>
                  <a:pt x="712" y="48"/>
                </a:lnTo>
                <a:cubicBezTo>
                  <a:pt x="712" y="37"/>
                  <a:pt x="713" y="29"/>
                  <a:pt x="715" y="24"/>
                </a:cubicBezTo>
                <a:cubicBezTo>
                  <a:pt x="718" y="17"/>
                  <a:pt x="722" y="11"/>
                  <a:pt x="728" y="6"/>
                </a:cubicBezTo>
                <a:cubicBezTo>
                  <a:pt x="735" y="2"/>
                  <a:pt x="743" y="0"/>
                  <a:pt x="755" y="0"/>
                </a:cubicBezTo>
                <a:cubicBezTo>
                  <a:pt x="762" y="0"/>
                  <a:pt x="770" y="0"/>
                  <a:pt x="779" y="2"/>
                </a:cubicBezTo>
                <a:lnTo>
                  <a:pt x="775" y="27"/>
                </a:lnTo>
                <a:cubicBezTo>
                  <a:pt x="770" y="26"/>
                  <a:pt x="765" y="25"/>
                  <a:pt x="760" y="25"/>
                </a:cubicBezTo>
                <a:cubicBezTo>
                  <a:pt x="752" y="25"/>
                  <a:pt x="746" y="27"/>
                  <a:pt x="743" y="31"/>
                </a:cubicBezTo>
                <a:cubicBezTo>
                  <a:pt x="740" y="34"/>
                  <a:pt x="738" y="41"/>
                  <a:pt x="738" y="51"/>
                </a:cubicBezTo>
                <a:lnTo>
                  <a:pt x="738" y="66"/>
                </a:lnTo>
                <a:lnTo>
                  <a:pt x="768" y="66"/>
                </a:lnTo>
                <a:lnTo>
                  <a:pt x="768" y="87"/>
                </a:lnTo>
                <a:lnTo>
                  <a:pt x="739" y="87"/>
                </a:lnTo>
                <a:lnTo>
                  <a:pt x="739" y="231"/>
                </a:lnTo>
                <a:lnTo>
                  <a:pt x="712" y="231"/>
                </a:lnTo>
                <a:close/>
                <a:moveTo>
                  <a:pt x="795" y="231"/>
                </a:moveTo>
                <a:lnTo>
                  <a:pt x="795" y="87"/>
                </a:lnTo>
                <a:lnTo>
                  <a:pt x="772" y="87"/>
                </a:lnTo>
                <a:lnTo>
                  <a:pt x="772" y="66"/>
                </a:lnTo>
                <a:lnTo>
                  <a:pt x="795" y="66"/>
                </a:lnTo>
                <a:lnTo>
                  <a:pt x="795" y="48"/>
                </a:lnTo>
                <a:cubicBezTo>
                  <a:pt x="795" y="37"/>
                  <a:pt x="796" y="29"/>
                  <a:pt x="797" y="24"/>
                </a:cubicBezTo>
                <a:cubicBezTo>
                  <a:pt x="800" y="17"/>
                  <a:pt x="804" y="11"/>
                  <a:pt x="811" y="6"/>
                </a:cubicBezTo>
                <a:cubicBezTo>
                  <a:pt x="817" y="2"/>
                  <a:pt x="826" y="0"/>
                  <a:pt x="837" y="0"/>
                </a:cubicBezTo>
                <a:cubicBezTo>
                  <a:pt x="844" y="0"/>
                  <a:pt x="852" y="0"/>
                  <a:pt x="861" y="2"/>
                </a:cubicBezTo>
                <a:lnTo>
                  <a:pt x="857" y="27"/>
                </a:lnTo>
                <a:cubicBezTo>
                  <a:pt x="852" y="26"/>
                  <a:pt x="847" y="25"/>
                  <a:pt x="842" y="25"/>
                </a:cubicBezTo>
                <a:cubicBezTo>
                  <a:pt x="834" y="25"/>
                  <a:pt x="829" y="27"/>
                  <a:pt x="825" y="31"/>
                </a:cubicBezTo>
                <a:cubicBezTo>
                  <a:pt x="822" y="34"/>
                  <a:pt x="820" y="41"/>
                  <a:pt x="820" y="51"/>
                </a:cubicBezTo>
                <a:lnTo>
                  <a:pt x="820" y="66"/>
                </a:lnTo>
                <a:lnTo>
                  <a:pt x="850" y="66"/>
                </a:lnTo>
                <a:lnTo>
                  <a:pt x="850" y="87"/>
                </a:lnTo>
                <a:lnTo>
                  <a:pt x="821" y="87"/>
                </a:lnTo>
                <a:lnTo>
                  <a:pt x="821" y="231"/>
                </a:lnTo>
                <a:lnTo>
                  <a:pt x="795" y="2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7" name="Freeform 67">
            <a:extLst>
              <a:ext uri="{FF2B5EF4-FFF2-40B4-BE49-F238E27FC236}">
                <a16:creationId xmlns:a16="http://schemas.microsoft.com/office/drawing/2014/main" id="{0CDA4CCB-3DF8-4753-8346-62CF5854ADA3}"/>
              </a:ext>
            </a:extLst>
          </p:cNvPr>
          <p:cNvSpPr>
            <a:spLocks noEditPoints="1"/>
          </p:cNvSpPr>
          <p:nvPr/>
        </p:nvSpPr>
        <p:spPr bwMode="auto">
          <a:xfrm>
            <a:off x="5014913" y="6083301"/>
            <a:ext cx="546100" cy="220663"/>
          </a:xfrm>
          <a:custGeom>
            <a:avLst/>
            <a:gdLst>
              <a:gd name="T0" fmla="*/ 276 w 1516"/>
              <a:gd name="T1" fmla="*/ 35 h 611"/>
              <a:gd name="T2" fmla="*/ 120 w 1516"/>
              <a:gd name="T3" fmla="*/ 227 h 611"/>
              <a:gd name="T4" fmla="*/ 28 w 1516"/>
              <a:gd name="T5" fmla="*/ 414 h 611"/>
              <a:gd name="T6" fmla="*/ 158 w 1516"/>
              <a:gd name="T7" fmla="*/ 545 h 611"/>
              <a:gd name="T8" fmla="*/ 244 w 1516"/>
              <a:gd name="T9" fmla="*/ 512 h 611"/>
              <a:gd name="T10" fmla="*/ 437 w 1516"/>
              <a:gd name="T11" fmla="*/ 491 h 611"/>
              <a:gd name="T12" fmla="*/ 344 w 1516"/>
              <a:gd name="T13" fmla="*/ 399 h 611"/>
              <a:gd name="T14" fmla="*/ 365 w 1516"/>
              <a:gd name="T15" fmla="*/ 511 h 611"/>
              <a:gd name="T16" fmla="*/ 428 w 1516"/>
              <a:gd name="T17" fmla="*/ 416 h 611"/>
              <a:gd name="T18" fmla="*/ 520 w 1516"/>
              <a:gd name="T19" fmla="*/ 380 h 611"/>
              <a:gd name="T20" fmla="*/ 552 w 1516"/>
              <a:gd name="T21" fmla="*/ 405 h 611"/>
              <a:gd name="T22" fmla="*/ 594 w 1516"/>
              <a:gd name="T23" fmla="*/ 608 h 611"/>
              <a:gd name="T24" fmla="*/ 639 w 1516"/>
              <a:gd name="T25" fmla="*/ 545 h 611"/>
              <a:gd name="T26" fmla="*/ 695 w 1516"/>
              <a:gd name="T27" fmla="*/ 380 h 611"/>
              <a:gd name="T28" fmla="*/ 594 w 1516"/>
              <a:gd name="T29" fmla="*/ 608 h 611"/>
              <a:gd name="T30" fmla="*/ 796 w 1516"/>
              <a:gd name="T31" fmla="*/ 477 h 611"/>
              <a:gd name="T32" fmla="*/ 913 w 1516"/>
              <a:gd name="T33" fmla="*/ 380 h 611"/>
              <a:gd name="T34" fmla="*/ 802 w 1516"/>
              <a:gd name="T35" fmla="*/ 545 h 611"/>
              <a:gd name="T36" fmla="*/ 1032 w 1516"/>
              <a:gd name="T37" fmla="*/ 377 h 611"/>
              <a:gd name="T38" fmla="*/ 1059 w 1516"/>
              <a:gd name="T39" fmla="*/ 441 h 611"/>
              <a:gd name="T40" fmla="*/ 986 w 1516"/>
              <a:gd name="T41" fmla="*/ 545 h 611"/>
              <a:gd name="T42" fmla="*/ 1136 w 1516"/>
              <a:gd name="T43" fmla="*/ 526 h 611"/>
              <a:gd name="T44" fmla="*/ 1257 w 1516"/>
              <a:gd name="T45" fmla="*/ 470 h 611"/>
              <a:gd name="T46" fmla="*/ 1144 w 1516"/>
              <a:gd name="T47" fmla="*/ 447 h 611"/>
              <a:gd name="T48" fmla="*/ 1289 w 1516"/>
              <a:gd name="T49" fmla="*/ 545 h 611"/>
              <a:gd name="T50" fmla="*/ 1372 w 1516"/>
              <a:gd name="T51" fmla="*/ 385 h 611"/>
              <a:gd name="T52" fmla="*/ 1315 w 1516"/>
              <a:gd name="T53" fmla="*/ 545 h 611"/>
              <a:gd name="T54" fmla="*/ 1394 w 1516"/>
              <a:gd name="T55" fmla="*/ 526 h 611"/>
              <a:gd name="T56" fmla="*/ 1516 w 1516"/>
              <a:gd name="T57" fmla="*/ 470 h 611"/>
              <a:gd name="T58" fmla="*/ 1403 w 1516"/>
              <a:gd name="T59" fmla="*/ 447 h 611"/>
              <a:gd name="T60" fmla="*/ 148 w 1516"/>
              <a:gd name="T61" fmla="*/ 108 h 611"/>
              <a:gd name="T62" fmla="*/ 202 w 1516"/>
              <a:gd name="T63" fmla="*/ 27 h 611"/>
              <a:gd name="T64" fmla="*/ 317 w 1516"/>
              <a:gd name="T65" fmla="*/ 218 h 611"/>
              <a:gd name="T66" fmla="*/ 411 w 1516"/>
              <a:gd name="T67" fmla="*/ 123 h 611"/>
              <a:gd name="T68" fmla="*/ 308 w 1516"/>
              <a:gd name="T69" fmla="*/ 110 h 611"/>
              <a:gd name="T70" fmla="*/ 436 w 1516"/>
              <a:gd name="T71" fmla="*/ 96 h 611"/>
              <a:gd name="T72" fmla="*/ 413 w 1516"/>
              <a:gd name="T73" fmla="*/ 207 h 611"/>
              <a:gd name="T74" fmla="*/ 340 w 1516"/>
              <a:gd name="T75" fmla="*/ 201 h 611"/>
              <a:gd name="T76" fmla="*/ 472 w 1516"/>
              <a:gd name="T77" fmla="*/ 291 h 611"/>
              <a:gd name="T78" fmla="*/ 516 w 1516"/>
              <a:gd name="T79" fmla="*/ 228 h 611"/>
              <a:gd name="T80" fmla="*/ 573 w 1516"/>
              <a:gd name="T81" fmla="*/ 63 h 611"/>
              <a:gd name="T82" fmla="*/ 472 w 1516"/>
              <a:gd name="T83" fmla="*/ 291 h 611"/>
              <a:gd name="T84" fmla="*/ 691 w 1516"/>
              <a:gd name="T85" fmla="*/ 59 h 611"/>
              <a:gd name="T86" fmla="*/ 829 w 1516"/>
              <a:gd name="T87" fmla="*/ 227 h 611"/>
              <a:gd name="T88" fmla="*/ 749 w 1516"/>
              <a:gd name="T89" fmla="*/ 95 h 611"/>
              <a:gd name="T90" fmla="*/ 685 w 1516"/>
              <a:gd name="T91" fmla="*/ 83 h 611"/>
              <a:gd name="T92" fmla="*/ 972 w 1516"/>
              <a:gd name="T93" fmla="*/ 174 h 611"/>
              <a:gd name="T94" fmla="*/ 878 w 1516"/>
              <a:gd name="T95" fmla="*/ 82 h 611"/>
              <a:gd name="T96" fmla="*/ 899 w 1516"/>
              <a:gd name="T97" fmla="*/ 194 h 611"/>
              <a:gd name="T98" fmla="*/ 962 w 1516"/>
              <a:gd name="T99" fmla="*/ 98 h 611"/>
              <a:gd name="T100" fmla="*/ 1055 w 1516"/>
              <a:gd name="T101" fmla="*/ 63 h 611"/>
              <a:gd name="T102" fmla="*/ 1156 w 1516"/>
              <a:gd name="T103" fmla="*/ 126 h 611"/>
              <a:gd name="T104" fmla="*/ 1098 w 1516"/>
              <a:gd name="T105" fmla="*/ 83 h 611"/>
              <a:gd name="T106" fmla="*/ 1256 w 1516"/>
              <a:gd name="T107" fmla="*/ 227 h 611"/>
              <a:gd name="T108" fmla="*/ 1181 w 1516"/>
              <a:gd name="T109" fmla="*/ 84 h 611"/>
              <a:gd name="T110" fmla="*/ 1253 w 1516"/>
              <a:gd name="T111" fmla="*/ 63 h 611"/>
              <a:gd name="T112" fmla="*/ 1241 w 1516"/>
              <a:gd name="T113" fmla="*/ 203 h 611"/>
              <a:gd name="T114" fmla="*/ 1360 w 1516"/>
              <a:gd name="T115" fmla="*/ 200 h 611"/>
              <a:gd name="T116" fmla="*/ 1272 w 1516"/>
              <a:gd name="T117" fmla="*/ 106 h 611"/>
              <a:gd name="T118" fmla="*/ 1381 w 1516"/>
              <a:gd name="T119" fmla="*/ 80 h 611"/>
              <a:gd name="T120" fmla="*/ 1298 w 1516"/>
              <a:gd name="T121" fmla="*/ 103 h 611"/>
              <a:gd name="T122" fmla="*/ 1396 w 1516"/>
              <a:gd name="T123" fmla="*/ 17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6" h="611">
                <a:moveTo>
                  <a:pt x="120" y="227"/>
                </a:moveTo>
                <a:lnTo>
                  <a:pt x="120" y="0"/>
                </a:lnTo>
                <a:lnTo>
                  <a:pt x="200" y="0"/>
                </a:lnTo>
                <a:cubicBezTo>
                  <a:pt x="214" y="0"/>
                  <a:pt x="225" y="1"/>
                  <a:pt x="232" y="2"/>
                </a:cubicBezTo>
                <a:cubicBezTo>
                  <a:pt x="243" y="4"/>
                  <a:pt x="252" y="8"/>
                  <a:pt x="259" y="13"/>
                </a:cubicBezTo>
                <a:cubicBezTo>
                  <a:pt x="266" y="18"/>
                  <a:pt x="271" y="25"/>
                  <a:pt x="276" y="35"/>
                </a:cubicBezTo>
                <a:cubicBezTo>
                  <a:pt x="280" y="44"/>
                  <a:pt x="282" y="54"/>
                  <a:pt x="282" y="66"/>
                </a:cubicBezTo>
                <a:cubicBezTo>
                  <a:pt x="282" y="85"/>
                  <a:pt x="276" y="101"/>
                  <a:pt x="265" y="115"/>
                </a:cubicBezTo>
                <a:cubicBezTo>
                  <a:pt x="253" y="128"/>
                  <a:pt x="233" y="135"/>
                  <a:pt x="203" y="135"/>
                </a:cubicBezTo>
                <a:lnTo>
                  <a:pt x="148" y="135"/>
                </a:lnTo>
                <a:lnTo>
                  <a:pt x="148" y="227"/>
                </a:lnTo>
                <a:lnTo>
                  <a:pt x="120" y="227"/>
                </a:lnTo>
                <a:close/>
                <a:moveTo>
                  <a:pt x="0" y="545"/>
                </a:moveTo>
                <a:lnTo>
                  <a:pt x="0" y="317"/>
                </a:lnTo>
                <a:lnTo>
                  <a:pt x="153" y="317"/>
                </a:lnTo>
                <a:lnTo>
                  <a:pt x="153" y="344"/>
                </a:lnTo>
                <a:lnTo>
                  <a:pt x="28" y="344"/>
                </a:lnTo>
                <a:lnTo>
                  <a:pt x="28" y="414"/>
                </a:lnTo>
                <a:lnTo>
                  <a:pt x="145" y="414"/>
                </a:lnTo>
                <a:lnTo>
                  <a:pt x="145" y="441"/>
                </a:lnTo>
                <a:lnTo>
                  <a:pt x="28" y="441"/>
                </a:lnTo>
                <a:lnTo>
                  <a:pt x="28" y="518"/>
                </a:lnTo>
                <a:lnTo>
                  <a:pt x="158" y="518"/>
                </a:lnTo>
                <a:lnTo>
                  <a:pt x="158" y="545"/>
                </a:lnTo>
                <a:lnTo>
                  <a:pt x="0" y="545"/>
                </a:lnTo>
                <a:close/>
                <a:moveTo>
                  <a:pt x="231" y="545"/>
                </a:moveTo>
                <a:lnTo>
                  <a:pt x="173" y="380"/>
                </a:lnTo>
                <a:lnTo>
                  <a:pt x="201" y="380"/>
                </a:lnTo>
                <a:lnTo>
                  <a:pt x="234" y="479"/>
                </a:lnTo>
                <a:cubicBezTo>
                  <a:pt x="237" y="489"/>
                  <a:pt x="241" y="500"/>
                  <a:pt x="244" y="512"/>
                </a:cubicBezTo>
                <a:cubicBezTo>
                  <a:pt x="246" y="503"/>
                  <a:pt x="249" y="493"/>
                  <a:pt x="253" y="481"/>
                </a:cubicBezTo>
                <a:lnTo>
                  <a:pt x="287" y="380"/>
                </a:lnTo>
                <a:lnTo>
                  <a:pt x="314" y="380"/>
                </a:lnTo>
                <a:lnTo>
                  <a:pt x="256" y="545"/>
                </a:lnTo>
                <a:lnTo>
                  <a:pt x="231" y="545"/>
                </a:lnTo>
                <a:close/>
                <a:moveTo>
                  <a:pt x="437" y="491"/>
                </a:moveTo>
                <a:lnTo>
                  <a:pt x="464" y="495"/>
                </a:lnTo>
                <a:cubicBezTo>
                  <a:pt x="460" y="512"/>
                  <a:pt x="452" y="525"/>
                  <a:pt x="441" y="534"/>
                </a:cubicBezTo>
                <a:cubicBezTo>
                  <a:pt x="429" y="544"/>
                  <a:pt x="415" y="548"/>
                  <a:pt x="397" y="548"/>
                </a:cubicBezTo>
                <a:cubicBezTo>
                  <a:pt x="374" y="548"/>
                  <a:pt x="357" y="541"/>
                  <a:pt x="344" y="526"/>
                </a:cubicBezTo>
                <a:cubicBezTo>
                  <a:pt x="331" y="511"/>
                  <a:pt x="324" y="491"/>
                  <a:pt x="324" y="464"/>
                </a:cubicBezTo>
                <a:cubicBezTo>
                  <a:pt x="324" y="436"/>
                  <a:pt x="331" y="415"/>
                  <a:pt x="344" y="399"/>
                </a:cubicBezTo>
                <a:cubicBezTo>
                  <a:pt x="357" y="384"/>
                  <a:pt x="374" y="377"/>
                  <a:pt x="395" y="377"/>
                </a:cubicBezTo>
                <a:cubicBezTo>
                  <a:pt x="416" y="377"/>
                  <a:pt x="433" y="384"/>
                  <a:pt x="446" y="399"/>
                </a:cubicBezTo>
                <a:cubicBezTo>
                  <a:pt x="459" y="414"/>
                  <a:pt x="465" y="435"/>
                  <a:pt x="465" y="462"/>
                </a:cubicBezTo>
                <a:cubicBezTo>
                  <a:pt x="465" y="464"/>
                  <a:pt x="465" y="466"/>
                  <a:pt x="465" y="470"/>
                </a:cubicBezTo>
                <a:lnTo>
                  <a:pt x="351" y="470"/>
                </a:lnTo>
                <a:cubicBezTo>
                  <a:pt x="352" y="488"/>
                  <a:pt x="356" y="501"/>
                  <a:pt x="365" y="511"/>
                </a:cubicBezTo>
                <a:cubicBezTo>
                  <a:pt x="373" y="521"/>
                  <a:pt x="384" y="525"/>
                  <a:pt x="397" y="525"/>
                </a:cubicBezTo>
                <a:cubicBezTo>
                  <a:pt x="406" y="525"/>
                  <a:pt x="415" y="523"/>
                  <a:pt x="421" y="517"/>
                </a:cubicBezTo>
                <a:cubicBezTo>
                  <a:pt x="428" y="512"/>
                  <a:pt x="433" y="503"/>
                  <a:pt x="437" y="491"/>
                </a:cubicBezTo>
                <a:close/>
                <a:moveTo>
                  <a:pt x="352" y="447"/>
                </a:moveTo>
                <a:lnTo>
                  <a:pt x="438" y="447"/>
                </a:lnTo>
                <a:cubicBezTo>
                  <a:pt x="436" y="433"/>
                  <a:pt x="433" y="422"/>
                  <a:pt x="428" y="416"/>
                </a:cubicBezTo>
                <a:cubicBezTo>
                  <a:pt x="419" y="405"/>
                  <a:pt x="409" y="399"/>
                  <a:pt x="396" y="399"/>
                </a:cubicBezTo>
                <a:cubicBezTo>
                  <a:pt x="384" y="399"/>
                  <a:pt x="374" y="404"/>
                  <a:pt x="366" y="412"/>
                </a:cubicBezTo>
                <a:cubicBezTo>
                  <a:pt x="357" y="421"/>
                  <a:pt x="353" y="432"/>
                  <a:pt x="352" y="447"/>
                </a:cubicBezTo>
                <a:close/>
                <a:moveTo>
                  <a:pt x="497" y="545"/>
                </a:moveTo>
                <a:lnTo>
                  <a:pt x="497" y="380"/>
                </a:lnTo>
                <a:lnTo>
                  <a:pt x="520" y="380"/>
                </a:lnTo>
                <a:lnTo>
                  <a:pt x="520" y="405"/>
                </a:lnTo>
                <a:cubicBezTo>
                  <a:pt x="526" y="394"/>
                  <a:pt x="532" y="386"/>
                  <a:pt x="537" y="382"/>
                </a:cubicBezTo>
                <a:cubicBezTo>
                  <a:pt x="542" y="378"/>
                  <a:pt x="547" y="377"/>
                  <a:pt x="553" y="377"/>
                </a:cubicBezTo>
                <a:cubicBezTo>
                  <a:pt x="562" y="377"/>
                  <a:pt x="571" y="379"/>
                  <a:pt x="580" y="385"/>
                </a:cubicBezTo>
                <a:lnTo>
                  <a:pt x="571" y="411"/>
                </a:lnTo>
                <a:cubicBezTo>
                  <a:pt x="565" y="407"/>
                  <a:pt x="558" y="405"/>
                  <a:pt x="552" y="405"/>
                </a:cubicBezTo>
                <a:cubicBezTo>
                  <a:pt x="546" y="405"/>
                  <a:pt x="541" y="407"/>
                  <a:pt x="537" y="411"/>
                </a:cubicBezTo>
                <a:cubicBezTo>
                  <a:pt x="532" y="415"/>
                  <a:pt x="529" y="420"/>
                  <a:pt x="527" y="426"/>
                </a:cubicBezTo>
                <a:cubicBezTo>
                  <a:pt x="524" y="436"/>
                  <a:pt x="523" y="447"/>
                  <a:pt x="523" y="459"/>
                </a:cubicBezTo>
                <a:lnTo>
                  <a:pt x="523" y="545"/>
                </a:lnTo>
                <a:lnTo>
                  <a:pt x="497" y="545"/>
                </a:lnTo>
                <a:close/>
                <a:moveTo>
                  <a:pt x="594" y="608"/>
                </a:moveTo>
                <a:lnTo>
                  <a:pt x="591" y="582"/>
                </a:lnTo>
                <a:cubicBezTo>
                  <a:pt x="597" y="584"/>
                  <a:pt x="602" y="585"/>
                  <a:pt x="606" y="585"/>
                </a:cubicBezTo>
                <a:cubicBezTo>
                  <a:pt x="612" y="585"/>
                  <a:pt x="617" y="584"/>
                  <a:pt x="620" y="582"/>
                </a:cubicBezTo>
                <a:cubicBezTo>
                  <a:pt x="624" y="580"/>
                  <a:pt x="627" y="577"/>
                  <a:pt x="629" y="573"/>
                </a:cubicBezTo>
                <a:cubicBezTo>
                  <a:pt x="630" y="570"/>
                  <a:pt x="633" y="563"/>
                  <a:pt x="637" y="552"/>
                </a:cubicBezTo>
                <a:cubicBezTo>
                  <a:pt x="637" y="551"/>
                  <a:pt x="638" y="548"/>
                  <a:pt x="639" y="545"/>
                </a:cubicBezTo>
                <a:lnTo>
                  <a:pt x="581" y="380"/>
                </a:lnTo>
                <a:lnTo>
                  <a:pt x="609" y="380"/>
                </a:lnTo>
                <a:lnTo>
                  <a:pt x="641" y="475"/>
                </a:lnTo>
                <a:cubicBezTo>
                  <a:pt x="645" y="487"/>
                  <a:pt x="648" y="500"/>
                  <a:pt x="652" y="513"/>
                </a:cubicBezTo>
                <a:cubicBezTo>
                  <a:pt x="655" y="501"/>
                  <a:pt x="658" y="488"/>
                  <a:pt x="663" y="476"/>
                </a:cubicBezTo>
                <a:lnTo>
                  <a:pt x="695" y="380"/>
                </a:lnTo>
                <a:lnTo>
                  <a:pt x="721" y="380"/>
                </a:lnTo>
                <a:lnTo>
                  <a:pt x="663" y="548"/>
                </a:lnTo>
                <a:cubicBezTo>
                  <a:pt x="657" y="566"/>
                  <a:pt x="652" y="578"/>
                  <a:pt x="649" y="585"/>
                </a:cubicBezTo>
                <a:cubicBezTo>
                  <a:pt x="644" y="594"/>
                  <a:pt x="639" y="601"/>
                  <a:pt x="633" y="605"/>
                </a:cubicBezTo>
                <a:cubicBezTo>
                  <a:pt x="627" y="609"/>
                  <a:pt x="619" y="611"/>
                  <a:pt x="611" y="611"/>
                </a:cubicBezTo>
                <a:cubicBezTo>
                  <a:pt x="606" y="611"/>
                  <a:pt x="601" y="610"/>
                  <a:pt x="594" y="608"/>
                </a:cubicBezTo>
                <a:close/>
                <a:moveTo>
                  <a:pt x="774" y="545"/>
                </a:moveTo>
                <a:lnTo>
                  <a:pt x="728" y="380"/>
                </a:lnTo>
                <a:lnTo>
                  <a:pt x="755" y="380"/>
                </a:lnTo>
                <a:lnTo>
                  <a:pt x="779" y="475"/>
                </a:lnTo>
                <a:lnTo>
                  <a:pt x="788" y="511"/>
                </a:lnTo>
                <a:cubicBezTo>
                  <a:pt x="788" y="509"/>
                  <a:pt x="791" y="497"/>
                  <a:pt x="796" y="477"/>
                </a:cubicBezTo>
                <a:lnTo>
                  <a:pt x="820" y="380"/>
                </a:lnTo>
                <a:lnTo>
                  <a:pt x="847" y="380"/>
                </a:lnTo>
                <a:lnTo>
                  <a:pt x="870" y="476"/>
                </a:lnTo>
                <a:lnTo>
                  <a:pt x="878" y="507"/>
                </a:lnTo>
                <a:lnTo>
                  <a:pt x="886" y="475"/>
                </a:lnTo>
                <a:lnTo>
                  <a:pt x="913" y="380"/>
                </a:lnTo>
                <a:lnTo>
                  <a:pt x="938" y="380"/>
                </a:lnTo>
                <a:lnTo>
                  <a:pt x="890" y="545"/>
                </a:lnTo>
                <a:lnTo>
                  <a:pt x="863" y="545"/>
                </a:lnTo>
                <a:lnTo>
                  <a:pt x="839" y="446"/>
                </a:lnTo>
                <a:lnTo>
                  <a:pt x="833" y="418"/>
                </a:lnTo>
                <a:lnTo>
                  <a:pt x="802" y="545"/>
                </a:lnTo>
                <a:lnTo>
                  <a:pt x="774" y="545"/>
                </a:lnTo>
                <a:close/>
                <a:moveTo>
                  <a:pt x="960" y="545"/>
                </a:moveTo>
                <a:lnTo>
                  <a:pt x="960" y="317"/>
                </a:lnTo>
                <a:lnTo>
                  <a:pt x="986" y="317"/>
                </a:lnTo>
                <a:lnTo>
                  <a:pt x="986" y="399"/>
                </a:lnTo>
                <a:cubicBezTo>
                  <a:pt x="998" y="384"/>
                  <a:pt x="1013" y="377"/>
                  <a:pt x="1032" y="377"/>
                </a:cubicBezTo>
                <a:cubicBezTo>
                  <a:pt x="1043" y="377"/>
                  <a:pt x="1053" y="379"/>
                  <a:pt x="1061" y="384"/>
                </a:cubicBezTo>
                <a:cubicBezTo>
                  <a:pt x="1070" y="389"/>
                  <a:pt x="1076" y="395"/>
                  <a:pt x="1079" y="404"/>
                </a:cubicBezTo>
                <a:cubicBezTo>
                  <a:pt x="1083" y="412"/>
                  <a:pt x="1085" y="424"/>
                  <a:pt x="1085" y="440"/>
                </a:cubicBezTo>
                <a:lnTo>
                  <a:pt x="1085" y="545"/>
                </a:lnTo>
                <a:lnTo>
                  <a:pt x="1059" y="545"/>
                </a:lnTo>
                <a:lnTo>
                  <a:pt x="1059" y="441"/>
                </a:lnTo>
                <a:cubicBezTo>
                  <a:pt x="1059" y="427"/>
                  <a:pt x="1056" y="417"/>
                  <a:pt x="1050" y="410"/>
                </a:cubicBezTo>
                <a:cubicBezTo>
                  <a:pt x="1045" y="404"/>
                  <a:pt x="1037" y="401"/>
                  <a:pt x="1026" y="401"/>
                </a:cubicBezTo>
                <a:cubicBezTo>
                  <a:pt x="1019" y="401"/>
                  <a:pt x="1012" y="403"/>
                  <a:pt x="1005" y="407"/>
                </a:cubicBezTo>
                <a:cubicBezTo>
                  <a:pt x="998" y="411"/>
                  <a:pt x="993" y="417"/>
                  <a:pt x="990" y="425"/>
                </a:cubicBezTo>
                <a:cubicBezTo>
                  <a:pt x="987" y="432"/>
                  <a:pt x="986" y="442"/>
                  <a:pt x="986" y="455"/>
                </a:cubicBezTo>
                <a:lnTo>
                  <a:pt x="986" y="545"/>
                </a:lnTo>
                <a:lnTo>
                  <a:pt x="960" y="545"/>
                </a:lnTo>
                <a:close/>
                <a:moveTo>
                  <a:pt x="1229" y="491"/>
                </a:moveTo>
                <a:lnTo>
                  <a:pt x="1256" y="495"/>
                </a:lnTo>
                <a:cubicBezTo>
                  <a:pt x="1252" y="512"/>
                  <a:pt x="1244" y="525"/>
                  <a:pt x="1233" y="534"/>
                </a:cubicBezTo>
                <a:cubicBezTo>
                  <a:pt x="1221" y="544"/>
                  <a:pt x="1207" y="548"/>
                  <a:pt x="1189" y="548"/>
                </a:cubicBezTo>
                <a:cubicBezTo>
                  <a:pt x="1167" y="548"/>
                  <a:pt x="1149" y="541"/>
                  <a:pt x="1136" y="526"/>
                </a:cubicBezTo>
                <a:cubicBezTo>
                  <a:pt x="1123" y="511"/>
                  <a:pt x="1116" y="491"/>
                  <a:pt x="1116" y="464"/>
                </a:cubicBezTo>
                <a:cubicBezTo>
                  <a:pt x="1116" y="436"/>
                  <a:pt x="1123" y="415"/>
                  <a:pt x="1136" y="399"/>
                </a:cubicBezTo>
                <a:cubicBezTo>
                  <a:pt x="1149" y="384"/>
                  <a:pt x="1166" y="377"/>
                  <a:pt x="1187" y="377"/>
                </a:cubicBezTo>
                <a:cubicBezTo>
                  <a:pt x="1208" y="377"/>
                  <a:pt x="1225" y="384"/>
                  <a:pt x="1238" y="399"/>
                </a:cubicBezTo>
                <a:cubicBezTo>
                  <a:pt x="1251" y="414"/>
                  <a:pt x="1257" y="435"/>
                  <a:pt x="1257" y="462"/>
                </a:cubicBezTo>
                <a:cubicBezTo>
                  <a:pt x="1257" y="464"/>
                  <a:pt x="1257" y="466"/>
                  <a:pt x="1257" y="470"/>
                </a:cubicBezTo>
                <a:lnTo>
                  <a:pt x="1143" y="470"/>
                </a:lnTo>
                <a:cubicBezTo>
                  <a:pt x="1144" y="488"/>
                  <a:pt x="1148" y="501"/>
                  <a:pt x="1157" y="511"/>
                </a:cubicBezTo>
                <a:cubicBezTo>
                  <a:pt x="1165" y="521"/>
                  <a:pt x="1176" y="525"/>
                  <a:pt x="1189" y="525"/>
                </a:cubicBezTo>
                <a:cubicBezTo>
                  <a:pt x="1198" y="525"/>
                  <a:pt x="1207" y="523"/>
                  <a:pt x="1213" y="517"/>
                </a:cubicBezTo>
                <a:cubicBezTo>
                  <a:pt x="1220" y="512"/>
                  <a:pt x="1225" y="503"/>
                  <a:pt x="1229" y="491"/>
                </a:cubicBezTo>
                <a:close/>
                <a:moveTo>
                  <a:pt x="1144" y="447"/>
                </a:moveTo>
                <a:lnTo>
                  <a:pt x="1230" y="447"/>
                </a:lnTo>
                <a:cubicBezTo>
                  <a:pt x="1228" y="433"/>
                  <a:pt x="1225" y="422"/>
                  <a:pt x="1220" y="416"/>
                </a:cubicBezTo>
                <a:cubicBezTo>
                  <a:pt x="1212" y="405"/>
                  <a:pt x="1201" y="399"/>
                  <a:pt x="1188" y="399"/>
                </a:cubicBezTo>
                <a:cubicBezTo>
                  <a:pt x="1176" y="399"/>
                  <a:pt x="1166" y="404"/>
                  <a:pt x="1158" y="412"/>
                </a:cubicBezTo>
                <a:cubicBezTo>
                  <a:pt x="1149" y="421"/>
                  <a:pt x="1145" y="432"/>
                  <a:pt x="1144" y="447"/>
                </a:cubicBezTo>
                <a:close/>
                <a:moveTo>
                  <a:pt x="1289" y="545"/>
                </a:moveTo>
                <a:lnTo>
                  <a:pt x="1289" y="380"/>
                </a:lnTo>
                <a:lnTo>
                  <a:pt x="1312" y="380"/>
                </a:lnTo>
                <a:lnTo>
                  <a:pt x="1312" y="405"/>
                </a:lnTo>
                <a:cubicBezTo>
                  <a:pt x="1318" y="394"/>
                  <a:pt x="1324" y="386"/>
                  <a:pt x="1329" y="382"/>
                </a:cubicBezTo>
                <a:cubicBezTo>
                  <a:pt x="1334" y="378"/>
                  <a:pt x="1339" y="377"/>
                  <a:pt x="1345" y="377"/>
                </a:cubicBezTo>
                <a:cubicBezTo>
                  <a:pt x="1354" y="377"/>
                  <a:pt x="1363" y="379"/>
                  <a:pt x="1372" y="385"/>
                </a:cubicBezTo>
                <a:lnTo>
                  <a:pt x="1363" y="411"/>
                </a:lnTo>
                <a:cubicBezTo>
                  <a:pt x="1357" y="407"/>
                  <a:pt x="1350" y="405"/>
                  <a:pt x="1344" y="405"/>
                </a:cubicBezTo>
                <a:cubicBezTo>
                  <a:pt x="1338" y="405"/>
                  <a:pt x="1333" y="407"/>
                  <a:pt x="1329" y="411"/>
                </a:cubicBezTo>
                <a:cubicBezTo>
                  <a:pt x="1324" y="415"/>
                  <a:pt x="1321" y="420"/>
                  <a:pt x="1319" y="426"/>
                </a:cubicBezTo>
                <a:cubicBezTo>
                  <a:pt x="1316" y="436"/>
                  <a:pt x="1315" y="447"/>
                  <a:pt x="1315" y="459"/>
                </a:cubicBezTo>
                <a:lnTo>
                  <a:pt x="1315" y="545"/>
                </a:lnTo>
                <a:lnTo>
                  <a:pt x="1289" y="545"/>
                </a:lnTo>
                <a:close/>
                <a:moveTo>
                  <a:pt x="1488" y="491"/>
                </a:moveTo>
                <a:lnTo>
                  <a:pt x="1515" y="495"/>
                </a:lnTo>
                <a:cubicBezTo>
                  <a:pt x="1511" y="512"/>
                  <a:pt x="1503" y="525"/>
                  <a:pt x="1491" y="534"/>
                </a:cubicBezTo>
                <a:cubicBezTo>
                  <a:pt x="1480" y="544"/>
                  <a:pt x="1465" y="548"/>
                  <a:pt x="1447" y="548"/>
                </a:cubicBezTo>
                <a:cubicBezTo>
                  <a:pt x="1425" y="548"/>
                  <a:pt x="1407" y="541"/>
                  <a:pt x="1394" y="526"/>
                </a:cubicBezTo>
                <a:cubicBezTo>
                  <a:pt x="1381" y="511"/>
                  <a:pt x="1375" y="491"/>
                  <a:pt x="1375" y="464"/>
                </a:cubicBezTo>
                <a:cubicBezTo>
                  <a:pt x="1375" y="436"/>
                  <a:pt x="1381" y="415"/>
                  <a:pt x="1394" y="399"/>
                </a:cubicBezTo>
                <a:cubicBezTo>
                  <a:pt x="1408" y="384"/>
                  <a:pt x="1425" y="377"/>
                  <a:pt x="1446" y="377"/>
                </a:cubicBezTo>
                <a:cubicBezTo>
                  <a:pt x="1467" y="377"/>
                  <a:pt x="1483" y="384"/>
                  <a:pt x="1496" y="399"/>
                </a:cubicBezTo>
                <a:cubicBezTo>
                  <a:pt x="1509" y="414"/>
                  <a:pt x="1516" y="435"/>
                  <a:pt x="1516" y="462"/>
                </a:cubicBezTo>
                <a:cubicBezTo>
                  <a:pt x="1516" y="464"/>
                  <a:pt x="1516" y="466"/>
                  <a:pt x="1516" y="470"/>
                </a:cubicBezTo>
                <a:lnTo>
                  <a:pt x="1401" y="470"/>
                </a:lnTo>
                <a:cubicBezTo>
                  <a:pt x="1402" y="488"/>
                  <a:pt x="1407" y="501"/>
                  <a:pt x="1415" y="511"/>
                </a:cubicBezTo>
                <a:cubicBezTo>
                  <a:pt x="1424" y="521"/>
                  <a:pt x="1435" y="525"/>
                  <a:pt x="1447" y="525"/>
                </a:cubicBezTo>
                <a:cubicBezTo>
                  <a:pt x="1457" y="525"/>
                  <a:pt x="1465" y="523"/>
                  <a:pt x="1472" y="517"/>
                </a:cubicBezTo>
                <a:cubicBezTo>
                  <a:pt x="1479" y="512"/>
                  <a:pt x="1484" y="503"/>
                  <a:pt x="1488" y="491"/>
                </a:cubicBezTo>
                <a:close/>
                <a:moveTo>
                  <a:pt x="1403" y="447"/>
                </a:moveTo>
                <a:lnTo>
                  <a:pt x="1488" y="447"/>
                </a:lnTo>
                <a:cubicBezTo>
                  <a:pt x="1487" y="433"/>
                  <a:pt x="1484" y="422"/>
                  <a:pt x="1478" y="416"/>
                </a:cubicBezTo>
                <a:cubicBezTo>
                  <a:pt x="1470" y="405"/>
                  <a:pt x="1459" y="399"/>
                  <a:pt x="1446" y="399"/>
                </a:cubicBezTo>
                <a:cubicBezTo>
                  <a:pt x="1434" y="399"/>
                  <a:pt x="1424" y="404"/>
                  <a:pt x="1416" y="412"/>
                </a:cubicBezTo>
                <a:cubicBezTo>
                  <a:pt x="1408" y="421"/>
                  <a:pt x="1404" y="432"/>
                  <a:pt x="1403" y="447"/>
                </a:cubicBezTo>
                <a:close/>
                <a:moveTo>
                  <a:pt x="148" y="108"/>
                </a:moveTo>
                <a:lnTo>
                  <a:pt x="203" y="108"/>
                </a:lnTo>
                <a:cubicBezTo>
                  <a:pt x="221" y="108"/>
                  <a:pt x="234" y="104"/>
                  <a:pt x="242" y="97"/>
                </a:cubicBezTo>
                <a:cubicBezTo>
                  <a:pt x="249" y="90"/>
                  <a:pt x="253" y="80"/>
                  <a:pt x="253" y="66"/>
                </a:cubicBezTo>
                <a:cubicBezTo>
                  <a:pt x="253" y="57"/>
                  <a:pt x="251" y="49"/>
                  <a:pt x="246" y="42"/>
                </a:cubicBezTo>
                <a:cubicBezTo>
                  <a:pt x="242" y="35"/>
                  <a:pt x="236" y="31"/>
                  <a:pt x="229" y="29"/>
                </a:cubicBezTo>
                <a:cubicBezTo>
                  <a:pt x="224" y="27"/>
                  <a:pt x="215" y="27"/>
                  <a:pt x="202" y="27"/>
                </a:cubicBezTo>
                <a:lnTo>
                  <a:pt x="148" y="27"/>
                </a:lnTo>
                <a:lnTo>
                  <a:pt x="148" y="108"/>
                </a:lnTo>
                <a:close/>
                <a:moveTo>
                  <a:pt x="413" y="207"/>
                </a:moveTo>
                <a:cubicBezTo>
                  <a:pt x="403" y="215"/>
                  <a:pt x="394" y="222"/>
                  <a:pt x="385" y="225"/>
                </a:cubicBezTo>
                <a:cubicBezTo>
                  <a:pt x="376" y="229"/>
                  <a:pt x="367" y="231"/>
                  <a:pt x="356" y="231"/>
                </a:cubicBezTo>
                <a:cubicBezTo>
                  <a:pt x="340" y="231"/>
                  <a:pt x="327" y="226"/>
                  <a:pt x="317" y="218"/>
                </a:cubicBezTo>
                <a:cubicBezTo>
                  <a:pt x="308" y="209"/>
                  <a:pt x="304" y="198"/>
                  <a:pt x="304" y="184"/>
                </a:cubicBezTo>
                <a:cubicBezTo>
                  <a:pt x="304" y="176"/>
                  <a:pt x="306" y="168"/>
                  <a:pt x="309" y="162"/>
                </a:cubicBezTo>
                <a:cubicBezTo>
                  <a:pt x="312" y="155"/>
                  <a:pt x="317" y="150"/>
                  <a:pt x="322" y="146"/>
                </a:cubicBezTo>
                <a:cubicBezTo>
                  <a:pt x="328" y="142"/>
                  <a:pt x="334" y="139"/>
                  <a:pt x="341" y="137"/>
                </a:cubicBezTo>
                <a:cubicBezTo>
                  <a:pt x="346" y="135"/>
                  <a:pt x="354" y="134"/>
                  <a:pt x="364" y="132"/>
                </a:cubicBezTo>
                <a:cubicBezTo>
                  <a:pt x="385" y="130"/>
                  <a:pt x="401" y="127"/>
                  <a:pt x="411" y="123"/>
                </a:cubicBezTo>
                <a:cubicBezTo>
                  <a:pt x="411" y="119"/>
                  <a:pt x="411" y="117"/>
                  <a:pt x="411" y="116"/>
                </a:cubicBezTo>
                <a:cubicBezTo>
                  <a:pt x="411" y="104"/>
                  <a:pt x="408" y="96"/>
                  <a:pt x="404" y="92"/>
                </a:cubicBezTo>
                <a:cubicBezTo>
                  <a:pt x="397" y="85"/>
                  <a:pt x="387" y="82"/>
                  <a:pt x="374" y="82"/>
                </a:cubicBezTo>
                <a:cubicBezTo>
                  <a:pt x="362" y="82"/>
                  <a:pt x="353" y="85"/>
                  <a:pt x="347" y="89"/>
                </a:cubicBezTo>
                <a:cubicBezTo>
                  <a:pt x="341" y="94"/>
                  <a:pt x="337" y="102"/>
                  <a:pt x="334" y="114"/>
                </a:cubicBezTo>
                <a:lnTo>
                  <a:pt x="308" y="110"/>
                </a:lnTo>
                <a:cubicBezTo>
                  <a:pt x="311" y="98"/>
                  <a:pt x="314" y="89"/>
                  <a:pt x="320" y="81"/>
                </a:cubicBezTo>
                <a:cubicBezTo>
                  <a:pt x="325" y="74"/>
                  <a:pt x="333" y="69"/>
                  <a:pt x="343" y="65"/>
                </a:cubicBezTo>
                <a:cubicBezTo>
                  <a:pt x="353" y="61"/>
                  <a:pt x="364" y="59"/>
                  <a:pt x="378" y="59"/>
                </a:cubicBezTo>
                <a:cubicBezTo>
                  <a:pt x="391" y="59"/>
                  <a:pt x="402" y="61"/>
                  <a:pt x="410" y="64"/>
                </a:cubicBezTo>
                <a:cubicBezTo>
                  <a:pt x="418" y="67"/>
                  <a:pt x="424" y="71"/>
                  <a:pt x="428" y="76"/>
                </a:cubicBezTo>
                <a:cubicBezTo>
                  <a:pt x="432" y="82"/>
                  <a:pt x="434" y="88"/>
                  <a:pt x="436" y="96"/>
                </a:cubicBezTo>
                <a:cubicBezTo>
                  <a:pt x="437" y="100"/>
                  <a:pt x="437" y="109"/>
                  <a:pt x="437" y="121"/>
                </a:cubicBezTo>
                <a:lnTo>
                  <a:pt x="437" y="158"/>
                </a:lnTo>
                <a:cubicBezTo>
                  <a:pt x="437" y="184"/>
                  <a:pt x="438" y="200"/>
                  <a:pt x="439" y="207"/>
                </a:cubicBezTo>
                <a:cubicBezTo>
                  <a:pt x="440" y="214"/>
                  <a:pt x="442" y="221"/>
                  <a:pt x="445" y="227"/>
                </a:cubicBezTo>
                <a:lnTo>
                  <a:pt x="418" y="227"/>
                </a:lnTo>
                <a:cubicBezTo>
                  <a:pt x="415" y="221"/>
                  <a:pt x="414" y="215"/>
                  <a:pt x="413" y="207"/>
                </a:cubicBezTo>
                <a:close/>
                <a:moveTo>
                  <a:pt x="411" y="145"/>
                </a:moveTo>
                <a:cubicBezTo>
                  <a:pt x="401" y="149"/>
                  <a:pt x="387" y="152"/>
                  <a:pt x="368" y="155"/>
                </a:cubicBezTo>
                <a:cubicBezTo>
                  <a:pt x="358" y="157"/>
                  <a:pt x="350" y="159"/>
                  <a:pt x="346" y="161"/>
                </a:cubicBezTo>
                <a:cubicBezTo>
                  <a:pt x="341" y="163"/>
                  <a:pt x="338" y="166"/>
                  <a:pt x="335" y="170"/>
                </a:cubicBezTo>
                <a:cubicBezTo>
                  <a:pt x="333" y="174"/>
                  <a:pt x="332" y="178"/>
                  <a:pt x="332" y="183"/>
                </a:cubicBezTo>
                <a:cubicBezTo>
                  <a:pt x="332" y="190"/>
                  <a:pt x="334" y="197"/>
                  <a:pt x="340" y="201"/>
                </a:cubicBezTo>
                <a:cubicBezTo>
                  <a:pt x="345" y="206"/>
                  <a:pt x="353" y="209"/>
                  <a:pt x="363" y="209"/>
                </a:cubicBezTo>
                <a:cubicBezTo>
                  <a:pt x="373" y="209"/>
                  <a:pt x="382" y="207"/>
                  <a:pt x="389" y="202"/>
                </a:cubicBezTo>
                <a:cubicBezTo>
                  <a:pt x="397" y="197"/>
                  <a:pt x="403" y="191"/>
                  <a:pt x="407" y="183"/>
                </a:cubicBezTo>
                <a:cubicBezTo>
                  <a:pt x="409" y="176"/>
                  <a:pt x="411" y="167"/>
                  <a:pt x="411" y="155"/>
                </a:cubicBezTo>
                <a:lnTo>
                  <a:pt x="411" y="145"/>
                </a:lnTo>
                <a:close/>
                <a:moveTo>
                  <a:pt x="472" y="291"/>
                </a:moveTo>
                <a:lnTo>
                  <a:pt x="469" y="265"/>
                </a:lnTo>
                <a:cubicBezTo>
                  <a:pt x="474" y="266"/>
                  <a:pt x="479" y="267"/>
                  <a:pt x="484" y="267"/>
                </a:cubicBezTo>
                <a:cubicBezTo>
                  <a:pt x="489" y="267"/>
                  <a:pt x="494" y="266"/>
                  <a:pt x="497" y="264"/>
                </a:cubicBezTo>
                <a:cubicBezTo>
                  <a:pt x="501" y="262"/>
                  <a:pt x="504" y="259"/>
                  <a:pt x="506" y="255"/>
                </a:cubicBezTo>
                <a:cubicBezTo>
                  <a:pt x="508" y="253"/>
                  <a:pt x="510" y="246"/>
                  <a:pt x="514" y="235"/>
                </a:cubicBezTo>
                <a:cubicBezTo>
                  <a:pt x="515" y="233"/>
                  <a:pt x="515" y="231"/>
                  <a:pt x="516" y="228"/>
                </a:cubicBezTo>
                <a:lnTo>
                  <a:pt x="458" y="63"/>
                </a:lnTo>
                <a:lnTo>
                  <a:pt x="486" y="63"/>
                </a:lnTo>
                <a:lnTo>
                  <a:pt x="518" y="158"/>
                </a:lnTo>
                <a:cubicBezTo>
                  <a:pt x="522" y="170"/>
                  <a:pt x="526" y="182"/>
                  <a:pt x="529" y="196"/>
                </a:cubicBezTo>
                <a:cubicBezTo>
                  <a:pt x="532" y="183"/>
                  <a:pt x="536" y="171"/>
                  <a:pt x="540" y="159"/>
                </a:cubicBezTo>
                <a:lnTo>
                  <a:pt x="573" y="63"/>
                </a:lnTo>
                <a:lnTo>
                  <a:pt x="599" y="63"/>
                </a:lnTo>
                <a:lnTo>
                  <a:pt x="540" y="230"/>
                </a:lnTo>
                <a:cubicBezTo>
                  <a:pt x="534" y="248"/>
                  <a:pt x="529" y="261"/>
                  <a:pt x="526" y="267"/>
                </a:cubicBezTo>
                <a:cubicBezTo>
                  <a:pt x="521" y="277"/>
                  <a:pt x="516" y="283"/>
                  <a:pt x="510" y="288"/>
                </a:cubicBezTo>
                <a:cubicBezTo>
                  <a:pt x="504" y="292"/>
                  <a:pt x="497" y="294"/>
                  <a:pt x="488" y="294"/>
                </a:cubicBezTo>
                <a:cubicBezTo>
                  <a:pt x="483" y="294"/>
                  <a:pt x="478" y="293"/>
                  <a:pt x="472" y="291"/>
                </a:cubicBezTo>
                <a:close/>
                <a:moveTo>
                  <a:pt x="621" y="227"/>
                </a:moveTo>
                <a:lnTo>
                  <a:pt x="621" y="63"/>
                </a:lnTo>
                <a:lnTo>
                  <a:pt x="644" y="63"/>
                </a:lnTo>
                <a:lnTo>
                  <a:pt x="644" y="86"/>
                </a:lnTo>
                <a:cubicBezTo>
                  <a:pt x="649" y="78"/>
                  <a:pt x="655" y="71"/>
                  <a:pt x="663" y="66"/>
                </a:cubicBezTo>
                <a:cubicBezTo>
                  <a:pt x="671" y="61"/>
                  <a:pt x="680" y="59"/>
                  <a:pt x="691" y="59"/>
                </a:cubicBezTo>
                <a:cubicBezTo>
                  <a:pt x="702" y="59"/>
                  <a:pt x="711" y="62"/>
                  <a:pt x="718" y="67"/>
                </a:cubicBezTo>
                <a:cubicBezTo>
                  <a:pt x="726" y="72"/>
                  <a:pt x="731" y="79"/>
                  <a:pt x="734" y="88"/>
                </a:cubicBezTo>
                <a:cubicBezTo>
                  <a:pt x="746" y="69"/>
                  <a:pt x="762" y="59"/>
                  <a:pt x="781" y="59"/>
                </a:cubicBezTo>
                <a:cubicBezTo>
                  <a:pt x="797" y="59"/>
                  <a:pt x="808" y="64"/>
                  <a:pt x="817" y="73"/>
                </a:cubicBezTo>
                <a:cubicBezTo>
                  <a:pt x="825" y="82"/>
                  <a:pt x="829" y="96"/>
                  <a:pt x="829" y="114"/>
                </a:cubicBezTo>
                <a:lnTo>
                  <a:pt x="829" y="227"/>
                </a:lnTo>
                <a:lnTo>
                  <a:pt x="803" y="227"/>
                </a:lnTo>
                <a:lnTo>
                  <a:pt x="803" y="124"/>
                </a:lnTo>
                <a:cubicBezTo>
                  <a:pt x="803" y="112"/>
                  <a:pt x="802" y="104"/>
                  <a:pt x="800" y="100"/>
                </a:cubicBezTo>
                <a:cubicBezTo>
                  <a:pt x="799" y="95"/>
                  <a:pt x="796" y="91"/>
                  <a:pt x="791" y="88"/>
                </a:cubicBezTo>
                <a:cubicBezTo>
                  <a:pt x="787" y="85"/>
                  <a:pt x="782" y="83"/>
                  <a:pt x="776" y="83"/>
                </a:cubicBezTo>
                <a:cubicBezTo>
                  <a:pt x="765" y="83"/>
                  <a:pt x="756" y="87"/>
                  <a:pt x="749" y="95"/>
                </a:cubicBezTo>
                <a:cubicBezTo>
                  <a:pt x="741" y="102"/>
                  <a:pt x="738" y="115"/>
                  <a:pt x="738" y="132"/>
                </a:cubicBezTo>
                <a:lnTo>
                  <a:pt x="738" y="227"/>
                </a:lnTo>
                <a:lnTo>
                  <a:pt x="712" y="227"/>
                </a:lnTo>
                <a:lnTo>
                  <a:pt x="712" y="120"/>
                </a:lnTo>
                <a:cubicBezTo>
                  <a:pt x="712" y="108"/>
                  <a:pt x="710" y="99"/>
                  <a:pt x="705" y="92"/>
                </a:cubicBezTo>
                <a:cubicBezTo>
                  <a:pt x="701" y="86"/>
                  <a:pt x="694" y="83"/>
                  <a:pt x="685" y="83"/>
                </a:cubicBezTo>
                <a:cubicBezTo>
                  <a:pt x="677" y="83"/>
                  <a:pt x="671" y="85"/>
                  <a:pt x="664" y="89"/>
                </a:cubicBezTo>
                <a:cubicBezTo>
                  <a:pt x="658" y="93"/>
                  <a:pt x="654" y="100"/>
                  <a:pt x="651" y="107"/>
                </a:cubicBezTo>
                <a:cubicBezTo>
                  <a:pt x="648" y="115"/>
                  <a:pt x="647" y="127"/>
                  <a:pt x="647" y="142"/>
                </a:cubicBezTo>
                <a:lnTo>
                  <a:pt x="647" y="227"/>
                </a:lnTo>
                <a:lnTo>
                  <a:pt x="621" y="227"/>
                </a:lnTo>
                <a:close/>
                <a:moveTo>
                  <a:pt x="972" y="174"/>
                </a:moveTo>
                <a:lnTo>
                  <a:pt x="999" y="178"/>
                </a:lnTo>
                <a:cubicBezTo>
                  <a:pt x="995" y="195"/>
                  <a:pt x="987" y="208"/>
                  <a:pt x="975" y="217"/>
                </a:cubicBezTo>
                <a:cubicBezTo>
                  <a:pt x="964" y="226"/>
                  <a:pt x="949" y="231"/>
                  <a:pt x="931" y="231"/>
                </a:cubicBezTo>
                <a:cubicBezTo>
                  <a:pt x="909" y="231"/>
                  <a:pt x="891" y="223"/>
                  <a:pt x="878" y="209"/>
                </a:cubicBezTo>
                <a:cubicBezTo>
                  <a:pt x="865" y="194"/>
                  <a:pt x="859" y="173"/>
                  <a:pt x="859" y="146"/>
                </a:cubicBezTo>
                <a:cubicBezTo>
                  <a:pt x="859" y="119"/>
                  <a:pt x="865" y="97"/>
                  <a:pt x="878" y="82"/>
                </a:cubicBezTo>
                <a:cubicBezTo>
                  <a:pt x="892" y="67"/>
                  <a:pt x="909" y="59"/>
                  <a:pt x="930" y="59"/>
                </a:cubicBezTo>
                <a:cubicBezTo>
                  <a:pt x="951" y="59"/>
                  <a:pt x="967" y="66"/>
                  <a:pt x="980" y="81"/>
                </a:cubicBezTo>
                <a:cubicBezTo>
                  <a:pt x="993" y="96"/>
                  <a:pt x="1000" y="117"/>
                  <a:pt x="1000" y="145"/>
                </a:cubicBezTo>
                <a:cubicBezTo>
                  <a:pt x="1000" y="146"/>
                  <a:pt x="1000" y="149"/>
                  <a:pt x="1000" y="152"/>
                </a:cubicBezTo>
                <a:lnTo>
                  <a:pt x="885" y="152"/>
                </a:lnTo>
                <a:cubicBezTo>
                  <a:pt x="886" y="170"/>
                  <a:pt x="891" y="184"/>
                  <a:pt x="899" y="194"/>
                </a:cubicBezTo>
                <a:cubicBezTo>
                  <a:pt x="908" y="203"/>
                  <a:pt x="919" y="208"/>
                  <a:pt x="931" y="208"/>
                </a:cubicBezTo>
                <a:cubicBezTo>
                  <a:pt x="941" y="208"/>
                  <a:pt x="949" y="205"/>
                  <a:pt x="956" y="200"/>
                </a:cubicBezTo>
                <a:cubicBezTo>
                  <a:pt x="963" y="194"/>
                  <a:pt x="968" y="186"/>
                  <a:pt x="972" y="174"/>
                </a:cubicBezTo>
                <a:close/>
                <a:moveTo>
                  <a:pt x="887" y="129"/>
                </a:moveTo>
                <a:lnTo>
                  <a:pt x="972" y="129"/>
                </a:lnTo>
                <a:cubicBezTo>
                  <a:pt x="971" y="115"/>
                  <a:pt x="968" y="105"/>
                  <a:pt x="962" y="98"/>
                </a:cubicBezTo>
                <a:cubicBezTo>
                  <a:pt x="954" y="87"/>
                  <a:pt x="943" y="82"/>
                  <a:pt x="930" y="82"/>
                </a:cubicBezTo>
                <a:cubicBezTo>
                  <a:pt x="918" y="82"/>
                  <a:pt x="908" y="86"/>
                  <a:pt x="900" y="95"/>
                </a:cubicBezTo>
                <a:cubicBezTo>
                  <a:pt x="892" y="103"/>
                  <a:pt x="888" y="115"/>
                  <a:pt x="887" y="129"/>
                </a:cubicBezTo>
                <a:close/>
                <a:moveTo>
                  <a:pt x="1032" y="227"/>
                </a:moveTo>
                <a:lnTo>
                  <a:pt x="1032" y="63"/>
                </a:lnTo>
                <a:lnTo>
                  <a:pt x="1055" y="63"/>
                </a:lnTo>
                <a:lnTo>
                  <a:pt x="1055" y="86"/>
                </a:lnTo>
                <a:cubicBezTo>
                  <a:pt x="1066" y="68"/>
                  <a:pt x="1083" y="59"/>
                  <a:pt x="1104" y="59"/>
                </a:cubicBezTo>
                <a:cubicBezTo>
                  <a:pt x="1113" y="59"/>
                  <a:pt x="1122" y="61"/>
                  <a:pt x="1129" y="64"/>
                </a:cubicBezTo>
                <a:cubicBezTo>
                  <a:pt x="1137" y="68"/>
                  <a:pt x="1143" y="73"/>
                  <a:pt x="1147" y="78"/>
                </a:cubicBezTo>
                <a:cubicBezTo>
                  <a:pt x="1151" y="84"/>
                  <a:pt x="1153" y="91"/>
                  <a:pt x="1155" y="99"/>
                </a:cubicBezTo>
                <a:cubicBezTo>
                  <a:pt x="1156" y="104"/>
                  <a:pt x="1156" y="113"/>
                  <a:pt x="1156" y="126"/>
                </a:cubicBezTo>
                <a:lnTo>
                  <a:pt x="1156" y="227"/>
                </a:lnTo>
                <a:lnTo>
                  <a:pt x="1130" y="227"/>
                </a:lnTo>
                <a:lnTo>
                  <a:pt x="1130" y="127"/>
                </a:lnTo>
                <a:cubicBezTo>
                  <a:pt x="1130" y="116"/>
                  <a:pt x="1129" y="107"/>
                  <a:pt x="1127" y="102"/>
                </a:cubicBezTo>
                <a:cubicBezTo>
                  <a:pt x="1125" y="96"/>
                  <a:pt x="1122" y="92"/>
                  <a:pt x="1116" y="88"/>
                </a:cubicBezTo>
                <a:cubicBezTo>
                  <a:pt x="1111" y="85"/>
                  <a:pt x="1105" y="83"/>
                  <a:pt x="1098" y="83"/>
                </a:cubicBezTo>
                <a:cubicBezTo>
                  <a:pt x="1087" y="83"/>
                  <a:pt x="1078" y="87"/>
                  <a:pt x="1070" y="94"/>
                </a:cubicBezTo>
                <a:cubicBezTo>
                  <a:pt x="1062" y="102"/>
                  <a:pt x="1058" y="116"/>
                  <a:pt x="1058" y="137"/>
                </a:cubicBezTo>
                <a:lnTo>
                  <a:pt x="1058" y="227"/>
                </a:lnTo>
                <a:lnTo>
                  <a:pt x="1032" y="227"/>
                </a:lnTo>
                <a:close/>
                <a:moveTo>
                  <a:pt x="1253" y="202"/>
                </a:moveTo>
                <a:lnTo>
                  <a:pt x="1256" y="227"/>
                </a:lnTo>
                <a:cubicBezTo>
                  <a:pt x="1249" y="229"/>
                  <a:pt x="1242" y="230"/>
                  <a:pt x="1237" y="230"/>
                </a:cubicBezTo>
                <a:cubicBezTo>
                  <a:pt x="1227" y="230"/>
                  <a:pt x="1220" y="228"/>
                  <a:pt x="1215" y="225"/>
                </a:cubicBezTo>
                <a:cubicBezTo>
                  <a:pt x="1210" y="221"/>
                  <a:pt x="1206" y="217"/>
                  <a:pt x="1204" y="212"/>
                </a:cubicBezTo>
                <a:cubicBezTo>
                  <a:pt x="1202" y="207"/>
                  <a:pt x="1201" y="196"/>
                  <a:pt x="1201" y="179"/>
                </a:cubicBezTo>
                <a:lnTo>
                  <a:pt x="1201" y="84"/>
                </a:lnTo>
                <a:lnTo>
                  <a:pt x="1181" y="84"/>
                </a:lnTo>
                <a:lnTo>
                  <a:pt x="1181" y="63"/>
                </a:lnTo>
                <a:lnTo>
                  <a:pt x="1201" y="63"/>
                </a:lnTo>
                <a:lnTo>
                  <a:pt x="1201" y="22"/>
                </a:lnTo>
                <a:lnTo>
                  <a:pt x="1227" y="5"/>
                </a:lnTo>
                <a:lnTo>
                  <a:pt x="1227" y="63"/>
                </a:lnTo>
                <a:lnTo>
                  <a:pt x="1253" y="63"/>
                </a:lnTo>
                <a:lnTo>
                  <a:pt x="1253" y="84"/>
                </a:lnTo>
                <a:lnTo>
                  <a:pt x="1227" y="84"/>
                </a:lnTo>
                <a:lnTo>
                  <a:pt x="1227" y="181"/>
                </a:lnTo>
                <a:cubicBezTo>
                  <a:pt x="1227" y="189"/>
                  <a:pt x="1227" y="194"/>
                  <a:pt x="1228" y="196"/>
                </a:cubicBezTo>
                <a:cubicBezTo>
                  <a:pt x="1229" y="198"/>
                  <a:pt x="1230" y="200"/>
                  <a:pt x="1232" y="201"/>
                </a:cubicBezTo>
                <a:cubicBezTo>
                  <a:pt x="1235" y="203"/>
                  <a:pt x="1238" y="203"/>
                  <a:pt x="1241" y="203"/>
                </a:cubicBezTo>
                <a:cubicBezTo>
                  <a:pt x="1244" y="203"/>
                  <a:pt x="1248" y="203"/>
                  <a:pt x="1253" y="202"/>
                </a:cubicBezTo>
                <a:close/>
                <a:moveTo>
                  <a:pt x="1268" y="178"/>
                </a:moveTo>
                <a:lnTo>
                  <a:pt x="1294" y="174"/>
                </a:lnTo>
                <a:cubicBezTo>
                  <a:pt x="1295" y="185"/>
                  <a:pt x="1299" y="193"/>
                  <a:pt x="1306" y="199"/>
                </a:cubicBezTo>
                <a:cubicBezTo>
                  <a:pt x="1312" y="205"/>
                  <a:pt x="1322" y="208"/>
                  <a:pt x="1334" y="208"/>
                </a:cubicBezTo>
                <a:cubicBezTo>
                  <a:pt x="1346" y="208"/>
                  <a:pt x="1354" y="205"/>
                  <a:pt x="1360" y="200"/>
                </a:cubicBezTo>
                <a:cubicBezTo>
                  <a:pt x="1366" y="195"/>
                  <a:pt x="1369" y="189"/>
                  <a:pt x="1369" y="182"/>
                </a:cubicBezTo>
                <a:cubicBezTo>
                  <a:pt x="1369" y="175"/>
                  <a:pt x="1366" y="170"/>
                  <a:pt x="1361" y="167"/>
                </a:cubicBezTo>
                <a:cubicBezTo>
                  <a:pt x="1357" y="164"/>
                  <a:pt x="1349" y="161"/>
                  <a:pt x="1334" y="157"/>
                </a:cubicBezTo>
                <a:cubicBezTo>
                  <a:pt x="1315" y="152"/>
                  <a:pt x="1302" y="148"/>
                  <a:pt x="1295" y="144"/>
                </a:cubicBezTo>
                <a:cubicBezTo>
                  <a:pt x="1288" y="140"/>
                  <a:pt x="1282" y="135"/>
                  <a:pt x="1278" y="128"/>
                </a:cubicBezTo>
                <a:cubicBezTo>
                  <a:pt x="1274" y="122"/>
                  <a:pt x="1272" y="114"/>
                  <a:pt x="1272" y="106"/>
                </a:cubicBezTo>
                <a:cubicBezTo>
                  <a:pt x="1272" y="99"/>
                  <a:pt x="1274" y="92"/>
                  <a:pt x="1277" y="86"/>
                </a:cubicBezTo>
                <a:cubicBezTo>
                  <a:pt x="1280" y="80"/>
                  <a:pt x="1285" y="75"/>
                  <a:pt x="1290" y="70"/>
                </a:cubicBezTo>
                <a:cubicBezTo>
                  <a:pt x="1294" y="67"/>
                  <a:pt x="1299" y="65"/>
                  <a:pt x="1306" y="62"/>
                </a:cubicBezTo>
                <a:cubicBezTo>
                  <a:pt x="1313" y="60"/>
                  <a:pt x="1321" y="59"/>
                  <a:pt x="1329" y="59"/>
                </a:cubicBezTo>
                <a:cubicBezTo>
                  <a:pt x="1341" y="59"/>
                  <a:pt x="1351" y="61"/>
                  <a:pt x="1361" y="65"/>
                </a:cubicBezTo>
                <a:cubicBezTo>
                  <a:pt x="1370" y="68"/>
                  <a:pt x="1376" y="73"/>
                  <a:pt x="1381" y="80"/>
                </a:cubicBezTo>
                <a:cubicBezTo>
                  <a:pt x="1385" y="86"/>
                  <a:pt x="1388" y="95"/>
                  <a:pt x="1390" y="105"/>
                </a:cubicBezTo>
                <a:lnTo>
                  <a:pt x="1364" y="109"/>
                </a:lnTo>
                <a:cubicBezTo>
                  <a:pt x="1363" y="101"/>
                  <a:pt x="1360" y="94"/>
                  <a:pt x="1354" y="89"/>
                </a:cubicBezTo>
                <a:cubicBezTo>
                  <a:pt x="1349" y="84"/>
                  <a:pt x="1341" y="82"/>
                  <a:pt x="1331" y="82"/>
                </a:cubicBezTo>
                <a:cubicBezTo>
                  <a:pt x="1319" y="82"/>
                  <a:pt x="1310" y="84"/>
                  <a:pt x="1305" y="88"/>
                </a:cubicBezTo>
                <a:cubicBezTo>
                  <a:pt x="1300" y="92"/>
                  <a:pt x="1298" y="97"/>
                  <a:pt x="1298" y="103"/>
                </a:cubicBezTo>
                <a:cubicBezTo>
                  <a:pt x="1298" y="107"/>
                  <a:pt x="1299" y="110"/>
                  <a:pt x="1301" y="113"/>
                </a:cubicBezTo>
                <a:cubicBezTo>
                  <a:pt x="1303" y="116"/>
                  <a:pt x="1306" y="118"/>
                  <a:pt x="1311" y="120"/>
                </a:cubicBezTo>
                <a:cubicBezTo>
                  <a:pt x="1313" y="121"/>
                  <a:pt x="1321" y="124"/>
                  <a:pt x="1334" y="127"/>
                </a:cubicBezTo>
                <a:cubicBezTo>
                  <a:pt x="1352" y="133"/>
                  <a:pt x="1365" y="137"/>
                  <a:pt x="1372" y="140"/>
                </a:cubicBezTo>
                <a:cubicBezTo>
                  <a:pt x="1379" y="144"/>
                  <a:pt x="1385" y="149"/>
                  <a:pt x="1389" y="155"/>
                </a:cubicBezTo>
                <a:cubicBezTo>
                  <a:pt x="1393" y="161"/>
                  <a:pt x="1396" y="169"/>
                  <a:pt x="1396" y="179"/>
                </a:cubicBezTo>
                <a:cubicBezTo>
                  <a:pt x="1396" y="188"/>
                  <a:pt x="1393" y="197"/>
                  <a:pt x="1388" y="205"/>
                </a:cubicBezTo>
                <a:cubicBezTo>
                  <a:pt x="1383" y="213"/>
                  <a:pt x="1376" y="220"/>
                  <a:pt x="1366" y="224"/>
                </a:cubicBezTo>
                <a:cubicBezTo>
                  <a:pt x="1356" y="229"/>
                  <a:pt x="1346" y="231"/>
                  <a:pt x="1334" y="231"/>
                </a:cubicBezTo>
                <a:cubicBezTo>
                  <a:pt x="1314" y="231"/>
                  <a:pt x="1298" y="226"/>
                  <a:pt x="1288" y="218"/>
                </a:cubicBezTo>
                <a:cubicBezTo>
                  <a:pt x="1278" y="209"/>
                  <a:pt x="1271" y="195"/>
                  <a:pt x="1268" y="1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2" name="Freeform 72">
            <a:extLst>
              <a:ext uri="{FF2B5EF4-FFF2-40B4-BE49-F238E27FC236}">
                <a16:creationId xmlns:a16="http://schemas.microsoft.com/office/drawing/2014/main" id="{C9907C51-7607-474E-92DD-4E4F1BFEFA5E}"/>
              </a:ext>
            </a:extLst>
          </p:cNvPr>
          <p:cNvSpPr>
            <a:spLocks noEditPoints="1"/>
          </p:cNvSpPr>
          <p:nvPr/>
        </p:nvSpPr>
        <p:spPr bwMode="auto">
          <a:xfrm>
            <a:off x="5824538" y="5067301"/>
            <a:ext cx="406400" cy="196850"/>
          </a:xfrm>
          <a:custGeom>
            <a:avLst/>
            <a:gdLst>
              <a:gd name="T0" fmla="*/ 0 w 1130"/>
              <a:gd name="T1" fmla="*/ 0 h 548"/>
              <a:gd name="T2" fmla="*/ 98 w 1130"/>
              <a:gd name="T3" fmla="*/ 227 h 548"/>
              <a:gd name="T4" fmla="*/ 359 w 1130"/>
              <a:gd name="T5" fmla="*/ 317 h 548"/>
              <a:gd name="T6" fmla="*/ 441 w 1130"/>
              <a:gd name="T7" fmla="*/ 383 h 548"/>
              <a:gd name="T8" fmla="*/ 307 w 1130"/>
              <a:gd name="T9" fmla="*/ 545 h 548"/>
              <a:gd name="T10" fmla="*/ 400 w 1130"/>
              <a:gd name="T11" fmla="*/ 414 h 548"/>
              <a:gd name="T12" fmla="*/ 361 w 1130"/>
              <a:gd name="T13" fmla="*/ 344 h 548"/>
              <a:gd name="T14" fmla="*/ 459 w 1130"/>
              <a:gd name="T15" fmla="*/ 317 h 548"/>
              <a:gd name="T16" fmla="*/ 459 w 1130"/>
              <a:gd name="T17" fmla="*/ 545 h 548"/>
              <a:gd name="T18" fmla="*/ 459 w 1130"/>
              <a:gd name="T19" fmla="*/ 545 h 548"/>
              <a:gd name="T20" fmla="*/ 556 w 1130"/>
              <a:gd name="T21" fmla="*/ 478 h 548"/>
              <a:gd name="T22" fmla="*/ 636 w 1130"/>
              <a:gd name="T23" fmla="*/ 380 h 548"/>
              <a:gd name="T24" fmla="*/ 655 w 1130"/>
              <a:gd name="T25" fmla="*/ 395 h 548"/>
              <a:gd name="T26" fmla="*/ 766 w 1130"/>
              <a:gd name="T27" fmla="*/ 510 h 548"/>
              <a:gd name="T28" fmla="*/ 631 w 1130"/>
              <a:gd name="T29" fmla="*/ 462 h 548"/>
              <a:gd name="T30" fmla="*/ 735 w 1130"/>
              <a:gd name="T31" fmla="*/ 509 h 548"/>
              <a:gd name="T32" fmla="*/ 670 w 1130"/>
              <a:gd name="T33" fmla="*/ 415 h 548"/>
              <a:gd name="T34" fmla="*/ 832 w 1130"/>
              <a:gd name="T35" fmla="*/ 547 h 548"/>
              <a:gd name="T36" fmla="*/ 796 w 1130"/>
              <a:gd name="T37" fmla="*/ 401 h 548"/>
              <a:gd name="T38" fmla="*/ 796 w 1130"/>
              <a:gd name="T39" fmla="*/ 339 h 548"/>
              <a:gd name="T40" fmla="*/ 848 w 1130"/>
              <a:gd name="T41" fmla="*/ 401 h 548"/>
              <a:gd name="T42" fmla="*/ 828 w 1130"/>
              <a:gd name="T43" fmla="*/ 519 h 548"/>
              <a:gd name="T44" fmla="*/ 177 w 1130"/>
              <a:gd name="T45" fmla="*/ 0 h 548"/>
              <a:gd name="T46" fmla="*/ 177 w 1130"/>
              <a:gd name="T47" fmla="*/ 227 h 548"/>
              <a:gd name="T48" fmla="*/ 177 w 1130"/>
              <a:gd name="T49" fmla="*/ 227 h 548"/>
              <a:gd name="T50" fmla="*/ 252 w 1130"/>
              <a:gd name="T51" fmla="*/ 86 h 548"/>
              <a:gd name="T52" fmla="*/ 342 w 1130"/>
              <a:gd name="T53" fmla="*/ 88 h 548"/>
              <a:gd name="T54" fmla="*/ 437 w 1130"/>
              <a:gd name="T55" fmla="*/ 227 h 548"/>
              <a:gd name="T56" fmla="*/ 399 w 1130"/>
              <a:gd name="T57" fmla="*/ 87 h 548"/>
              <a:gd name="T58" fmla="*/ 346 w 1130"/>
              <a:gd name="T59" fmla="*/ 227 h 548"/>
              <a:gd name="T60" fmla="*/ 292 w 1130"/>
              <a:gd name="T61" fmla="*/ 83 h 548"/>
              <a:gd name="T62" fmla="*/ 255 w 1130"/>
              <a:gd name="T63" fmla="*/ 227 h 548"/>
              <a:gd name="T64" fmla="*/ 569 w 1130"/>
              <a:gd name="T65" fmla="*/ 217 h 548"/>
              <a:gd name="T66" fmla="*/ 472 w 1130"/>
              <a:gd name="T67" fmla="*/ 82 h 548"/>
              <a:gd name="T68" fmla="*/ 593 w 1130"/>
              <a:gd name="T69" fmla="*/ 152 h 548"/>
              <a:gd name="T70" fmla="*/ 550 w 1130"/>
              <a:gd name="T71" fmla="*/ 200 h 548"/>
              <a:gd name="T72" fmla="*/ 556 w 1130"/>
              <a:gd name="T73" fmla="*/ 98 h 548"/>
              <a:gd name="T74" fmla="*/ 737 w 1130"/>
              <a:gd name="T75" fmla="*/ 227 h 548"/>
              <a:gd name="T76" fmla="*/ 835 w 1130"/>
              <a:gd name="T77" fmla="*/ 0 h 548"/>
              <a:gd name="T78" fmla="*/ 737 w 1130"/>
              <a:gd name="T79" fmla="*/ 227 h 548"/>
              <a:gd name="T80" fmla="*/ 873 w 1130"/>
              <a:gd name="T81" fmla="*/ 82 h 548"/>
              <a:gd name="T82" fmla="*/ 972 w 1130"/>
              <a:gd name="T83" fmla="*/ 123 h 548"/>
              <a:gd name="T84" fmla="*/ 937 w 1130"/>
              <a:gd name="T85" fmla="*/ 92 h 548"/>
              <a:gd name="T86" fmla="*/ 873 w 1130"/>
              <a:gd name="T87" fmla="*/ 137 h 548"/>
              <a:gd name="T88" fmla="*/ 1130 w 1130"/>
              <a:gd name="T89" fmla="*/ 178 h 548"/>
              <a:gd name="T90" fmla="*/ 989 w 1130"/>
              <a:gd name="T91" fmla="*/ 146 h 548"/>
              <a:gd name="T92" fmla="*/ 1130 w 1130"/>
              <a:gd name="T93" fmla="*/ 144 h 548"/>
              <a:gd name="T94" fmla="*/ 1062 w 1130"/>
              <a:gd name="T95" fmla="*/ 208 h 548"/>
              <a:gd name="T96" fmla="*/ 1103 w 1130"/>
              <a:gd name="T97" fmla="*/ 129 h 548"/>
              <a:gd name="T98" fmla="*/ 1017 w 1130"/>
              <a:gd name="T99" fmla="*/ 129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130" h="548">
                <a:moveTo>
                  <a:pt x="70" y="227"/>
                </a:moveTo>
                <a:lnTo>
                  <a:pt x="70" y="26"/>
                </a:lnTo>
                <a:lnTo>
                  <a:pt x="0" y="26"/>
                </a:lnTo>
                <a:lnTo>
                  <a:pt x="0" y="0"/>
                </a:lnTo>
                <a:lnTo>
                  <a:pt x="168" y="0"/>
                </a:lnTo>
                <a:lnTo>
                  <a:pt x="168" y="26"/>
                </a:lnTo>
                <a:lnTo>
                  <a:pt x="98" y="26"/>
                </a:lnTo>
                <a:lnTo>
                  <a:pt x="98" y="227"/>
                </a:lnTo>
                <a:lnTo>
                  <a:pt x="70" y="227"/>
                </a:lnTo>
                <a:close/>
                <a:moveTo>
                  <a:pt x="279" y="545"/>
                </a:moveTo>
                <a:lnTo>
                  <a:pt x="279" y="317"/>
                </a:lnTo>
                <a:lnTo>
                  <a:pt x="359" y="317"/>
                </a:lnTo>
                <a:cubicBezTo>
                  <a:pt x="373" y="317"/>
                  <a:pt x="384" y="318"/>
                  <a:pt x="391" y="319"/>
                </a:cubicBezTo>
                <a:cubicBezTo>
                  <a:pt x="401" y="321"/>
                  <a:pt x="410" y="325"/>
                  <a:pt x="417" y="330"/>
                </a:cubicBezTo>
                <a:cubicBezTo>
                  <a:pt x="424" y="335"/>
                  <a:pt x="430" y="343"/>
                  <a:pt x="434" y="352"/>
                </a:cubicBezTo>
                <a:cubicBezTo>
                  <a:pt x="438" y="361"/>
                  <a:pt x="441" y="372"/>
                  <a:pt x="441" y="383"/>
                </a:cubicBezTo>
                <a:cubicBezTo>
                  <a:pt x="441" y="402"/>
                  <a:pt x="435" y="418"/>
                  <a:pt x="423" y="432"/>
                </a:cubicBezTo>
                <a:cubicBezTo>
                  <a:pt x="412" y="445"/>
                  <a:pt x="391" y="452"/>
                  <a:pt x="361" y="452"/>
                </a:cubicBezTo>
                <a:lnTo>
                  <a:pt x="307" y="452"/>
                </a:lnTo>
                <a:lnTo>
                  <a:pt x="307" y="545"/>
                </a:lnTo>
                <a:lnTo>
                  <a:pt x="279" y="545"/>
                </a:lnTo>
                <a:close/>
                <a:moveTo>
                  <a:pt x="307" y="425"/>
                </a:moveTo>
                <a:lnTo>
                  <a:pt x="362" y="425"/>
                </a:lnTo>
                <a:cubicBezTo>
                  <a:pt x="380" y="425"/>
                  <a:pt x="393" y="422"/>
                  <a:pt x="400" y="414"/>
                </a:cubicBezTo>
                <a:cubicBezTo>
                  <a:pt x="408" y="407"/>
                  <a:pt x="412" y="397"/>
                  <a:pt x="412" y="384"/>
                </a:cubicBezTo>
                <a:cubicBezTo>
                  <a:pt x="412" y="374"/>
                  <a:pt x="409" y="366"/>
                  <a:pt x="405" y="359"/>
                </a:cubicBezTo>
                <a:cubicBezTo>
                  <a:pt x="400" y="353"/>
                  <a:pt x="395" y="348"/>
                  <a:pt x="387" y="346"/>
                </a:cubicBezTo>
                <a:cubicBezTo>
                  <a:pt x="382" y="345"/>
                  <a:pt x="374" y="344"/>
                  <a:pt x="361" y="344"/>
                </a:cubicBezTo>
                <a:lnTo>
                  <a:pt x="307" y="344"/>
                </a:lnTo>
                <a:lnTo>
                  <a:pt x="307" y="425"/>
                </a:lnTo>
                <a:close/>
                <a:moveTo>
                  <a:pt x="459" y="349"/>
                </a:moveTo>
                <a:lnTo>
                  <a:pt x="459" y="317"/>
                </a:lnTo>
                <a:lnTo>
                  <a:pt x="485" y="317"/>
                </a:lnTo>
                <a:lnTo>
                  <a:pt x="485" y="349"/>
                </a:lnTo>
                <a:lnTo>
                  <a:pt x="459" y="349"/>
                </a:lnTo>
                <a:close/>
                <a:moveTo>
                  <a:pt x="459" y="545"/>
                </a:moveTo>
                <a:lnTo>
                  <a:pt x="459" y="380"/>
                </a:lnTo>
                <a:lnTo>
                  <a:pt x="485" y="380"/>
                </a:lnTo>
                <a:lnTo>
                  <a:pt x="485" y="545"/>
                </a:lnTo>
                <a:lnTo>
                  <a:pt x="459" y="545"/>
                </a:lnTo>
                <a:close/>
                <a:moveTo>
                  <a:pt x="553" y="545"/>
                </a:moveTo>
                <a:lnTo>
                  <a:pt x="495" y="380"/>
                </a:lnTo>
                <a:lnTo>
                  <a:pt x="523" y="380"/>
                </a:lnTo>
                <a:lnTo>
                  <a:pt x="556" y="478"/>
                </a:lnTo>
                <a:cubicBezTo>
                  <a:pt x="559" y="489"/>
                  <a:pt x="563" y="500"/>
                  <a:pt x="566" y="512"/>
                </a:cubicBezTo>
                <a:cubicBezTo>
                  <a:pt x="568" y="503"/>
                  <a:pt x="571" y="493"/>
                  <a:pt x="575" y="480"/>
                </a:cubicBezTo>
                <a:lnTo>
                  <a:pt x="609" y="380"/>
                </a:lnTo>
                <a:lnTo>
                  <a:pt x="636" y="380"/>
                </a:lnTo>
                <a:lnTo>
                  <a:pt x="578" y="545"/>
                </a:lnTo>
                <a:lnTo>
                  <a:pt x="553" y="545"/>
                </a:lnTo>
                <a:close/>
                <a:moveTo>
                  <a:pt x="631" y="462"/>
                </a:moveTo>
                <a:cubicBezTo>
                  <a:pt x="631" y="432"/>
                  <a:pt x="639" y="409"/>
                  <a:pt x="655" y="395"/>
                </a:cubicBezTo>
                <a:cubicBezTo>
                  <a:pt x="668" y="382"/>
                  <a:pt x="684" y="376"/>
                  <a:pt x="703" y="376"/>
                </a:cubicBezTo>
                <a:cubicBezTo>
                  <a:pt x="724" y="376"/>
                  <a:pt x="741" y="384"/>
                  <a:pt x="755" y="398"/>
                </a:cubicBezTo>
                <a:cubicBezTo>
                  <a:pt x="768" y="413"/>
                  <a:pt x="775" y="434"/>
                  <a:pt x="775" y="460"/>
                </a:cubicBezTo>
                <a:cubicBezTo>
                  <a:pt x="775" y="481"/>
                  <a:pt x="772" y="498"/>
                  <a:pt x="766" y="510"/>
                </a:cubicBezTo>
                <a:cubicBezTo>
                  <a:pt x="760" y="522"/>
                  <a:pt x="751" y="531"/>
                  <a:pt x="740" y="538"/>
                </a:cubicBezTo>
                <a:cubicBezTo>
                  <a:pt x="729" y="545"/>
                  <a:pt x="716" y="548"/>
                  <a:pt x="703" y="548"/>
                </a:cubicBezTo>
                <a:cubicBezTo>
                  <a:pt x="681" y="548"/>
                  <a:pt x="664" y="541"/>
                  <a:pt x="651" y="526"/>
                </a:cubicBezTo>
                <a:cubicBezTo>
                  <a:pt x="638" y="511"/>
                  <a:pt x="631" y="490"/>
                  <a:pt x="631" y="462"/>
                </a:cubicBezTo>
                <a:close/>
                <a:moveTo>
                  <a:pt x="658" y="462"/>
                </a:moveTo>
                <a:cubicBezTo>
                  <a:pt x="658" y="483"/>
                  <a:pt x="662" y="499"/>
                  <a:pt x="670" y="509"/>
                </a:cubicBezTo>
                <a:cubicBezTo>
                  <a:pt x="679" y="520"/>
                  <a:pt x="690" y="525"/>
                  <a:pt x="703" y="525"/>
                </a:cubicBezTo>
                <a:cubicBezTo>
                  <a:pt x="716" y="525"/>
                  <a:pt x="727" y="520"/>
                  <a:pt x="735" y="509"/>
                </a:cubicBezTo>
                <a:cubicBezTo>
                  <a:pt x="744" y="499"/>
                  <a:pt x="748" y="483"/>
                  <a:pt x="748" y="461"/>
                </a:cubicBezTo>
                <a:cubicBezTo>
                  <a:pt x="748" y="441"/>
                  <a:pt x="744" y="426"/>
                  <a:pt x="735" y="415"/>
                </a:cubicBezTo>
                <a:cubicBezTo>
                  <a:pt x="726" y="405"/>
                  <a:pt x="716" y="399"/>
                  <a:pt x="703" y="399"/>
                </a:cubicBezTo>
                <a:cubicBezTo>
                  <a:pt x="690" y="399"/>
                  <a:pt x="679" y="405"/>
                  <a:pt x="670" y="415"/>
                </a:cubicBezTo>
                <a:cubicBezTo>
                  <a:pt x="662" y="425"/>
                  <a:pt x="658" y="441"/>
                  <a:pt x="658" y="462"/>
                </a:cubicBezTo>
                <a:close/>
                <a:moveTo>
                  <a:pt x="848" y="520"/>
                </a:moveTo>
                <a:lnTo>
                  <a:pt x="851" y="544"/>
                </a:lnTo>
                <a:cubicBezTo>
                  <a:pt x="844" y="546"/>
                  <a:pt x="838" y="547"/>
                  <a:pt x="832" y="547"/>
                </a:cubicBezTo>
                <a:cubicBezTo>
                  <a:pt x="822" y="547"/>
                  <a:pt x="815" y="545"/>
                  <a:pt x="810" y="542"/>
                </a:cubicBezTo>
                <a:cubicBezTo>
                  <a:pt x="805" y="539"/>
                  <a:pt x="801" y="535"/>
                  <a:pt x="799" y="529"/>
                </a:cubicBezTo>
                <a:cubicBezTo>
                  <a:pt x="797" y="524"/>
                  <a:pt x="796" y="513"/>
                  <a:pt x="796" y="496"/>
                </a:cubicBezTo>
                <a:lnTo>
                  <a:pt x="796" y="401"/>
                </a:lnTo>
                <a:lnTo>
                  <a:pt x="777" y="401"/>
                </a:lnTo>
                <a:lnTo>
                  <a:pt x="777" y="380"/>
                </a:lnTo>
                <a:lnTo>
                  <a:pt x="796" y="380"/>
                </a:lnTo>
                <a:lnTo>
                  <a:pt x="796" y="339"/>
                </a:lnTo>
                <a:lnTo>
                  <a:pt x="822" y="322"/>
                </a:lnTo>
                <a:lnTo>
                  <a:pt x="822" y="380"/>
                </a:lnTo>
                <a:lnTo>
                  <a:pt x="848" y="380"/>
                </a:lnTo>
                <a:lnTo>
                  <a:pt x="848" y="401"/>
                </a:lnTo>
                <a:lnTo>
                  <a:pt x="822" y="401"/>
                </a:lnTo>
                <a:lnTo>
                  <a:pt x="822" y="498"/>
                </a:lnTo>
                <a:cubicBezTo>
                  <a:pt x="822" y="506"/>
                  <a:pt x="822" y="511"/>
                  <a:pt x="823" y="513"/>
                </a:cubicBezTo>
                <a:cubicBezTo>
                  <a:pt x="824" y="516"/>
                  <a:pt x="826" y="517"/>
                  <a:pt x="828" y="519"/>
                </a:cubicBezTo>
                <a:cubicBezTo>
                  <a:pt x="830" y="520"/>
                  <a:pt x="833" y="521"/>
                  <a:pt x="837" y="521"/>
                </a:cubicBezTo>
                <a:cubicBezTo>
                  <a:pt x="839" y="521"/>
                  <a:pt x="843" y="520"/>
                  <a:pt x="848" y="520"/>
                </a:cubicBezTo>
                <a:close/>
                <a:moveTo>
                  <a:pt x="177" y="31"/>
                </a:moveTo>
                <a:lnTo>
                  <a:pt x="177" y="0"/>
                </a:lnTo>
                <a:lnTo>
                  <a:pt x="203" y="0"/>
                </a:lnTo>
                <a:lnTo>
                  <a:pt x="203" y="31"/>
                </a:lnTo>
                <a:lnTo>
                  <a:pt x="177" y="31"/>
                </a:lnTo>
                <a:close/>
                <a:moveTo>
                  <a:pt x="177" y="227"/>
                </a:moveTo>
                <a:lnTo>
                  <a:pt x="177" y="62"/>
                </a:lnTo>
                <a:lnTo>
                  <a:pt x="203" y="62"/>
                </a:lnTo>
                <a:lnTo>
                  <a:pt x="203" y="227"/>
                </a:lnTo>
                <a:lnTo>
                  <a:pt x="177" y="227"/>
                </a:lnTo>
                <a:close/>
                <a:moveTo>
                  <a:pt x="228" y="227"/>
                </a:moveTo>
                <a:lnTo>
                  <a:pt x="228" y="62"/>
                </a:lnTo>
                <a:lnTo>
                  <a:pt x="252" y="62"/>
                </a:lnTo>
                <a:lnTo>
                  <a:pt x="252" y="86"/>
                </a:lnTo>
                <a:cubicBezTo>
                  <a:pt x="257" y="78"/>
                  <a:pt x="263" y="71"/>
                  <a:pt x="271" y="66"/>
                </a:cubicBezTo>
                <a:cubicBezTo>
                  <a:pt x="279" y="61"/>
                  <a:pt x="288" y="59"/>
                  <a:pt x="298" y="59"/>
                </a:cubicBezTo>
                <a:cubicBezTo>
                  <a:pt x="310" y="59"/>
                  <a:pt x="319" y="61"/>
                  <a:pt x="326" y="66"/>
                </a:cubicBezTo>
                <a:cubicBezTo>
                  <a:pt x="333" y="71"/>
                  <a:pt x="339" y="78"/>
                  <a:pt x="342" y="88"/>
                </a:cubicBezTo>
                <a:cubicBezTo>
                  <a:pt x="354" y="68"/>
                  <a:pt x="370" y="59"/>
                  <a:pt x="389" y="59"/>
                </a:cubicBezTo>
                <a:cubicBezTo>
                  <a:pt x="404" y="59"/>
                  <a:pt x="416" y="63"/>
                  <a:pt x="424" y="72"/>
                </a:cubicBezTo>
                <a:cubicBezTo>
                  <a:pt x="433" y="81"/>
                  <a:pt x="437" y="95"/>
                  <a:pt x="437" y="114"/>
                </a:cubicBezTo>
                <a:lnTo>
                  <a:pt x="437" y="227"/>
                </a:lnTo>
                <a:lnTo>
                  <a:pt x="411" y="227"/>
                </a:lnTo>
                <a:lnTo>
                  <a:pt x="411" y="123"/>
                </a:lnTo>
                <a:cubicBezTo>
                  <a:pt x="411" y="112"/>
                  <a:pt x="410" y="104"/>
                  <a:pt x="408" y="99"/>
                </a:cubicBezTo>
                <a:cubicBezTo>
                  <a:pt x="406" y="94"/>
                  <a:pt x="403" y="90"/>
                  <a:pt x="399" y="87"/>
                </a:cubicBezTo>
                <a:cubicBezTo>
                  <a:pt x="394" y="84"/>
                  <a:pt x="389" y="83"/>
                  <a:pt x="383" y="83"/>
                </a:cubicBezTo>
                <a:cubicBezTo>
                  <a:pt x="372" y="83"/>
                  <a:pt x="363" y="87"/>
                  <a:pt x="356" y="94"/>
                </a:cubicBezTo>
                <a:cubicBezTo>
                  <a:pt x="349" y="102"/>
                  <a:pt x="346" y="114"/>
                  <a:pt x="346" y="131"/>
                </a:cubicBezTo>
                <a:lnTo>
                  <a:pt x="346" y="227"/>
                </a:lnTo>
                <a:lnTo>
                  <a:pt x="320" y="227"/>
                </a:lnTo>
                <a:lnTo>
                  <a:pt x="320" y="120"/>
                </a:lnTo>
                <a:cubicBezTo>
                  <a:pt x="320" y="108"/>
                  <a:pt x="317" y="98"/>
                  <a:pt x="313" y="92"/>
                </a:cubicBezTo>
                <a:cubicBezTo>
                  <a:pt x="309" y="86"/>
                  <a:pt x="302" y="83"/>
                  <a:pt x="292" y="83"/>
                </a:cubicBezTo>
                <a:cubicBezTo>
                  <a:pt x="285" y="83"/>
                  <a:pt x="278" y="85"/>
                  <a:pt x="272" y="89"/>
                </a:cubicBezTo>
                <a:cubicBezTo>
                  <a:pt x="266" y="93"/>
                  <a:pt x="261" y="99"/>
                  <a:pt x="259" y="107"/>
                </a:cubicBezTo>
                <a:cubicBezTo>
                  <a:pt x="256" y="115"/>
                  <a:pt x="255" y="127"/>
                  <a:pt x="255" y="142"/>
                </a:cubicBezTo>
                <a:lnTo>
                  <a:pt x="255" y="227"/>
                </a:lnTo>
                <a:lnTo>
                  <a:pt x="228" y="227"/>
                </a:lnTo>
                <a:close/>
                <a:moveTo>
                  <a:pt x="566" y="174"/>
                </a:moveTo>
                <a:lnTo>
                  <a:pt x="593" y="178"/>
                </a:lnTo>
                <a:cubicBezTo>
                  <a:pt x="589" y="194"/>
                  <a:pt x="581" y="207"/>
                  <a:pt x="569" y="217"/>
                </a:cubicBezTo>
                <a:cubicBezTo>
                  <a:pt x="558" y="226"/>
                  <a:pt x="543" y="231"/>
                  <a:pt x="525" y="231"/>
                </a:cubicBezTo>
                <a:cubicBezTo>
                  <a:pt x="503" y="231"/>
                  <a:pt x="485" y="223"/>
                  <a:pt x="472" y="208"/>
                </a:cubicBezTo>
                <a:cubicBezTo>
                  <a:pt x="459" y="194"/>
                  <a:pt x="453" y="173"/>
                  <a:pt x="453" y="146"/>
                </a:cubicBezTo>
                <a:cubicBezTo>
                  <a:pt x="453" y="118"/>
                  <a:pt x="459" y="97"/>
                  <a:pt x="472" y="82"/>
                </a:cubicBezTo>
                <a:cubicBezTo>
                  <a:pt x="486" y="66"/>
                  <a:pt x="503" y="59"/>
                  <a:pt x="524" y="59"/>
                </a:cubicBezTo>
                <a:cubicBezTo>
                  <a:pt x="544" y="59"/>
                  <a:pt x="561" y="66"/>
                  <a:pt x="574" y="81"/>
                </a:cubicBezTo>
                <a:cubicBezTo>
                  <a:pt x="587" y="96"/>
                  <a:pt x="594" y="117"/>
                  <a:pt x="594" y="144"/>
                </a:cubicBezTo>
                <a:cubicBezTo>
                  <a:pt x="594" y="146"/>
                  <a:pt x="594" y="149"/>
                  <a:pt x="593" y="152"/>
                </a:cubicBezTo>
                <a:lnTo>
                  <a:pt x="479" y="152"/>
                </a:lnTo>
                <a:cubicBezTo>
                  <a:pt x="480" y="170"/>
                  <a:pt x="485" y="184"/>
                  <a:pt x="493" y="193"/>
                </a:cubicBezTo>
                <a:cubicBezTo>
                  <a:pt x="502" y="203"/>
                  <a:pt x="513" y="208"/>
                  <a:pt x="525" y="208"/>
                </a:cubicBezTo>
                <a:cubicBezTo>
                  <a:pt x="535" y="208"/>
                  <a:pt x="543" y="205"/>
                  <a:pt x="550" y="200"/>
                </a:cubicBezTo>
                <a:cubicBezTo>
                  <a:pt x="557" y="194"/>
                  <a:pt x="562" y="186"/>
                  <a:pt x="566" y="174"/>
                </a:cubicBezTo>
                <a:close/>
                <a:moveTo>
                  <a:pt x="481" y="129"/>
                </a:moveTo>
                <a:lnTo>
                  <a:pt x="566" y="129"/>
                </a:lnTo>
                <a:cubicBezTo>
                  <a:pt x="565" y="115"/>
                  <a:pt x="562" y="105"/>
                  <a:pt x="556" y="98"/>
                </a:cubicBezTo>
                <a:cubicBezTo>
                  <a:pt x="548" y="87"/>
                  <a:pt x="537" y="82"/>
                  <a:pt x="524" y="82"/>
                </a:cubicBezTo>
                <a:cubicBezTo>
                  <a:pt x="512" y="82"/>
                  <a:pt x="502" y="86"/>
                  <a:pt x="494" y="94"/>
                </a:cubicBezTo>
                <a:cubicBezTo>
                  <a:pt x="486" y="103"/>
                  <a:pt x="482" y="115"/>
                  <a:pt x="481" y="129"/>
                </a:cubicBezTo>
                <a:close/>
                <a:moveTo>
                  <a:pt x="737" y="227"/>
                </a:moveTo>
                <a:lnTo>
                  <a:pt x="737" y="26"/>
                </a:lnTo>
                <a:lnTo>
                  <a:pt x="668" y="26"/>
                </a:lnTo>
                <a:lnTo>
                  <a:pt x="668" y="0"/>
                </a:lnTo>
                <a:lnTo>
                  <a:pt x="835" y="0"/>
                </a:lnTo>
                <a:lnTo>
                  <a:pt x="835" y="26"/>
                </a:lnTo>
                <a:lnTo>
                  <a:pt x="765" y="26"/>
                </a:lnTo>
                <a:lnTo>
                  <a:pt x="765" y="227"/>
                </a:lnTo>
                <a:lnTo>
                  <a:pt x="737" y="227"/>
                </a:lnTo>
                <a:close/>
                <a:moveTo>
                  <a:pt x="847" y="227"/>
                </a:moveTo>
                <a:lnTo>
                  <a:pt x="847" y="0"/>
                </a:lnTo>
                <a:lnTo>
                  <a:pt x="873" y="0"/>
                </a:lnTo>
                <a:lnTo>
                  <a:pt x="873" y="82"/>
                </a:lnTo>
                <a:cubicBezTo>
                  <a:pt x="885" y="66"/>
                  <a:pt x="900" y="59"/>
                  <a:pt x="919" y="59"/>
                </a:cubicBezTo>
                <a:cubicBezTo>
                  <a:pt x="930" y="59"/>
                  <a:pt x="940" y="61"/>
                  <a:pt x="948" y="66"/>
                </a:cubicBezTo>
                <a:cubicBezTo>
                  <a:pt x="957" y="71"/>
                  <a:pt x="963" y="77"/>
                  <a:pt x="966" y="86"/>
                </a:cubicBezTo>
                <a:cubicBezTo>
                  <a:pt x="970" y="94"/>
                  <a:pt x="972" y="107"/>
                  <a:pt x="972" y="123"/>
                </a:cubicBezTo>
                <a:lnTo>
                  <a:pt x="972" y="227"/>
                </a:lnTo>
                <a:lnTo>
                  <a:pt x="946" y="227"/>
                </a:lnTo>
                <a:lnTo>
                  <a:pt x="946" y="123"/>
                </a:lnTo>
                <a:cubicBezTo>
                  <a:pt x="946" y="109"/>
                  <a:pt x="943" y="99"/>
                  <a:pt x="937" y="92"/>
                </a:cubicBezTo>
                <a:cubicBezTo>
                  <a:pt x="932" y="86"/>
                  <a:pt x="924" y="83"/>
                  <a:pt x="914" y="83"/>
                </a:cubicBezTo>
                <a:cubicBezTo>
                  <a:pt x="906" y="83"/>
                  <a:pt x="899" y="85"/>
                  <a:pt x="892" y="89"/>
                </a:cubicBezTo>
                <a:cubicBezTo>
                  <a:pt x="885" y="94"/>
                  <a:pt x="880" y="99"/>
                  <a:pt x="877" y="107"/>
                </a:cubicBezTo>
                <a:cubicBezTo>
                  <a:pt x="875" y="114"/>
                  <a:pt x="873" y="124"/>
                  <a:pt x="873" y="137"/>
                </a:cubicBezTo>
                <a:lnTo>
                  <a:pt x="873" y="227"/>
                </a:lnTo>
                <a:lnTo>
                  <a:pt x="847" y="227"/>
                </a:lnTo>
                <a:close/>
                <a:moveTo>
                  <a:pt x="1103" y="174"/>
                </a:moveTo>
                <a:lnTo>
                  <a:pt x="1130" y="178"/>
                </a:lnTo>
                <a:cubicBezTo>
                  <a:pt x="1125" y="194"/>
                  <a:pt x="1117" y="207"/>
                  <a:pt x="1106" y="217"/>
                </a:cubicBezTo>
                <a:cubicBezTo>
                  <a:pt x="1095" y="226"/>
                  <a:pt x="1080" y="231"/>
                  <a:pt x="1062" y="231"/>
                </a:cubicBezTo>
                <a:cubicBezTo>
                  <a:pt x="1040" y="231"/>
                  <a:pt x="1022" y="223"/>
                  <a:pt x="1009" y="208"/>
                </a:cubicBezTo>
                <a:cubicBezTo>
                  <a:pt x="996" y="194"/>
                  <a:pt x="989" y="173"/>
                  <a:pt x="989" y="146"/>
                </a:cubicBezTo>
                <a:cubicBezTo>
                  <a:pt x="989" y="118"/>
                  <a:pt x="996" y="97"/>
                  <a:pt x="1009" y="82"/>
                </a:cubicBezTo>
                <a:cubicBezTo>
                  <a:pt x="1022" y="66"/>
                  <a:pt x="1040" y="59"/>
                  <a:pt x="1061" y="59"/>
                </a:cubicBezTo>
                <a:cubicBezTo>
                  <a:pt x="1081" y="59"/>
                  <a:pt x="1098" y="66"/>
                  <a:pt x="1111" y="81"/>
                </a:cubicBezTo>
                <a:cubicBezTo>
                  <a:pt x="1124" y="96"/>
                  <a:pt x="1130" y="117"/>
                  <a:pt x="1130" y="144"/>
                </a:cubicBezTo>
                <a:cubicBezTo>
                  <a:pt x="1130" y="146"/>
                  <a:pt x="1130" y="149"/>
                  <a:pt x="1130" y="152"/>
                </a:cubicBezTo>
                <a:lnTo>
                  <a:pt x="1016" y="152"/>
                </a:lnTo>
                <a:cubicBezTo>
                  <a:pt x="1017" y="170"/>
                  <a:pt x="1022" y="184"/>
                  <a:pt x="1030" y="193"/>
                </a:cubicBezTo>
                <a:cubicBezTo>
                  <a:pt x="1039" y="203"/>
                  <a:pt x="1049" y="208"/>
                  <a:pt x="1062" y="208"/>
                </a:cubicBezTo>
                <a:cubicBezTo>
                  <a:pt x="1072" y="208"/>
                  <a:pt x="1080" y="205"/>
                  <a:pt x="1087" y="200"/>
                </a:cubicBezTo>
                <a:cubicBezTo>
                  <a:pt x="1093" y="194"/>
                  <a:pt x="1099" y="186"/>
                  <a:pt x="1103" y="174"/>
                </a:cubicBezTo>
                <a:close/>
                <a:moveTo>
                  <a:pt x="1017" y="129"/>
                </a:moveTo>
                <a:lnTo>
                  <a:pt x="1103" y="129"/>
                </a:lnTo>
                <a:cubicBezTo>
                  <a:pt x="1102" y="115"/>
                  <a:pt x="1098" y="105"/>
                  <a:pt x="1093" y="98"/>
                </a:cubicBezTo>
                <a:cubicBezTo>
                  <a:pt x="1085" y="87"/>
                  <a:pt x="1074" y="82"/>
                  <a:pt x="1061" y="82"/>
                </a:cubicBezTo>
                <a:cubicBezTo>
                  <a:pt x="1049" y="82"/>
                  <a:pt x="1039" y="86"/>
                  <a:pt x="1031" y="94"/>
                </a:cubicBezTo>
                <a:cubicBezTo>
                  <a:pt x="1023" y="103"/>
                  <a:pt x="1018" y="115"/>
                  <a:pt x="1017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3" name="Freeform 73">
            <a:extLst>
              <a:ext uri="{FF2B5EF4-FFF2-40B4-BE49-F238E27FC236}">
                <a16:creationId xmlns:a16="http://schemas.microsoft.com/office/drawing/2014/main" id="{895BCE62-A049-4AD8-B932-8AC50EC9B312}"/>
              </a:ext>
            </a:extLst>
          </p:cNvPr>
          <p:cNvSpPr>
            <a:spLocks noEditPoints="1"/>
          </p:cNvSpPr>
          <p:nvPr/>
        </p:nvSpPr>
        <p:spPr bwMode="auto">
          <a:xfrm>
            <a:off x="606426" y="6083301"/>
            <a:ext cx="184150" cy="84138"/>
          </a:xfrm>
          <a:custGeom>
            <a:avLst/>
            <a:gdLst>
              <a:gd name="T0" fmla="*/ 0 w 508"/>
              <a:gd name="T1" fmla="*/ 0 h 231"/>
              <a:gd name="T2" fmla="*/ 113 w 508"/>
              <a:gd name="T3" fmla="*/ 2 h 231"/>
              <a:gd name="T4" fmla="*/ 156 w 508"/>
              <a:gd name="T5" fmla="*/ 35 h 231"/>
              <a:gd name="T6" fmla="*/ 145 w 508"/>
              <a:gd name="T7" fmla="*/ 115 h 231"/>
              <a:gd name="T8" fmla="*/ 28 w 508"/>
              <a:gd name="T9" fmla="*/ 135 h 231"/>
              <a:gd name="T10" fmla="*/ 0 w 508"/>
              <a:gd name="T11" fmla="*/ 227 h 231"/>
              <a:gd name="T12" fmla="*/ 83 w 508"/>
              <a:gd name="T13" fmla="*/ 108 h 231"/>
              <a:gd name="T14" fmla="*/ 133 w 508"/>
              <a:gd name="T15" fmla="*/ 66 h 231"/>
              <a:gd name="T16" fmla="*/ 109 w 508"/>
              <a:gd name="T17" fmla="*/ 29 h 231"/>
              <a:gd name="T18" fmla="*/ 28 w 508"/>
              <a:gd name="T19" fmla="*/ 27 h 231"/>
              <a:gd name="T20" fmla="*/ 180 w 508"/>
              <a:gd name="T21" fmla="*/ 227 h 231"/>
              <a:gd name="T22" fmla="*/ 206 w 508"/>
              <a:gd name="T23" fmla="*/ 0 h 231"/>
              <a:gd name="T24" fmla="*/ 180 w 508"/>
              <a:gd name="T25" fmla="*/ 227 h 231"/>
              <a:gd name="T26" fmla="*/ 305 w 508"/>
              <a:gd name="T27" fmla="*/ 225 h 231"/>
              <a:gd name="T28" fmla="*/ 237 w 508"/>
              <a:gd name="T29" fmla="*/ 218 h 231"/>
              <a:gd name="T30" fmla="*/ 229 w 508"/>
              <a:gd name="T31" fmla="*/ 162 h 231"/>
              <a:gd name="T32" fmla="*/ 261 w 508"/>
              <a:gd name="T33" fmla="*/ 137 h 231"/>
              <a:gd name="T34" fmla="*/ 331 w 508"/>
              <a:gd name="T35" fmla="*/ 123 h 231"/>
              <a:gd name="T36" fmla="*/ 323 w 508"/>
              <a:gd name="T37" fmla="*/ 92 h 231"/>
              <a:gd name="T38" fmla="*/ 267 w 508"/>
              <a:gd name="T39" fmla="*/ 89 h 231"/>
              <a:gd name="T40" fmla="*/ 228 w 508"/>
              <a:gd name="T41" fmla="*/ 110 h 231"/>
              <a:gd name="T42" fmla="*/ 263 w 508"/>
              <a:gd name="T43" fmla="*/ 65 h 231"/>
              <a:gd name="T44" fmla="*/ 330 w 508"/>
              <a:gd name="T45" fmla="*/ 64 h 231"/>
              <a:gd name="T46" fmla="*/ 356 w 508"/>
              <a:gd name="T47" fmla="*/ 96 h 231"/>
              <a:gd name="T48" fmla="*/ 357 w 508"/>
              <a:gd name="T49" fmla="*/ 158 h 231"/>
              <a:gd name="T50" fmla="*/ 365 w 508"/>
              <a:gd name="T51" fmla="*/ 227 h 231"/>
              <a:gd name="T52" fmla="*/ 333 w 508"/>
              <a:gd name="T53" fmla="*/ 207 h 231"/>
              <a:gd name="T54" fmla="*/ 288 w 508"/>
              <a:gd name="T55" fmla="*/ 155 h 231"/>
              <a:gd name="T56" fmla="*/ 255 w 508"/>
              <a:gd name="T57" fmla="*/ 170 h 231"/>
              <a:gd name="T58" fmla="*/ 259 w 508"/>
              <a:gd name="T59" fmla="*/ 201 h 231"/>
              <a:gd name="T60" fmla="*/ 309 w 508"/>
              <a:gd name="T61" fmla="*/ 202 h 231"/>
              <a:gd name="T62" fmla="*/ 331 w 508"/>
              <a:gd name="T63" fmla="*/ 155 h 231"/>
              <a:gd name="T64" fmla="*/ 383 w 508"/>
              <a:gd name="T65" fmla="*/ 227 h 231"/>
              <a:gd name="T66" fmla="*/ 407 w 508"/>
              <a:gd name="T67" fmla="*/ 63 h 231"/>
              <a:gd name="T68" fmla="*/ 455 w 508"/>
              <a:gd name="T69" fmla="*/ 59 h 231"/>
              <a:gd name="T70" fmla="*/ 498 w 508"/>
              <a:gd name="T71" fmla="*/ 78 h 231"/>
              <a:gd name="T72" fmla="*/ 508 w 508"/>
              <a:gd name="T73" fmla="*/ 126 h 231"/>
              <a:gd name="T74" fmla="*/ 482 w 508"/>
              <a:gd name="T75" fmla="*/ 227 h 231"/>
              <a:gd name="T76" fmla="*/ 479 w 508"/>
              <a:gd name="T77" fmla="*/ 102 h 231"/>
              <a:gd name="T78" fmla="*/ 450 w 508"/>
              <a:gd name="T79" fmla="*/ 83 h 231"/>
              <a:gd name="T80" fmla="*/ 409 w 508"/>
              <a:gd name="T81" fmla="*/ 137 h 231"/>
              <a:gd name="T82" fmla="*/ 383 w 508"/>
              <a:gd name="T83" fmla="*/ 227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08" h="231">
                <a:moveTo>
                  <a:pt x="0" y="227"/>
                </a:moveTo>
                <a:lnTo>
                  <a:pt x="0" y="0"/>
                </a:lnTo>
                <a:lnTo>
                  <a:pt x="80" y="0"/>
                </a:lnTo>
                <a:cubicBezTo>
                  <a:pt x="94" y="0"/>
                  <a:pt x="105" y="1"/>
                  <a:pt x="113" y="2"/>
                </a:cubicBezTo>
                <a:cubicBezTo>
                  <a:pt x="123" y="4"/>
                  <a:pt x="132" y="8"/>
                  <a:pt x="139" y="13"/>
                </a:cubicBezTo>
                <a:cubicBezTo>
                  <a:pt x="146" y="18"/>
                  <a:pt x="151" y="25"/>
                  <a:pt x="156" y="35"/>
                </a:cubicBezTo>
                <a:cubicBezTo>
                  <a:pt x="160" y="44"/>
                  <a:pt x="162" y="54"/>
                  <a:pt x="162" y="66"/>
                </a:cubicBezTo>
                <a:cubicBezTo>
                  <a:pt x="162" y="85"/>
                  <a:pt x="156" y="101"/>
                  <a:pt x="145" y="115"/>
                </a:cubicBezTo>
                <a:cubicBezTo>
                  <a:pt x="134" y="128"/>
                  <a:pt x="113" y="135"/>
                  <a:pt x="83" y="135"/>
                </a:cubicBezTo>
                <a:lnTo>
                  <a:pt x="28" y="135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28" y="108"/>
                </a:moveTo>
                <a:lnTo>
                  <a:pt x="83" y="108"/>
                </a:lnTo>
                <a:cubicBezTo>
                  <a:pt x="101" y="108"/>
                  <a:pt x="114" y="104"/>
                  <a:pt x="122" y="97"/>
                </a:cubicBezTo>
                <a:cubicBezTo>
                  <a:pt x="129" y="90"/>
                  <a:pt x="133" y="80"/>
                  <a:pt x="133" y="66"/>
                </a:cubicBezTo>
                <a:cubicBezTo>
                  <a:pt x="133" y="57"/>
                  <a:pt x="131" y="49"/>
                  <a:pt x="126" y="42"/>
                </a:cubicBezTo>
                <a:cubicBezTo>
                  <a:pt x="122" y="35"/>
                  <a:pt x="116" y="31"/>
                  <a:pt x="109" y="29"/>
                </a:cubicBezTo>
                <a:cubicBezTo>
                  <a:pt x="104" y="27"/>
                  <a:pt x="95" y="27"/>
                  <a:pt x="83" y="27"/>
                </a:cubicBezTo>
                <a:lnTo>
                  <a:pt x="28" y="27"/>
                </a:lnTo>
                <a:lnTo>
                  <a:pt x="28" y="108"/>
                </a:lnTo>
                <a:close/>
                <a:moveTo>
                  <a:pt x="180" y="227"/>
                </a:moveTo>
                <a:lnTo>
                  <a:pt x="180" y="0"/>
                </a:lnTo>
                <a:lnTo>
                  <a:pt x="206" y="0"/>
                </a:lnTo>
                <a:lnTo>
                  <a:pt x="206" y="227"/>
                </a:lnTo>
                <a:lnTo>
                  <a:pt x="180" y="227"/>
                </a:lnTo>
                <a:close/>
                <a:moveTo>
                  <a:pt x="333" y="207"/>
                </a:moveTo>
                <a:cubicBezTo>
                  <a:pt x="323" y="215"/>
                  <a:pt x="314" y="222"/>
                  <a:pt x="305" y="225"/>
                </a:cubicBezTo>
                <a:cubicBezTo>
                  <a:pt x="296" y="229"/>
                  <a:pt x="286" y="231"/>
                  <a:pt x="276" y="231"/>
                </a:cubicBezTo>
                <a:cubicBezTo>
                  <a:pt x="259" y="231"/>
                  <a:pt x="246" y="226"/>
                  <a:pt x="237" y="218"/>
                </a:cubicBezTo>
                <a:cubicBezTo>
                  <a:pt x="228" y="209"/>
                  <a:pt x="224" y="198"/>
                  <a:pt x="224" y="184"/>
                </a:cubicBezTo>
                <a:cubicBezTo>
                  <a:pt x="224" y="176"/>
                  <a:pt x="225" y="168"/>
                  <a:pt x="229" y="162"/>
                </a:cubicBezTo>
                <a:cubicBezTo>
                  <a:pt x="232" y="155"/>
                  <a:pt x="237" y="150"/>
                  <a:pt x="242" y="146"/>
                </a:cubicBezTo>
                <a:cubicBezTo>
                  <a:pt x="248" y="142"/>
                  <a:pt x="254" y="139"/>
                  <a:pt x="261" y="137"/>
                </a:cubicBezTo>
                <a:cubicBezTo>
                  <a:pt x="266" y="135"/>
                  <a:pt x="274" y="134"/>
                  <a:pt x="284" y="132"/>
                </a:cubicBezTo>
                <a:cubicBezTo>
                  <a:pt x="305" y="130"/>
                  <a:pt x="321" y="127"/>
                  <a:pt x="331" y="123"/>
                </a:cubicBezTo>
                <a:cubicBezTo>
                  <a:pt x="331" y="119"/>
                  <a:pt x="331" y="117"/>
                  <a:pt x="331" y="116"/>
                </a:cubicBezTo>
                <a:cubicBezTo>
                  <a:pt x="331" y="104"/>
                  <a:pt x="328" y="96"/>
                  <a:pt x="323" y="92"/>
                </a:cubicBezTo>
                <a:cubicBezTo>
                  <a:pt x="317" y="85"/>
                  <a:pt x="307" y="82"/>
                  <a:pt x="294" y="82"/>
                </a:cubicBezTo>
                <a:cubicBezTo>
                  <a:pt x="281" y="82"/>
                  <a:pt x="272" y="85"/>
                  <a:pt x="267" y="89"/>
                </a:cubicBezTo>
                <a:cubicBezTo>
                  <a:pt x="261" y="94"/>
                  <a:pt x="256" y="102"/>
                  <a:pt x="254" y="114"/>
                </a:cubicBezTo>
                <a:lnTo>
                  <a:pt x="228" y="110"/>
                </a:lnTo>
                <a:cubicBezTo>
                  <a:pt x="230" y="98"/>
                  <a:pt x="234" y="89"/>
                  <a:pt x="240" y="81"/>
                </a:cubicBezTo>
                <a:cubicBezTo>
                  <a:pt x="245" y="74"/>
                  <a:pt x="253" y="69"/>
                  <a:pt x="263" y="65"/>
                </a:cubicBezTo>
                <a:cubicBezTo>
                  <a:pt x="273" y="61"/>
                  <a:pt x="284" y="59"/>
                  <a:pt x="298" y="59"/>
                </a:cubicBezTo>
                <a:cubicBezTo>
                  <a:pt x="311" y="59"/>
                  <a:pt x="321" y="61"/>
                  <a:pt x="330" y="64"/>
                </a:cubicBezTo>
                <a:cubicBezTo>
                  <a:pt x="338" y="67"/>
                  <a:pt x="344" y="71"/>
                  <a:pt x="348" y="76"/>
                </a:cubicBezTo>
                <a:cubicBezTo>
                  <a:pt x="352" y="82"/>
                  <a:pt x="354" y="88"/>
                  <a:pt x="356" y="96"/>
                </a:cubicBezTo>
                <a:cubicBezTo>
                  <a:pt x="357" y="100"/>
                  <a:pt x="357" y="109"/>
                  <a:pt x="357" y="121"/>
                </a:cubicBezTo>
                <a:lnTo>
                  <a:pt x="357" y="158"/>
                </a:lnTo>
                <a:cubicBezTo>
                  <a:pt x="357" y="184"/>
                  <a:pt x="358" y="200"/>
                  <a:pt x="359" y="207"/>
                </a:cubicBezTo>
                <a:cubicBezTo>
                  <a:pt x="360" y="214"/>
                  <a:pt x="362" y="221"/>
                  <a:pt x="365" y="227"/>
                </a:cubicBezTo>
                <a:lnTo>
                  <a:pt x="338" y="227"/>
                </a:lnTo>
                <a:cubicBezTo>
                  <a:pt x="335" y="221"/>
                  <a:pt x="334" y="215"/>
                  <a:pt x="333" y="207"/>
                </a:cubicBezTo>
                <a:close/>
                <a:moveTo>
                  <a:pt x="331" y="145"/>
                </a:moveTo>
                <a:cubicBezTo>
                  <a:pt x="321" y="149"/>
                  <a:pt x="307" y="152"/>
                  <a:pt x="288" y="155"/>
                </a:cubicBezTo>
                <a:cubicBezTo>
                  <a:pt x="277" y="157"/>
                  <a:pt x="270" y="159"/>
                  <a:pt x="265" y="161"/>
                </a:cubicBezTo>
                <a:cubicBezTo>
                  <a:pt x="261" y="163"/>
                  <a:pt x="258" y="166"/>
                  <a:pt x="255" y="170"/>
                </a:cubicBezTo>
                <a:cubicBezTo>
                  <a:pt x="253" y="174"/>
                  <a:pt x="251" y="178"/>
                  <a:pt x="251" y="183"/>
                </a:cubicBezTo>
                <a:cubicBezTo>
                  <a:pt x="251" y="190"/>
                  <a:pt x="254" y="197"/>
                  <a:pt x="259" y="201"/>
                </a:cubicBezTo>
                <a:cubicBezTo>
                  <a:pt x="265" y="206"/>
                  <a:pt x="272" y="209"/>
                  <a:pt x="282" y="209"/>
                </a:cubicBezTo>
                <a:cubicBezTo>
                  <a:pt x="292" y="209"/>
                  <a:pt x="301" y="207"/>
                  <a:pt x="309" y="202"/>
                </a:cubicBezTo>
                <a:cubicBezTo>
                  <a:pt x="317" y="197"/>
                  <a:pt x="323" y="191"/>
                  <a:pt x="326" y="183"/>
                </a:cubicBezTo>
                <a:cubicBezTo>
                  <a:pt x="329" y="176"/>
                  <a:pt x="331" y="167"/>
                  <a:pt x="331" y="155"/>
                </a:cubicBezTo>
                <a:lnTo>
                  <a:pt x="331" y="145"/>
                </a:lnTo>
                <a:close/>
                <a:moveTo>
                  <a:pt x="383" y="227"/>
                </a:moveTo>
                <a:lnTo>
                  <a:pt x="383" y="63"/>
                </a:lnTo>
                <a:lnTo>
                  <a:pt x="407" y="63"/>
                </a:lnTo>
                <a:lnTo>
                  <a:pt x="407" y="86"/>
                </a:lnTo>
                <a:cubicBezTo>
                  <a:pt x="418" y="68"/>
                  <a:pt x="434" y="59"/>
                  <a:pt x="455" y="59"/>
                </a:cubicBezTo>
                <a:cubicBezTo>
                  <a:pt x="465" y="59"/>
                  <a:pt x="473" y="61"/>
                  <a:pt x="481" y="64"/>
                </a:cubicBezTo>
                <a:cubicBezTo>
                  <a:pt x="489" y="68"/>
                  <a:pt x="494" y="73"/>
                  <a:pt x="498" y="78"/>
                </a:cubicBezTo>
                <a:cubicBezTo>
                  <a:pt x="502" y="84"/>
                  <a:pt x="505" y="91"/>
                  <a:pt x="506" y="99"/>
                </a:cubicBezTo>
                <a:cubicBezTo>
                  <a:pt x="507" y="104"/>
                  <a:pt x="508" y="113"/>
                  <a:pt x="508" y="126"/>
                </a:cubicBezTo>
                <a:lnTo>
                  <a:pt x="508" y="227"/>
                </a:lnTo>
                <a:lnTo>
                  <a:pt x="482" y="227"/>
                </a:lnTo>
                <a:lnTo>
                  <a:pt x="482" y="127"/>
                </a:lnTo>
                <a:cubicBezTo>
                  <a:pt x="482" y="116"/>
                  <a:pt x="481" y="107"/>
                  <a:pt x="479" y="102"/>
                </a:cubicBezTo>
                <a:cubicBezTo>
                  <a:pt x="477" y="96"/>
                  <a:pt x="473" y="92"/>
                  <a:pt x="468" y="88"/>
                </a:cubicBezTo>
                <a:cubicBezTo>
                  <a:pt x="463" y="85"/>
                  <a:pt x="457" y="83"/>
                  <a:pt x="450" y="83"/>
                </a:cubicBezTo>
                <a:cubicBezTo>
                  <a:pt x="439" y="83"/>
                  <a:pt x="429" y="87"/>
                  <a:pt x="421" y="94"/>
                </a:cubicBezTo>
                <a:cubicBezTo>
                  <a:pt x="413" y="102"/>
                  <a:pt x="409" y="116"/>
                  <a:pt x="409" y="137"/>
                </a:cubicBezTo>
                <a:lnTo>
                  <a:pt x="409" y="227"/>
                </a:lnTo>
                <a:lnTo>
                  <a:pt x="383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4" name="Freeform 74">
            <a:extLst>
              <a:ext uri="{FF2B5EF4-FFF2-40B4-BE49-F238E27FC236}">
                <a16:creationId xmlns:a16="http://schemas.microsoft.com/office/drawing/2014/main" id="{55B03560-DE90-4CDC-9A0E-6C1CF40FD762}"/>
              </a:ext>
            </a:extLst>
          </p:cNvPr>
          <p:cNvSpPr>
            <a:spLocks noEditPoints="1"/>
          </p:cNvSpPr>
          <p:nvPr/>
        </p:nvSpPr>
        <p:spPr bwMode="auto">
          <a:xfrm>
            <a:off x="2105026" y="6083301"/>
            <a:ext cx="231775" cy="84138"/>
          </a:xfrm>
          <a:custGeom>
            <a:avLst/>
            <a:gdLst>
              <a:gd name="T0" fmla="*/ 0 w 642"/>
              <a:gd name="T1" fmla="*/ 0 h 231"/>
              <a:gd name="T2" fmla="*/ 93 w 642"/>
              <a:gd name="T3" fmla="*/ 161 h 231"/>
              <a:gd name="T4" fmla="*/ 114 w 642"/>
              <a:gd name="T5" fmla="*/ 158 h 231"/>
              <a:gd name="T6" fmla="*/ 203 w 642"/>
              <a:gd name="T7" fmla="*/ 0 h 231"/>
              <a:gd name="T8" fmla="*/ 176 w 642"/>
              <a:gd name="T9" fmla="*/ 227 h 231"/>
              <a:gd name="T10" fmla="*/ 114 w 642"/>
              <a:gd name="T11" fmla="*/ 227 h 231"/>
              <a:gd name="T12" fmla="*/ 27 w 642"/>
              <a:gd name="T13" fmla="*/ 34 h 231"/>
              <a:gd name="T14" fmla="*/ 0 w 642"/>
              <a:gd name="T15" fmla="*/ 227 h 231"/>
              <a:gd name="T16" fmla="*/ 303 w 642"/>
              <a:gd name="T17" fmla="*/ 225 h 231"/>
              <a:gd name="T18" fmla="*/ 235 w 642"/>
              <a:gd name="T19" fmla="*/ 218 h 231"/>
              <a:gd name="T20" fmla="*/ 227 w 642"/>
              <a:gd name="T21" fmla="*/ 162 h 231"/>
              <a:gd name="T22" fmla="*/ 259 w 642"/>
              <a:gd name="T23" fmla="*/ 137 h 231"/>
              <a:gd name="T24" fmla="*/ 329 w 642"/>
              <a:gd name="T25" fmla="*/ 123 h 231"/>
              <a:gd name="T26" fmla="*/ 321 w 642"/>
              <a:gd name="T27" fmla="*/ 92 h 231"/>
              <a:gd name="T28" fmla="*/ 264 w 642"/>
              <a:gd name="T29" fmla="*/ 89 h 231"/>
              <a:gd name="T30" fmla="*/ 226 w 642"/>
              <a:gd name="T31" fmla="*/ 110 h 231"/>
              <a:gd name="T32" fmla="*/ 261 w 642"/>
              <a:gd name="T33" fmla="*/ 65 h 231"/>
              <a:gd name="T34" fmla="*/ 327 w 642"/>
              <a:gd name="T35" fmla="*/ 64 h 231"/>
              <a:gd name="T36" fmla="*/ 354 w 642"/>
              <a:gd name="T37" fmla="*/ 96 h 231"/>
              <a:gd name="T38" fmla="*/ 355 w 642"/>
              <a:gd name="T39" fmla="*/ 158 h 231"/>
              <a:gd name="T40" fmla="*/ 363 w 642"/>
              <a:gd name="T41" fmla="*/ 227 h 231"/>
              <a:gd name="T42" fmla="*/ 331 w 642"/>
              <a:gd name="T43" fmla="*/ 207 h 231"/>
              <a:gd name="T44" fmla="*/ 286 w 642"/>
              <a:gd name="T45" fmla="*/ 155 h 231"/>
              <a:gd name="T46" fmla="*/ 253 w 642"/>
              <a:gd name="T47" fmla="*/ 170 h 231"/>
              <a:gd name="T48" fmla="*/ 257 w 642"/>
              <a:gd name="T49" fmla="*/ 201 h 231"/>
              <a:gd name="T50" fmla="*/ 307 w 642"/>
              <a:gd name="T51" fmla="*/ 202 h 231"/>
              <a:gd name="T52" fmla="*/ 329 w 642"/>
              <a:gd name="T53" fmla="*/ 155 h 231"/>
              <a:gd name="T54" fmla="*/ 381 w 642"/>
              <a:gd name="T55" fmla="*/ 227 h 231"/>
              <a:gd name="T56" fmla="*/ 407 w 642"/>
              <a:gd name="T57" fmla="*/ 0 h 231"/>
              <a:gd name="T58" fmla="*/ 469 w 642"/>
              <a:gd name="T59" fmla="*/ 63 h 231"/>
              <a:gd name="T60" fmla="*/ 444 w 642"/>
              <a:gd name="T61" fmla="*/ 124 h 231"/>
              <a:gd name="T62" fmla="*/ 476 w 642"/>
              <a:gd name="T63" fmla="*/ 227 h 231"/>
              <a:gd name="T64" fmla="*/ 407 w 642"/>
              <a:gd name="T65" fmla="*/ 162 h 231"/>
              <a:gd name="T66" fmla="*/ 381 w 642"/>
              <a:gd name="T67" fmla="*/ 227 h 231"/>
              <a:gd name="T68" fmla="*/ 641 w 642"/>
              <a:gd name="T69" fmla="*/ 178 h 231"/>
              <a:gd name="T70" fmla="*/ 574 w 642"/>
              <a:gd name="T71" fmla="*/ 231 h 231"/>
              <a:gd name="T72" fmla="*/ 501 w 642"/>
              <a:gd name="T73" fmla="*/ 146 h 231"/>
              <a:gd name="T74" fmla="*/ 572 w 642"/>
              <a:gd name="T75" fmla="*/ 59 h 231"/>
              <a:gd name="T76" fmla="*/ 642 w 642"/>
              <a:gd name="T77" fmla="*/ 145 h 231"/>
              <a:gd name="T78" fmla="*/ 527 w 642"/>
              <a:gd name="T79" fmla="*/ 152 h 231"/>
              <a:gd name="T80" fmla="*/ 574 w 642"/>
              <a:gd name="T81" fmla="*/ 208 h 231"/>
              <a:gd name="T82" fmla="*/ 614 w 642"/>
              <a:gd name="T83" fmla="*/ 174 h 231"/>
              <a:gd name="T84" fmla="*/ 614 w 642"/>
              <a:gd name="T85" fmla="*/ 129 h 231"/>
              <a:gd name="T86" fmla="*/ 572 w 642"/>
              <a:gd name="T87" fmla="*/ 82 h 231"/>
              <a:gd name="T88" fmla="*/ 529 w 642"/>
              <a:gd name="T89" fmla="*/ 129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42" h="231">
                <a:moveTo>
                  <a:pt x="0" y="227"/>
                </a:moveTo>
                <a:lnTo>
                  <a:pt x="0" y="0"/>
                </a:lnTo>
                <a:lnTo>
                  <a:pt x="42" y="0"/>
                </a:lnTo>
                <a:lnTo>
                  <a:pt x="93" y="161"/>
                </a:lnTo>
                <a:cubicBezTo>
                  <a:pt x="97" y="176"/>
                  <a:pt x="101" y="187"/>
                  <a:pt x="103" y="195"/>
                </a:cubicBezTo>
                <a:cubicBezTo>
                  <a:pt x="105" y="186"/>
                  <a:pt x="109" y="174"/>
                  <a:pt x="114" y="158"/>
                </a:cubicBezTo>
                <a:lnTo>
                  <a:pt x="165" y="0"/>
                </a:lnTo>
                <a:lnTo>
                  <a:pt x="203" y="0"/>
                </a:lnTo>
                <a:lnTo>
                  <a:pt x="203" y="227"/>
                </a:lnTo>
                <a:lnTo>
                  <a:pt x="176" y="227"/>
                </a:lnTo>
                <a:lnTo>
                  <a:pt x="176" y="37"/>
                </a:lnTo>
                <a:lnTo>
                  <a:pt x="114" y="227"/>
                </a:lnTo>
                <a:lnTo>
                  <a:pt x="89" y="227"/>
                </a:lnTo>
                <a:lnTo>
                  <a:pt x="27" y="34"/>
                </a:lnTo>
                <a:lnTo>
                  <a:pt x="27" y="227"/>
                </a:lnTo>
                <a:lnTo>
                  <a:pt x="0" y="227"/>
                </a:lnTo>
                <a:close/>
                <a:moveTo>
                  <a:pt x="331" y="207"/>
                </a:moveTo>
                <a:cubicBezTo>
                  <a:pt x="321" y="215"/>
                  <a:pt x="312" y="222"/>
                  <a:pt x="303" y="225"/>
                </a:cubicBezTo>
                <a:cubicBezTo>
                  <a:pt x="294" y="229"/>
                  <a:pt x="284" y="231"/>
                  <a:pt x="274" y="231"/>
                </a:cubicBezTo>
                <a:cubicBezTo>
                  <a:pt x="257" y="231"/>
                  <a:pt x="244" y="226"/>
                  <a:pt x="235" y="218"/>
                </a:cubicBezTo>
                <a:cubicBezTo>
                  <a:pt x="226" y="209"/>
                  <a:pt x="222" y="198"/>
                  <a:pt x="222" y="184"/>
                </a:cubicBezTo>
                <a:cubicBezTo>
                  <a:pt x="222" y="176"/>
                  <a:pt x="223" y="168"/>
                  <a:pt x="227" y="162"/>
                </a:cubicBezTo>
                <a:cubicBezTo>
                  <a:pt x="230" y="155"/>
                  <a:pt x="235" y="150"/>
                  <a:pt x="240" y="146"/>
                </a:cubicBezTo>
                <a:cubicBezTo>
                  <a:pt x="246" y="142"/>
                  <a:pt x="252" y="139"/>
                  <a:pt x="259" y="137"/>
                </a:cubicBezTo>
                <a:cubicBezTo>
                  <a:pt x="264" y="135"/>
                  <a:pt x="272" y="134"/>
                  <a:pt x="282" y="132"/>
                </a:cubicBezTo>
                <a:cubicBezTo>
                  <a:pt x="303" y="130"/>
                  <a:pt x="319" y="127"/>
                  <a:pt x="329" y="123"/>
                </a:cubicBezTo>
                <a:cubicBezTo>
                  <a:pt x="329" y="119"/>
                  <a:pt x="329" y="117"/>
                  <a:pt x="329" y="116"/>
                </a:cubicBezTo>
                <a:cubicBezTo>
                  <a:pt x="329" y="104"/>
                  <a:pt x="326" y="96"/>
                  <a:pt x="321" y="92"/>
                </a:cubicBezTo>
                <a:cubicBezTo>
                  <a:pt x="315" y="85"/>
                  <a:pt x="305" y="82"/>
                  <a:pt x="292" y="82"/>
                </a:cubicBezTo>
                <a:cubicBezTo>
                  <a:pt x="279" y="82"/>
                  <a:pt x="270" y="85"/>
                  <a:pt x="264" y="89"/>
                </a:cubicBezTo>
                <a:cubicBezTo>
                  <a:pt x="259" y="94"/>
                  <a:pt x="254" y="102"/>
                  <a:pt x="251" y="114"/>
                </a:cubicBezTo>
                <a:lnTo>
                  <a:pt x="226" y="110"/>
                </a:lnTo>
                <a:cubicBezTo>
                  <a:pt x="228" y="98"/>
                  <a:pt x="232" y="89"/>
                  <a:pt x="237" y="81"/>
                </a:cubicBezTo>
                <a:cubicBezTo>
                  <a:pt x="243" y="74"/>
                  <a:pt x="250" y="69"/>
                  <a:pt x="261" y="65"/>
                </a:cubicBezTo>
                <a:cubicBezTo>
                  <a:pt x="271" y="61"/>
                  <a:pt x="282" y="59"/>
                  <a:pt x="295" y="59"/>
                </a:cubicBezTo>
                <a:cubicBezTo>
                  <a:pt x="309" y="59"/>
                  <a:pt x="319" y="61"/>
                  <a:pt x="327" y="64"/>
                </a:cubicBezTo>
                <a:cubicBezTo>
                  <a:pt x="336" y="67"/>
                  <a:pt x="342" y="71"/>
                  <a:pt x="346" y="76"/>
                </a:cubicBezTo>
                <a:cubicBezTo>
                  <a:pt x="349" y="82"/>
                  <a:pt x="352" y="88"/>
                  <a:pt x="354" y="96"/>
                </a:cubicBezTo>
                <a:cubicBezTo>
                  <a:pt x="355" y="100"/>
                  <a:pt x="355" y="109"/>
                  <a:pt x="355" y="121"/>
                </a:cubicBezTo>
                <a:lnTo>
                  <a:pt x="355" y="158"/>
                </a:lnTo>
                <a:cubicBezTo>
                  <a:pt x="355" y="184"/>
                  <a:pt x="356" y="200"/>
                  <a:pt x="357" y="207"/>
                </a:cubicBezTo>
                <a:cubicBezTo>
                  <a:pt x="358" y="214"/>
                  <a:pt x="360" y="221"/>
                  <a:pt x="363" y="227"/>
                </a:cubicBezTo>
                <a:lnTo>
                  <a:pt x="336" y="227"/>
                </a:lnTo>
                <a:cubicBezTo>
                  <a:pt x="333" y="221"/>
                  <a:pt x="331" y="215"/>
                  <a:pt x="331" y="207"/>
                </a:cubicBezTo>
                <a:close/>
                <a:moveTo>
                  <a:pt x="329" y="145"/>
                </a:moveTo>
                <a:cubicBezTo>
                  <a:pt x="319" y="149"/>
                  <a:pt x="305" y="152"/>
                  <a:pt x="286" y="155"/>
                </a:cubicBezTo>
                <a:cubicBezTo>
                  <a:pt x="275" y="157"/>
                  <a:pt x="268" y="159"/>
                  <a:pt x="263" y="161"/>
                </a:cubicBezTo>
                <a:cubicBezTo>
                  <a:pt x="259" y="163"/>
                  <a:pt x="255" y="166"/>
                  <a:pt x="253" y="170"/>
                </a:cubicBezTo>
                <a:cubicBezTo>
                  <a:pt x="251" y="174"/>
                  <a:pt x="249" y="178"/>
                  <a:pt x="249" y="183"/>
                </a:cubicBezTo>
                <a:cubicBezTo>
                  <a:pt x="249" y="190"/>
                  <a:pt x="252" y="197"/>
                  <a:pt x="257" y="201"/>
                </a:cubicBezTo>
                <a:cubicBezTo>
                  <a:pt x="263" y="206"/>
                  <a:pt x="270" y="209"/>
                  <a:pt x="280" y="209"/>
                </a:cubicBezTo>
                <a:cubicBezTo>
                  <a:pt x="290" y="209"/>
                  <a:pt x="299" y="207"/>
                  <a:pt x="307" y="202"/>
                </a:cubicBezTo>
                <a:cubicBezTo>
                  <a:pt x="315" y="197"/>
                  <a:pt x="321" y="191"/>
                  <a:pt x="324" y="183"/>
                </a:cubicBezTo>
                <a:cubicBezTo>
                  <a:pt x="327" y="176"/>
                  <a:pt x="329" y="167"/>
                  <a:pt x="329" y="155"/>
                </a:cubicBezTo>
                <a:lnTo>
                  <a:pt x="329" y="145"/>
                </a:lnTo>
                <a:close/>
                <a:moveTo>
                  <a:pt x="381" y="227"/>
                </a:moveTo>
                <a:lnTo>
                  <a:pt x="381" y="0"/>
                </a:lnTo>
                <a:lnTo>
                  <a:pt x="407" y="0"/>
                </a:lnTo>
                <a:lnTo>
                  <a:pt x="407" y="129"/>
                </a:lnTo>
                <a:lnTo>
                  <a:pt x="469" y="63"/>
                </a:lnTo>
                <a:lnTo>
                  <a:pt x="502" y="63"/>
                </a:lnTo>
                <a:lnTo>
                  <a:pt x="444" y="124"/>
                </a:lnTo>
                <a:lnTo>
                  <a:pt x="508" y="227"/>
                </a:lnTo>
                <a:lnTo>
                  <a:pt x="476" y="227"/>
                </a:lnTo>
                <a:lnTo>
                  <a:pt x="425" y="143"/>
                </a:lnTo>
                <a:lnTo>
                  <a:pt x="407" y="162"/>
                </a:lnTo>
                <a:lnTo>
                  <a:pt x="407" y="227"/>
                </a:lnTo>
                <a:lnTo>
                  <a:pt x="381" y="227"/>
                </a:lnTo>
                <a:close/>
                <a:moveTo>
                  <a:pt x="614" y="174"/>
                </a:moveTo>
                <a:lnTo>
                  <a:pt x="641" y="178"/>
                </a:lnTo>
                <a:cubicBezTo>
                  <a:pt x="637" y="195"/>
                  <a:pt x="629" y="208"/>
                  <a:pt x="618" y="217"/>
                </a:cubicBezTo>
                <a:cubicBezTo>
                  <a:pt x="606" y="226"/>
                  <a:pt x="592" y="231"/>
                  <a:pt x="574" y="231"/>
                </a:cubicBezTo>
                <a:cubicBezTo>
                  <a:pt x="551" y="231"/>
                  <a:pt x="534" y="223"/>
                  <a:pt x="521" y="209"/>
                </a:cubicBezTo>
                <a:cubicBezTo>
                  <a:pt x="507" y="194"/>
                  <a:pt x="501" y="173"/>
                  <a:pt x="501" y="146"/>
                </a:cubicBezTo>
                <a:cubicBezTo>
                  <a:pt x="501" y="119"/>
                  <a:pt x="507" y="97"/>
                  <a:pt x="521" y="82"/>
                </a:cubicBezTo>
                <a:cubicBezTo>
                  <a:pt x="534" y="67"/>
                  <a:pt x="551" y="59"/>
                  <a:pt x="572" y="59"/>
                </a:cubicBezTo>
                <a:cubicBezTo>
                  <a:pt x="593" y="59"/>
                  <a:pt x="610" y="66"/>
                  <a:pt x="622" y="81"/>
                </a:cubicBezTo>
                <a:cubicBezTo>
                  <a:pt x="635" y="96"/>
                  <a:pt x="642" y="117"/>
                  <a:pt x="642" y="145"/>
                </a:cubicBezTo>
                <a:cubicBezTo>
                  <a:pt x="642" y="146"/>
                  <a:pt x="642" y="149"/>
                  <a:pt x="642" y="152"/>
                </a:cubicBezTo>
                <a:lnTo>
                  <a:pt x="527" y="152"/>
                </a:lnTo>
                <a:cubicBezTo>
                  <a:pt x="528" y="170"/>
                  <a:pt x="533" y="184"/>
                  <a:pt x="542" y="194"/>
                </a:cubicBezTo>
                <a:cubicBezTo>
                  <a:pt x="550" y="203"/>
                  <a:pt x="561" y="208"/>
                  <a:pt x="574" y="208"/>
                </a:cubicBezTo>
                <a:cubicBezTo>
                  <a:pt x="583" y="208"/>
                  <a:pt x="591" y="205"/>
                  <a:pt x="598" y="200"/>
                </a:cubicBezTo>
                <a:cubicBezTo>
                  <a:pt x="605" y="194"/>
                  <a:pt x="610" y="186"/>
                  <a:pt x="614" y="174"/>
                </a:cubicBezTo>
                <a:close/>
                <a:moveTo>
                  <a:pt x="529" y="129"/>
                </a:moveTo>
                <a:lnTo>
                  <a:pt x="614" y="129"/>
                </a:lnTo>
                <a:cubicBezTo>
                  <a:pt x="613" y="115"/>
                  <a:pt x="610" y="105"/>
                  <a:pt x="605" y="98"/>
                </a:cubicBezTo>
                <a:cubicBezTo>
                  <a:pt x="596" y="87"/>
                  <a:pt x="586" y="82"/>
                  <a:pt x="572" y="82"/>
                </a:cubicBezTo>
                <a:cubicBezTo>
                  <a:pt x="561" y="82"/>
                  <a:pt x="551" y="86"/>
                  <a:pt x="542" y="95"/>
                </a:cubicBezTo>
                <a:cubicBezTo>
                  <a:pt x="534" y="103"/>
                  <a:pt x="530" y="115"/>
                  <a:pt x="529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5" name="Freeform 75">
            <a:extLst>
              <a:ext uri="{FF2B5EF4-FFF2-40B4-BE49-F238E27FC236}">
                <a16:creationId xmlns:a16="http://schemas.microsoft.com/office/drawing/2014/main" id="{A20B5216-814A-457B-AC34-FC0840A7464E}"/>
              </a:ext>
            </a:extLst>
          </p:cNvPr>
          <p:cNvSpPr>
            <a:spLocks noEditPoints="1"/>
          </p:cNvSpPr>
          <p:nvPr/>
        </p:nvSpPr>
        <p:spPr bwMode="auto">
          <a:xfrm>
            <a:off x="547688" y="4049713"/>
            <a:ext cx="301625" cy="82550"/>
          </a:xfrm>
          <a:custGeom>
            <a:avLst/>
            <a:gdLst>
              <a:gd name="T0" fmla="*/ 0 w 838"/>
              <a:gd name="T1" fmla="*/ 0 h 231"/>
              <a:gd name="T2" fmla="*/ 140 w 838"/>
              <a:gd name="T3" fmla="*/ 179 h 231"/>
              <a:gd name="T4" fmla="*/ 167 w 838"/>
              <a:gd name="T5" fmla="*/ 0 h 231"/>
              <a:gd name="T6" fmla="*/ 138 w 838"/>
              <a:gd name="T7" fmla="*/ 228 h 231"/>
              <a:gd name="T8" fmla="*/ 27 w 838"/>
              <a:gd name="T9" fmla="*/ 228 h 231"/>
              <a:gd name="T10" fmla="*/ 302 w 838"/>
              <a:gd name="T11" fmla="*/ 174 h 231"/>
              <a:gd name="T12" fmla="*/ 305 w 838"/>
              <a:gd name="T13" fmla="*/ 217 h 231"/>
              <a:gd name="T14" fmla="*/ 208 w 838"/>
              <a:gd name="T15" fmla="*/ 209 h 231"/>
              <a:gd name="T16" fmla="*/ 209 w 838"/>
              <a:gd name="T17" fmla="*/ 82 h 231"/>
              <a:gd name="T18" fmla="*/ 310 w 838"/>
              <a:gd name="T19" fmla="*/ 82 h 231"/>
              <a:gd name="T20" fmla="*/ 330 w 838"/>
              <a:gd name="T21" fmla="*/ 153 h 231"/>
              <a:gd name="T22" fmla="*/ 230 w 838"/>
              <a:gd name="T23" fmla="*/ 194 h 231"/>
              <a:gd name="T24" fmla="*/ 286 w 838"/>
              <a:gd name="T25" fmla="*/ 200 h 231"/>
              <a:gd name="T26" fmla="*/ 217 w 838"/>
              <a:gd name="T27" fmla="*/ 130 h 231"/>
              <a:gd name="T28" fmla="*/ 292 w 838"/>
              <a:gd name="T29" fmla="*/ 99 h 231"/>
              <a:gd name="T30" fmla="*/ 230 w 838"/>
              <a:gd name="T31" fmla="*/ 95 h 231"/>
              <a:gd name="T32" fmla="*/ 374 w 838"/>
              <a:gd name="T33" fmla="*/ 228 h 231"/>
              <a:gd name="T34" fmla="*/ 355 w 838"/>
              <a:gd name="T35" fmla="*/ 63 h 231"/>
              <a:gd name="T36" fmla="*/ 388 w 838"/>
              <a:gd name="T37" fmla="*/ 193 h 231"/>
              <a:gd name="T38" fmla="*/ 420 w 838"/>
              <a:gd name="T39" fmla="*/ 63 h 231"/>
              <a:gd name="T40" fmla="*/ 470 w 838"/>
              <a:gd name="T41" fmla="*/ 159 h 231"/>
              <a:gd name="T42" fmla="*/ 487 w 838"/>
              <a:gd name="T43" fmla="*/ 158 h 231"/>
              <a:gd name="T44" fmla="*/ 538 w 838"/>
              <a:gd name="T45" fmla="*/ 63 h 231"/>
              <a:gd name="T46" fmla="*/ 463 w 838"/>
              <a:gd name="T47" fmla="*/ 228 h 231"/>
              <a:gd name="T48" fmla="*/ 433 w 838"/>
              <a:gd name="T49" fmla="*/ 101 h 231"/>
              <a:gd name="T50" fmla="*/ 374 w 838"/>
              <a:gd name="T51" fmla="*/ 228 h 231"/>
              <a:gd name="T52" fmla="*/ 623 w 838"/>
              <a:gd name="T53" fmla="*/ 0 h 231"/>
              <a:gd name="T54" fmla="*/ 651 w 838"/>
              <a:gd name="T55" fmla="*/ 228 h 231"/>
              <a:gd name="T56" fmla="*/ 740 w 838"/>
              <a:gd name="T57" fmla="*/ 228 h 231"/>
              <a:gd name="T58" fmla="*/ 670 w 838"/>
              <a:gd name="T59" fmla="*/ 27 h 231"/>
              <a:gd name="T60" fmla="*/ 838 w 838"/>
              <a:gd name="T61" fmla="*/ 0 h 231"/>
              <a:gd name="T62" fmla="*/ 768 w 838"/>
              <a:gd name="T63" fmla="*/ 27 h 231"/>
              <a:gd name="T64" fmla="*/ 740 w 838"/>
              <a:gd name="T65" fmla="*/ 228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838" h="231">
                <a:moveTo>
                  <a:pt x="0" y="228"/>
                </a:moveTo>
                <a:lnTo>
                  <a:pt x="0" y="0"/>
                </a:lnTo>
                <a:lnTo>
                  <a:pt x="29" y="0"/>
                </a:lnTo>
                <a:lnTo>
                  <a:pt x="140" y="179"/>
                </a:lnTo>
                <a:lnTo>
                  <a:pt x="140" y="0"/>
                </a:lnTo>
                <a:lnTo>
                  <a:pt x="167" y="0"/>
                </a:lnTo>
                <a:lnTo>
                  <a:pt x="167" y="228"/>
                </a:lnTo>
                <a:lnTo>
                  <a:pt x="138" y="228"/>
                </a:lnTo>
                <a:lnTo>
                  <a:pt x="27" y="49"/>
                </a:lnTo>
                <a:lnTo>
                  <a:pt x="27" y="228"/>
                </a:lnTo>
                <a:lnTo>
                  <a:pt x="0" y="228"/>
                </a:lnTo>
                <a:close/>
                <a:moveTo>
                  <a:pt x="302" y="174"/>
                </a:moveTo>
                <a:lnTo>
                  <a:pt x="329" y="178"/>
                </a:lnTo>
                <a:cubicBezTo>
                  <a:pt x="325" y="195"/>
                  <a:pt x="317" y="208"/>
                  <a:pt x="305" y="217"/>
                </a:cubicBezTo>
                <a:cubicBezTo>
                  <a:pt x="294" y="227"/>
                  <a:pt x="279" y="231"/>
                  <a:pt x="262" y="231"/>
                </a:cubicBezTo>
                <a:cubicBezTo>
                  <a:pt x="239" y="231"/>
                  <a:pt x="221" y="224"/>
                  <a:pt x="208" y="209"/>
                </a:cubicBezTo>
                <a:cubicBezTo>
                  <a:pt x="195" y="194"/>
                  <a:pt x="189" y="173"/>
                  <a:pt x="189" y="147"/>
                </a:cubicBezTo>
                <a:cubicBezTo>
                  <a:pt x="189" y="119"/>
                  <a:pt x="195" y="98"/>
                  <a:pt x="209" y="82"/>
                </a:cubicBezTo>
                <a:cubicBezTo>
                  <a:pt x="222" y="67"/>
                  <a:pt x="239" y="60"/>
                  <a:pt x="260" y="60"/>
                </a:cubicBezTo>
                <a:cubicBezTo>
                  <a:pt x="281" y="60"/>
                  <a:pt x="297" y="67"/>
                  <a:pt x="310" y="82"/>
                </a:cubicBezTo>
                <a:cubicBezTo>
                  <a:pt x="323" y="97"/>
                  <a:pt x="330" y="118"/>
                  <a:pt x="330" y="145"/>
                </a:cubicBezTo>
                <a:cubicBezTo>
                  <a:pt x="330" y="147"/>
                  <a:pt x="330" y="149"/>
                  <a:pt x="330" y="153"/>
                </a:cubicBezTo>
                <a:lnTo>
                  <a:pt x="215" y="153"/>
                </a:lnTo>
                <a:cubicBezTo>
                  <a:pt x="216" y="171"/>
                  <a:pt x="221" y="184"/>
                  <a:pt x="230" y="194"/>
                </a:cubicBezTo>
                <a:cubicBezTo>
                  <a:pt x="238" y="204"/>
                  <a:pt x="249" y="208"/>
                  <a:pt x="262" y="208"/>
                </a:cubicBezTo>
                <a:cubicBezTo>
                  <a:pt x="271" y="208"/>
                  <a:pt x="279" y="206"/>
                  <a:pt x="286" y="200"/>
                </a:cubicBezTo>
                <a:cubicBezTo>
                  <a:pt x="293" y="195"/>
                  <a:pt x="298" y="186"/>
                  <a:pt x="302" y="174"/>
                </a:cubicBezTo>
                <a:close/>
                <a:moveTo>
                  <a:pt x="217" y="130"/>
                </a:moveTo>
                <a:lnTo>
                  <a:pt x="302" y="130"/>
                </a:lnTo>
                <a:cubicBezTo>
                  <a:pt x="301" y="116"/>
                  <a:pt x="298" y="105"/>
                  <a:pt x="292" y="99"/>
                </a:cubicBezTo>
                <a:cubicBezTo>
                  <a:pt x="284" y="88"/>
                  <a:pt x="274" y="82"/>
                  <a:pt x="260" y="82"/>
                </a:cubicBezTo>
                <a:cubicBezTo>
                  <a:pt x="248" y="82"/>
                  <a:pt x="238" y="87"/>
                  <a:pt x="230" y="95"/>
                </a:cubicBezTo>
                <a:cubicBezTo>
                  <a:pt x="222" y="104"/>
                  <a:pt x="218" y="115"/>
                  <a:pt x="217" y="130"/>
                </a:cubicBezTo>
                <a:close/>
                <a:moveTo>
                  <a:pt x="374" y="228"/>
                </a:moveTo>
                <a:lnTo>
                  <a:pt x="328" y="63"/>
                </a:lnTo>
                <a:lnTo>
                  <a:pt x="355" y="63"/>
                </a:lnTo>
                <a:lnTo>
                  <a:pt x="379" y="158"/>
                </a:lnTo>
                <a:lnTo>
                  <a:pt x="388" y="193"/>
                </a:lnTo>
                <a:cubicBezTo>
                  <a:pt x="388" y="192"/>
                  <a:pt x="391" y="180"/>
                  <a:pt x="396" y="160"/>
                </a:cubicBezTo>
                <a:lnTo>
                  <a:pt x="420" y="63"/>
                </a:lnTo>
                <a:lnTo>
                  <a:pt x="447" y="63"/>
                </a:lnTo>
                <a:lnTo>
                  <a:pt x="470" y="159"/>
                </a:lnTo>
                <a:lnTo>
                  <a:pt x="478" y="190"/>
                </a:lnTo>
                <a:lnTo>
                  <a:pt x="487" y="158"/>
                </a:lnTo>
                <a:lnTo>
                  <a:pt x="513" y="63"/>
                </a:lnTo>
                <a:lnTo>
                  <a:pt x="538" y="63"/>
                </a:lnTo>
                <a:lnTo>
                  <a:pt x="490" y="228"/>
                </a:lnTo>
                <a:lnTo>
                  <a:pt x="463" y="228"/>
                </a:lnTo>
                <a:lnTo>
                  <a:pt x="439" y="129"/>
                </a:lnTo>
                <a:lnTo>
                  <a:pt x="433" y="101"/>
                </a:lnTo>
                <a:lnTo>
                  <a:pt x="402" y="228"/>
                </a:lnTo>
                <a:lnTo>
                  <a:pt x="374" y="228"/>
                </a:lnTo>
                <a:close/>
                <a:moveTo>
                  <a:pt x="623" y="228"/>
                </a:moveTo>
                <a:lnTo>
                  <a:pt x="623" y="0"/>
                </a:lnTo>
                <a:lnTo>
                  <a:pt x="651" y="0"/>
                </a:lnTo>
                <a:lnTo>
                  <a:pt x="651" y="228"/>
                </a:lnTo>
                <a:lnTo>
                  <a:pt x="623" y="228"/>
                </a:lnTo>
                <a:close/>
                <a:moveTo>
                  <a:pt x="740" y="228"/>
                </a:moveTo>
                <a:lnTo>
                  <a:pt x="740" y="27"/>
                </a:lnTo>
                <a:lnTo>
                  <a:pt x="670" y="27"/>
                </a:lnTo>
                <a:lnTo>
                  <a:pt x="670" y="0"/>
                </a:lnTo>
                <a:lnTo>
                  <a:pt x="838" y="0"/>
                </a:lnTo>
                <a:lnTo>
                  <a:pt x="838" y="27"/>
                </a:lnTo>
                <a:lnTo>
                  <a:pt x="768" y="27"/>
                </a:lnTo>
                <a:lnTo>
                  <a:pt x="768" y="228"/>
                </a:lnTo>
                <a:lnTo>
                  <a:pt x="740" y="2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7" name="Freeform 77">
            <a:extLst>
              <a:ext uri="{FF2B5EF4-FFF2-40B4-BE49-F238E27FC236}">
                <a16:creationId xmlns:a16="http://schemas.microsoft.com/office/drawing/2014/main" id="{3B96BD32-6D25-4CCE-9073-F05DF2FB94E4}"/>
              </a:ext>
            </a:extLst>
          </p:cNvPr>
          <p:cNvSpPr>
            <a:spLocks noEditPoints="1"/>
          </p:cNvSpPr>
          <p:nvPr/>
        </p:nvSpPr>
        <p:spPr bwMode="auto">
          <a:xfrm>
            <a:off x="1190626" y="5065713"/>
            <a:ext cx="506413" cy="198438"/>
          </a:xfrm>
          <a:custGeom>
            <a:avLst/>
            <a:gdLst>
              <a:gd name="T0" fmla="*/ 11 w 1406"/>
              <a:gd name="T1" fmla="*/ 177 h 552"/>
              <a:gd name="T2" fmla="*/ 183 w 1406"/>
              <a:gd name="T3" fmla="*/ 66 h 552"/>
              <a:gd name="T4" fmla="*/ 29 w 1406"/>
              <a:gd name="T5" fmla="*/ 116 h 552"/>
              <a:gd name="T6" fmla="*/ 278 w 1406"/>
              <a:gd name="T7" fmla="*/ 469 h 552"/>
              <a:gd name="T8" fmla="*/ 119 w 1406"/>
              <a:gd name="T9" fmla="*/ 433 h 552"/>
              <a:gd name="T10" fmla="*/ 275 w 1406"/>
              <a:gd name="T11" fmla="*/ 391 h 552"/>
              <a:gd name="T12" fmla="*/ 155 w 1406"/>
              <a:gd name="T13" fmla="*/ 484 h 552"/>
              <a:gd name="T14" fmla="*/ 323 w 1406"/>
              <a:gd name="T15" fmla="*/ 384 h 552"/>
              <a:gd name="T16" fmla="*/ 397 w 1406"/>
              <a:gd name="T17" fmla="*/ 415 h 552"/>
              <a:gd name="T18" fmla="*/ 323 w 1406"/>
              <a:gd name="T19" fmla="*/ 549 h 552"/>
              <a:gd name="T20" fmla="*/ 395 w 1406"/>
              <a:gd name="T21" fmla="*/ 468 h 552"/>
              <a:gd name="T22" fmla="*/ 422 w 1406"/>
              <a:gd name="T23" fmla="*/ 473 h 552"/>
              <a:gd name="T24" fmla="*/ 509 w 1406"/>
              <a:gd name="T25" fmla="*/ 450 h 552"/>
              <a:gd name="T26" fmla="*/ 628 w 1406"/>
              <a:gd name="T27" fmla="*/ 547 h 552"/>
              <a:gd name="T28" fmla="*/ 584 w 1406"/>
              <a:gd name="T29" fmla="*/ 458 h 552"/>
              <a:gd name="T30" fmla="*/ 590 w 1406"/>
              <a:gd name="T31" fmla="*/ 410 h 552"/>
              <a:gd name="T32" fmla="*/ 653 w 1406"/>
              <a:gd name="T33" fmla="*/ 385 h 552"/>
              <a:gd name="T34" fmla="*/ 688 w 1406"/>
              <a:gd name="T35" fmla="*/ 549 h 552"/>
              <a:gd name="T36" fmla="*/ 578 w 1406"/>
              <a:gd name="T37" fmla="*/ 491 h 552"/>
              <a:gd name="T38" fmla="*/ 654 w 1406"/>
              <a:gd name="T39" fmla="*/ 476 h 552"/>
              <a:gd name="T40" fmla="*/ 714 w 1406"/>
              <a:gd name="T41" fmla="*/ 533 h 552"/>
              <a:gd name="T42" fmla="*/ 711 w 1406"/>
              <a:gd name="T43" fmla="*/ 343 h 552"/>
              <a:gd name="T44" fmla="*/ 737 w 1406"/>
              <a:gd name="T45" fmla="*/ 502 h 552"/>
              <a:gd name="T46" fmla="*/ 775 w 1406"/>
              <a:gd name="T47" fmla="*/ 321 h 552"/>
              <a:gd name="T48" fmla="*/ 801 w 1406"/>
              <a:gd name="T49" fmla="*/ 384 h 552"/>
              <a:gd name="T50" fmla="*/ 941 w 1406"/>
              <a:gd name="T51" fmla="*/ 402 h 552"/>
              <a:gd name="T52" fmla="*/ 817 w 1406"/>
              <a:gd name="T53" fmla="*/ 466 h 552"/>
              <a:gd name="T54" fmla="*/ 921 w 1406"/>
              <a:gd name="T55" fmla="*/ 419 h 552"/>
              <a:gd name="T56" fmla="*/ 1001 w 1406"/>
              <a:gd name="T57" fmla="*/ 384 h 552"/>
              <a:gd name="T58" fmla="*/ 1102 w 1406"/>
              <a:gd name="T59" fmla="*/ 447 h 552"/>
              <a:gd name="T60" fmla="*/ 1044 w 1406"/>
              <a:gd name="T61" fmla="*/ 404 h 552"/>
              <a:gd name="T62" fmla="*/ 1261 w 1406"/>
              <a:gd name="T63" fmla="*/ 549 h 552"/>
              <a:gd name="T64" fmla="*/ 1270 w 1406"/>
              <a:gd name="T65" fmla="*/ 320 h 552"/>
              <a:gd name="T66" fmla="*/ 230 w 1406"/>
              <a:gd name="T67" fmla="*/ 231 h 552"/>
              <a:gd name="T68" fmla="*/ 257 w 1406"/>
              <a:gd name="T69" fmla="*/ 35 h 552"/>
              <a:gd name="T70" fmla="*/ 413 w 1406"/>
              <a:gd name="T71" fmla="*/ 178 h 552"/>
              <a:gd name="T72" fmla="*/ 320 w 1406"/>
              <a:gd name="T73" fmla="*/ 86 h 552"/>
              <a:gd name="T74" fmla="*/ 341 w 1406"/>
              <a:gd name="T75" fmla="*/ 197 h 552"/>
              <a:gd name="T76" fmla="*/ 404 w 1406"/>
              <a:gd name="T77" fmla="*/ 102 h 552"/>
              <a:gd name="T78" fmla="*/ 483 w 1406"/>
              <a:gd name="T79" fmla="*/ 66 h 552"/>
              <a:gd name="T80" fmla="*/ 584 w 1406"/>
              <a:gd name="T81" fmla="*/ 130 h 552"/>
              <a:gd name="T82" fmla="*/ 526 w 1406"/>
              <a:gd name="T83" fmla="*/ 87 h 552"/>
              <a:gd name="T84" fmla="*/ 670 w 1406"/>
              <a:gd name="T85" fmla="*/ 231 h 552"/>
              <a:gd name="T86" fmla="*/ 595 w 1406"/>
              <a:gd name="T87" fmla="*/ 88 h 552"/>
              <a:gd name="T88" fmla="*/ 666 w 1406"/>
              <a:gd name="T89" fmla="*/ 66 h 552"/>
              <a:gd name="T90" fmla="*/ 655 w 1406"/>
              <a:gd name="T91" fmla="*/ 207 h 552"/>
              <a:gd name="T92" fmla="*/ 825 w 1406"/>
              <a:gd name="T93" fmla="*/ 206 h 552"/>
              <a:gd name="T94" fmla="*/ 1020 w 1406"/>
              <a:gd name="T95" fmla="*/ 210 h 552"/>
              <a:gd name="T96" fmla="*/ 930 w 1406"/>
              <a:gd name="T97" fmla="*/ 150 h 552"/>
              <a:gd name="T98" fmla="*/ 981 w 1406"/>
              <a:gd name="T99" fmla="*/ 86 h 552"/>
              <a:gd name="T100" fmla="*/ 985 w 1406"/>
              <a:gd name="T101" fmla="*/ 63 h 552"/>
              <a:gd name="T102" fmla="*/ 1046 w 1406"/>
              <a:gd name="T103" fmla="*/ 211 h 552"/>
              <a:gd name="T104" fmla="*/ 953 w 1406"/>
              <a:gd name="T105" fmla="*/ 165 h 552"/>
              <a:gd name="T106" fmla="*/ 1014 w 1406"/>
              <a:gd name="T107" fmla="*/ 186 h 552"/>
              <a:gd name="T108" fmla="*/ 1096 w 1406"/>
              <a:gd name="T109" fmla="*/ 231 h 552"/>
              <a:gd name="T110" fmla="*/ 1132 w 1406"/>
              <a:gd name="T111" fmla="*/ 215 h 552"/>
              <a:gd name="T112" fmla="*/ 1150 w 1406"/>
              <a:gd name="T113" fmla="*/ 187 h 552"/>
              <a:gd name="T114" fmla="*/ 1220 w 1406"/>
              <a:gd name="T115" fmla="*/ 66 h 552"/>
              <a:gd name="T116" fmla="*/ 1382 w 1406"/>
              <a:gd name="T117" fmla="*/ 221 h 552"/>
              <a:gd name="T118" fmla="*/ 1386 w 1406"/>
              <a:gd name="T119" fmla="*/ 85 h 552"/>
              <a:gd name="T120" fmla="*/ 1362 w 1406"/>
              <a:gd name="T121" fmla="*/ 204 h 552"/>
              <a:gd name="T122" fmla="*/ 1306 w 1406"/>
              <a:gd name="T123" fmla="*/ 98 h 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406" h="552">
                <a:moveTo>
                  <a:pt x="159" y="151"/>
                </a:moveTo>
                <a:lnTo>
                  <a:pt x="187" y="159"/>
                </a:lnTo>
                <a:cubicBezTo>
                  <a:pt x="181" y="184"/>
                  <a:pt x="171" y="202"/>
                  <a:pt x="155" y="215"/>
                </a:cubicBezTo>
                <a:cubicBezTo>
                  <a:pt x="140" y="228"/>
                  <a:pt x="121" y="235"/>
                  <a:pt x="99" y="235"/>
                </a:cubicBezTo>
                <a:cubicBezTo>
                  <a:pt x="77" y="235"/>
                  <a:pt x="58" y="230"/>
                  <a:pt x="44" y="220"/>
                </a:cubicBezTo>
                <a:cubicBezTo>
                  <a:pt x="29" y="210"/>
                  <a:pt x="19" y="195"/>
                  <a:pt x="11" y="177"/>
                </a:cubicBezTo>
                <a:cubicBezTo>
                  <a:pt x="4" y="158"/>
                  <a:pt x="0" y="137"/>
                  <a:pt x="0" y="116"/>
                </a:cubicBezTo>
                <a:cubicBezTo>
                  <a:pt x="0" y="92"/>
                  <a:pt x="4" y="71"/>
                  <a:pt x="13" y="54"/>
                </a:cubicBezTo>
                <a:cubicBezTo>
                  <a:pt x="21" y="36"/>
                  <a:pt x="33" y="23"/>
                  <a:pt x="49" y="14"/>
                </a:cubicBezTo>
                <a:cubicBezTo>
                  <a:pt x="64" y="4"/>
                  <a:pt x="81" y="0"/>
                  <a:pt x="100" y="0"/>
                </a:cubicBezTo>
                <a:cubicBezTo>
                  <a:pt x="121" y="0"/>
                  <a:pt x="139" y="6"/>
                  <a:pt x="153" y="17"/>
                </a:cubicBezTo>
                <a:cubicBezTo>
                  <a:pt x="168" y="29"/>
                  <a:pt x="178" y="45"/>
                  <a:pt x="183" y="66"/>
                </a:cubicBezTo>
                <a:lnTo>
                  <a:pt x="156" y="73"/>
                </a:lnTo>
                <a:cubicBezTo>
                  <a:pt x="151" y="57"/>
                  <a:pt x="144" y="44"/>
                  <a:pt x="135" y="37"/>
                </a:cubicBezTo>
                <a:cubicBezTo>
                  <a:pt x="125" y="29"/>
                  <a:pt x="113" y="26"/>
                  <a:pt x="99" y="26"/>
                </a:cubicBezTo>
                <a:cubicBezTo>
                  <a:pt x="83" y="26"/>
                  <a:pt x="70" y="30"/>
                  <a:pt x="59" y="38"/>
                </a:cubicBezTo>
                <a:cubicBezTo>
                  <a:pt x="48" y="47"/>
                  <a:pt x="40" y="58"/>
                  <a:pt x="36" y="72"/>
                </a:cubicBezTo>
                <a:cubicBezTo>
                  <a:pt x="31" y="86"/>
                  <a:pt x="29" y="101"/>
                  <a:pt x="29" y="116"/>
                </a:cubicBezTo>
                <a:cubicBezTo>
                  <a:pt x="29" y="135"/>
                  <a:pt x="32" y="152"/>
                  <a:pt x="37" y="166"/>
                </a:cubicBezTo>
                <a:cubicBezTo>
                  <a:pt x="42" y="181"/>
                  <a:pt x="50" y="191"/>
                  <a:pt x="61" y="198"/>
                </a:cubicBezTo>
                <a:cubicBezTo>
                  <a:pt x="72" y="206"/>
                  <a:pt x="84" y="209"/>
                  <a:pt x="97" y="209"/>
                </a:cubicBezTo>
                <a:cubicBezTo>
                  <a:pt x="113" y="209"/>
                  <a:pt x="126" y="204"/>
                  <a:pt x="137" y="195"/>
                </a:cubicBezTo>
                <a:cubicBezTo>
                  <a:pt x="148" y="185"/>
                  <a:pt x="155" y="170"/>
                  <a:pt x="159" y="151"/>
                </a:cubicBezTo>
                <a:close/>
                <a:moveTo>
                  <a:pt x="278" y="469"/>
                </a:moveTo>
                <a:lnTo>
                  <a:pt x="306" y="476"/>
                </a:lnTo>
                <a:cubicBezTo>
                  <a:pt x="300" y="501"/>
                  <a:pt x="289" y="520"/>
                  <a:pt x="274" y="533"/>
                </a:cubicBezTo>
                <a:cubicBezTo>
                  <a:pt x="259" y="546"/>
                  <a:pt x="240" y="552"/>
                  <a:pt x="218" y="552"/>
                </a:cubicBezTo>
                <a:cubicBezTo>
                  <a:pt x="195" y="552"/>
                  <a:pt x="177" y="547"/>
                  <a:pt x="162" y="537"/>
                </a:cubicBezTo>
                <a:cubicBezTo>
                  <a:pt x="148" y="527"/>
                  <a:pt x="137" y="513"/>
                  <a:pt x="130" y="494"/>
                </a:cubicBezTo>
                <a:cubicBezTo>
                  <a:pt x="122" y="475"/>
                  <a:pt x="119" y="455"/>
                  <a:pt x="119" y="433"/>
                </a:cubicBezTo>
                <a:cubicBezTo>
                  <a:pt x="119" y="410"/>
                  <a:pt x="123" y="389"/>
                  <a:pt x="131" y="371"/>
                </a:cubicBezTo>
                <a:cubicBezTo>
                  <a:pt x="140" y="354"/>
                  <a:pt x="152" y="340"/>
                  <a:pt x="167" y="331"/>
                </a:cubicBezTo>
                <a:cubicBezTo>
                  <a:pt x="183" y="322"/>
                  <a:pt x="200" y="317"/>
                  <a:pt x="219" y="317"/>
                </a:cubicBezTo>
                <a:cubicBezTo>
                  <a:pt x="240" y="317"/>
                  <a:pt x="258" y="323"/>
                  <a:pt x="272" y="335"/>
                </a:cubicBezTo>
                <a:cubicBezTo>
                  <a:pt x="286" y="346"/>
                  <a:pt x="296" y="363"/>
                  <a:pt x="302" y="384"/>
                </a:cubicBezTo>
                <a:lnTo>
                  <a:pt x="275" y="391"/>
                </a:lnTo>
                <a:cubicBezTo>
                  <a:pt x="270" y="374"/>
                  <a:pt x="263" y="362"/>
                  <a:pt x="253" y="354"/>
                </a:cubicBezTo>
                <a:cubicBezTo>
                  <a:pt x="244" y="347"/>
                  <a:pt x="232" y="343"/>
                  <a:pt x="218" y="343"/>
                </a:cubicBezTo>
                <a:cubicBezTo>
                  <a:pt x="202" y="343"/>
                  <a:pt x="188" y="347"/>
                  <a:pt x="177" y="356"/>
                </a:cubicBezTo>
                <a:cubicBezTo>
                  <a:pt x="166" y="364"/>
                  <a:pt x="159" y="375"/>
                  <a:pt x="154" y="389"/>
                </a:cubicBezTo>
                <a:cubicBezTo>
                  <a:pt x="150" y="404"/>
                  <a:pt x="148" y="418"/>
                  <a:pt x="148" y="433"/>
                </a:cubicBezTo>
                <a:cubicBezTo>
                  <a:pt x="148" y="452"/>
                  <a:pt x="150" y="469"/>
                  <a:pt x="155" y="484"/>
                </a:cubicBezTo>
                <a:cubicBezTo>
                  <a:pt x="161" y="498"/>
                  <a:pt x="169" y="509"/>
                  <a:pt x="180" y="516"/>
                </a:cubicBezTo>
                <a:cubicBezTo>
                  <a:pt x="191" y="523"/>
                  <a:pt x="203" y="527"/>
                  <a:pt x="216" y="527"/>
                </a:cubicBezTo>
                <a:cubicBezTo>
                  <a:pt x="231" y="527"/>
                  <a:pt x="245" y="522"/>
                  <a:pt x="255" y="512"/>
                </a:cubicBezTo>
                <a:cubicBezTo>
                  <a:pt x="266" y="502"/>
                  <a:pt x="274" y="488"/>
                  <a:pt x="278" y="469"/>
                </a:cubicBezTo>
                <a:close/>
                <a:moveTo>
                  <a:pt x="323" y="549"/>
                </a:moveTo>
                <a:lnTo>
                  <a:pt x="323" y="384"/>
                </a:lnTo>
                <a:lnTo>
                  <a:pt x="346" y="384"/>
                </a:lnTo>
                <a:lnTo>
                  <a:pt x="346" y="409"/>
                </a:lnTo>
                <a:cubicBezTo>
                  <a:pt x="352" y="397"/>
                  <a:pt x="358" y="390"/>
                  <a:pt x="363" y="386"/>
                </a:cubicBezTo>
                <a:cubicBezTo>
                  <a:pt x="368" y="382"/>
                  <a:pt x="374" y="380"/>
                  <a:pt x="380" y="380"/>
                </a:cubicBezTo>
                <a:cubicBezTo>
                  <a:pt x="388" y="380"/>
                  <a:pt x="397" y="383"/>
                  <a:pt x="406" y="389"/>
                </a:cubicBezTo>
                <a:lnTo>
                  <a:pt x="397" y="415"/>
                </a:lnTo>
                <a:cubicBezTo>
                  <a:pt x="391" y="411"/>
                  <a:pt x="384" y="409"/>
                  <a:pt x="378" y="409"/>
                </a:cubicBezTo>
                <a:cubicBezTo>
                  <a:pt x="373" y="409"/>
                  <a:pt x="367" y="411"/>
                  <a:pt x="363" y="415"/>
                </a:cubicBezTo>
                <a:cubicBezTo>
                  <a:pt x="358" y="418"/>
                  <a:pt x="355" y="423"/>
                  <a:pt x="353" y="430"/>
                </a:cubicBezTo>
                <a:cubicBezTo>
                  <a:pt x="350" y="440"/>
                  <a:pt x="349" y="451"/>
                  <a:pt x="349" y="462"/>
                </a:cubicBezTo>
                <a:lnTo>
                  <a:pt x="349" y="549"/>
                </a:lnTo>
                <a:lnTo>
                  <a:pt x="323" y="549"/>
                </a:lnTo>
                <a:close/>
                <a:moveTo>
                  <a:pt x="508" y="495"/>
                </a:moveTo>
                <a:lnTo>
                  <a:pt x="535" y="499"/>
                </a:lnTo>
                <a:cubicBezTo>
                  <a:pt x="531" y="516"/>
                  <a:pt x="523" y="529"/>
                  <a:pt x="512" y="538"/>
                </a:cubicBezTo>
                <a:cubicBezTo>
                  <a:pt x="500" y="547"/>
                  <a:pt x="486" y="552"/>
                  <a:pt x="468" y="552"/>
                </a:cubicBezTo>
                <a:cubicBezTo>
                  <a:pt x="445" y="552"/>
                  <a:pt x="428" y="545"/>
                  <a:pt x="415" y="530"/>
                </a:cubicBezTo>
                <a:cubicBezTo>
                  <a:pt x="402" y="515"/>
                  <a:pt x="395" y="494"/>
                  <a:pt x="395" y="468"/>
                </a:cubicBezTo>
                <a:cubicBezTo>
                  <a:pt x="395" y="440"/>
                  <a:pt x="402" y="418"/>
                  <a:pt x="415" y="403"/>
                </a:cubicBezTo>
                <a:cubicBezTo>
                  <a:pt x="428" y="388"/>
                  <a:pt x="445" y="380"/>
                  <a:pt x="466" y="380"/>
                </a:cubicBezTo>
                <a:cubicBezTo>
                  <a:pt x="487" y="380"/>
                  <a:pt x="504" y="388"/>
                  <a:pt x="517" y="403"/>
                </a:cubicBezTo>
                <a:cubicBezTo>
                  <a:pt x="530" y="418"/>
                  <a:pt x="536" y="439"/>
                  <a:pt x="536" y="466"/>
                </a:cubicBezTo>
                <a:cubicBezTo>
                  <a:pt x="536" y="468"/>
                  <a:pt x="536" y="470"/>
                  <a:pt x="536" y="473"/>
                </a:cubicBezTo>
                <a:lnTo>
                  <a:pt x="422" y="473"/>
                </a:lnTo>
                <a:cubicBezTo>
                  <a:pt x="423" y="491"/>
                  <a:pt x="427" y="505"/>
                  <a:pt x="436" y="515"/>
                </a:cubicBezTo>
                <a:cubicBezTo>
                  <a:pt x="444" y="524"/>
                  <a:pt x="455" y="529"/>
                  <a:pt x="468" y="529"/>
                </a:cubicBezTo>
                <a:cubicBezTo>
                  <a:pt x="477" y="529"/>
                  <a:pt x="486" y="526"/>
                  <a:pt x="492" y="521"/>
                </a:cubicBezTo>
                <a:cubicBezTo>
                  <a:pt x="499" y="516"/>
                  <a:pt x="504" y="507"/>
                  <a:pt x="508" y="495"/>
                </a:cubicBezTo>
                <a:close/>
                <a:moveTo>
                  <a:pt x="423" y="450"/>
                </a:moveTo>
                <a:lnTo>
                  <a:pt x="509" y="450"/>
                </a:lnTo>
                <a:cubicBezTo>
                  <a:pt x="507" y="437"/>
                  <a:pt x="504" y="426"/>
                  <a:pt x="499" y="419"/>
                </a:cubicBezTo>
                <a:cubicBezTo>
                  <a:pt x="491" y="409"/>
                  <a:pt x="480" y="403"/>
                  <a:pt x="467" y="403"/>
                </a:cubicBezTo>
                <a:cubicBezTo>
                  <a:pt x="455" y="403"/>
                  <a:pt x="445" y="407"/>
                  <a:pt x="437" y="416"/>
                </a:cubicBezTo>
                <a:cubicBezTo>
                  <a:pt x="428" y="425"/>
                  <a:pt x="424" y="436"/>
                  <a:pt x="423" y="450"/>
                </a:cubicBezTo>
                <a:close/>
                <a:moveTo>
                  <a:pt x="656" y="528"/>
                </a:moveTo>
                <a:cubicBezTo>
                  <a:pt x="646" y="537"/>
                  <a:pt x="637" y="543"/>
                  <a:pt x="628" y="547"/>
                </a:cubicBezTo>
                <a:cubicBezTo>
                  <a:pt x="619" y="550"/>
                  <a:pt x="610" y="552"/>
                  <a:pt x="599" y="552"/>
                </a:cubicBezTo>
                <a:cubicBezTo>
                  <a:pt x="583" y="552"/>
                  <a:pt x="570" y="548"/>
                  <a:pt x="560" y="539"/>
                </a:cubicBezTo>
                <a:cubicBezTo>
                  <a:pt x="551" y="530"/>
                  <a:pt x="547" y="519"/>
                  <a:pt x="547" y="505"/>
                </a:cubicBezTo>
                <a:cubicBezTo>
                  <a:pt x="547" y="497"/>
                  <a:pt x="549" y="490"/>
                  <a:pt x="552" y="483"/>
                </a:cubicBezTo>
                <a:cubicBezTo>
                  <a:pt x="555" y="476"/>
                  <a:pt x="560" y="471"/>
                  <a:pt x="565" y="467"/>
                </a:cubicBezTo>
                <a:cubicBezTo>
                  <a:pt x="571" y="463"/>
                  <a:pt x="577" y="460"/>
                  <a:pt x="584" y="458"/>
                </a:cubicBezTo>
                <a:cubicBezTo>
                  <a:pt x="589" y="456"/>
                  <a:pt x="597" y="455"/>
                  <a:pt x="607" y="454"/>
                </a:cubicBezTo>
                <a:cubicBezTo>
                  <a:pt x="628" y="451"/>
                  <a:pt x="644" y="448"/>
                  <a:pt x="654" y="444"/>
                </a:cubicBezTo>
                <a:cubicBezTo>
                  <a:pt x="654" y="440"/>
                  <a:pt x="654" y="438"/>
                  <a:pt x="654" y="437"/>
                </a:cubicBezTo>
                <a:cubicBezTo>
                  <a:pt x="654" y="426"/>
                  <a:pt x="652" y="418"/>
                  <a:pt x="647" y="413"/>
                </a:cubicBezTo>
                <a:cubicBezTo>
                  <a:pt x="640" y="407"/>
                  <a:pt x="630" y="403"/>
                  <a:pt x="617" y="403"/>
                </a:cubicBezTo>
                <a:cubicBezTo>
                  <a:pt x="605" y="403"/>
                  <a:pt x="596" y="406"/>
                  <a:pt x="590" y="410"/>
                </a:cubicBezTo>
                <a:cubicBezTo>
                  <a:pt x="584" y="415"/>
                  <a:pt x="580" y="423"/>
                  <a:pt x="577" y="435"/>
                </a:cubicBezTo>
                <a:lnTo>
                  <a:pt x="551" y="431"/>
                </a:lnTo>
                <a:cubicBezTo>
                  <a:pt x="554" y="419"/>
                  <a:pt x="557" y="410"/>
                  <a:pt x="563" y="403"/>
                </a:cubicBezTo>
                <a:cubicBezTo>
                  <a:pt x="568" y="396"/>
                  <a:pt x="576" y="390"/>
                  <a:pt x="586" y="386"/>
                </a:cubicBezTo>
                <a:cubicBezTo>
                  <a:pt x="596" y="382"/>
                  <a:pt x="608" y="380"/>
                  <a:pt x="621" y="380"/>
                </a:cubicBezTo>
                <a:cubicBezTo>
                  <a:pt x="634" y="380"/>
                  <a:pt x="645" y="382"/>
                  <a:pt x="653" y="385"/>
                </a:cubicBezTo>
                <a:cubicBezTo>
                  <a:pt x="661" y="389"/>
                  <a:pt x="667" y="393"/>
                  <a:pt x="671" y="398"/>
                </a:cubicBezTo>
                <a:cubicBezTo>
                  <a:pt x="675" y="403"/>
                  <a:pt x="677" y="409"/>
                  <a:pt x="679" y="417"/>
                </a:cubicBezTo>
                <a:cubicBezTo>
                  <a:pt x="680" y="422"/>
                  <a:pt x="680" y="430"/>
                  <a:pt x="680" y="442"/>
                </a:cubicBezTo>
                <a:lnTo>
                  <a:pt x="680" y="479"/>
                </a:lnTo>
                <a:cubicBezTo>
                  <a:pt x="680" y="505"/>
                  <a:pt x="681" y="522"/>
                  <a:pt x="682" y="529"/>
                </a:cubicBezTo>
                <a:cubicBezTo>
                  <a:pt x="683" y="536"/>
                  <a:pt x="685" y="542"/>
                  <a:pt x="688" y="549"/>
                </a:cubicBezTo>
                <a:lnTo>
                  <a:pt x="661" y="549"/>
                </a:lnTo>
                <a:cubicBezTo>
                  <a:pt x="658" y="543"/>
                  <a:pt x="657" y="536"/>
                  <a:pt x="656" y="528"/>
                </a:cubicBezTo>
                <a:close/>
                <a:moveTo>
                  <a:pt x="654" y="466"/>
                </a:moveTo>
                <a:cubicBezTo>
                  <a:pt x="645" y="470"/>
                  <a:pt x="630" y="474"/>
                  <a:pt x="611" y="476"/>
                </a:cubicBezTo>
                <a:cubicBezTo>
                  <a:pt x="601" y="478"/>
                  <a:pt x="593" y="480"/>
                  <a:pt x="589" y="482"/>
                </a:cubicBezTo>
                <a:cubicBezTo>
                  <a:pt x="584" y="484"/>
                  <a:pt x="581" y="487"/>
                  <a:pt x="578" y="491"/>
                </a:cubicBezTo>
                <a:cubicBezTo>
                  <a:pt x="576" y="495"/>
                  <a:pt x="575" y="499"/>
                  <a:pt x="575" y="504"/>
                </a:cubicBezTo>
                <a:cubicBezTo>
                  <a:pt x="575" y="512"/>
                  <a:pt x="577" y="518"/>
                  <a:pt x="583" y="523"/>
                </a:cubicBezTo>
                <a:cubicBezTo>
                  <a:pt x="588" y="528"/>
                  <a:pt x="596" y="530"/>
                  <a:pt x="606" y="530"/>
                </a:cubicBezTo>
                <a:cubicBezTo>
                  <a:pt x="616" y="530"/>
                  <a:pt x="625" y="528"/>
                  <a:pt x="632" y="523"/>
                </a:cubicBezTo>
                <a:cubicBezTo>
                  <a:pt x="640" y="518"/>
                  <a:pt x="646" y="512"/>
                  <a:pt x="650" y="504"/>
                </a:cubicBezTo>
                <a:cubicBezTo>
                  <a:pt x="652" y="498"/>
                  <a:pt x="654" y="488"/>
                  <a:pt x="654" y="476"/>
                </a:cubicBezTo>
                <a:lnTo>
                  <a:pt x="654" y="466"/>
                </a:lnTo>
                <a:close/>
                <a:moveTo>
                  <a:pt x="763" y="524"/>
                </a:moveTo>
                <a:lnTo>
                  <a:pt x="767" y="548"/>
                </a:lnTo>
                <a:cubicBezTo>
                  <a:pt x="759" y="550"/>
                  <a:pt x="753" y="551"/>
                  <a:pt x="747" y="551"/>
                </a:cubicBezTo>
                <a:cubicBezTo>
                  <a:pt x="738" y="551"/>
                  <a:pt x="730" y="549"/>
                  <a:pt x="725" y="546"/>
                </a:cubicBezTo>
                <a:cubicBezTo>
                  <a:pt x="720" y="543"/>
                  <a:pt x="716" y="539"/>
                  <a:pt x="714" y="533"/>
                </a:cubicBezTo>
                <a:cubicBezTo>
                  <a:pt x="712" y="528"/>
                  <a:pt x="711" y="517"/>
                  <a:pt x="711" y="500"/>
                </a:cubicBezTo>
                <a:lnTo>
                  <a:pt x="711" y="405"/>
                </a:lnTo>
                <a:lnTo>
                  <a:pt x="692" y="405"/>
                </a:lnTo>
                <a:lnTo>
                  <a:pt x="692" y="384"/>
                </a:lnTo>
                <a:lnTo>
                  <a:pt x="711" y="384"/>
                </a:lnTo>
                <a:lnTo>
                  <a:pt x="711" y="343"/>
                </a:lnTo>
                <a:lnTo>
                  <a:pt x="737" y="326"/>
                </a:lnTo>
                <a:lnTo>
                  <a:pt x="737" y="384"/>
                </a:lnTo>
                <a:lnTo>
                  <a:pt x="763" y="384"/>
                </a:lnTo>
                <a:lnTo>
                  <a:pt x="763" y="405"/>
                </a:lnTo>
                <a:lnTo>
                  <a:pt x="737" y="405"/>
                </a:lnTo>
                <a:lnTo>
                  <a:pt x="737" y="502"/>
                </a:lnTo>
                <a:cubicBezTo>
                  <a:pt x="737" y="510"/>
                  <a:pt x="737" y="515"/>
                  <a:pt x="738" y="517"/>
                </a:cubicBezTo>
                <a:cubicBezTo>
                  <a:pt x="739" y="520"/>
                  <a:pt x="741" y="521"/>
                  <a:pt x="743" y="523"/>
                </a:cubicBezTo>
                <a:cubicBezTo>
                  <a:pt x="745" y="524"/>
                  <a:pt x="748" y="525"/>
                  <a:pt x="752" y="525"/>
                </a:cubicBezTo>
                <a:cubicBezTo>
                  <a:pt x="755" y="525"/>
                  <a:pt x="758" y="524"/>
                  <a:pt x="763" y="524"/>
                </a:cubicBezTo>
                <a:close/>
                <a:moveTo>
                  <a:pt x="775" y="353"/>
                </a:moveTo>
                <a:lnTo>
                  <a:pt x="775" y="321"/>
                </a:lnTo>
                <a:lnTo>
                  <a:pt x="801" y="321"/>
                </a:lnTo>
                <a:lnTo>
                  <a:pt x="801" y="353"/>
                </a:lnTo>
                <a:lnTo>
                  <a:pt x="775" y="353"/>
                </a:lnTo>
                <a:close/>
                <a:moveTo>
                  <a:pt x="775" y="549"/>
                </a:moveTo>
                <a:lnTo>
                  <a:pt x="775" y="384"/>
                </a:lnTo>
                <a:lnTo>
                  <a:pt x="801" y="384"/>
                </a:lnTo>
                <a:lnTo>
                  <a:pt x="801" y="549"/>
                </a:lnTo>
                <a:lnTo>
                  <a:pt x="775" y="549"/>
                </a:lnTo>
                <a:close/>
                <a:moveTo>
                  <a:pt x="817" y="466"/>
                </a:moveTo>
                <a:cubicBezTo>
                  <a:pt x="817" y="436"/>
                  <a:pt x="825" y="413"/>
                  <a:pt x="841" y="399"/>
                </a:cubicBezTo>
                <a:cubicBezTo>
                  <a:pt x="854" y="386"/>
                  <a:pt x="870" y="380"/>
                  <a:pt x="889" y="380"/>
                </a:cubicBezTo>
                <a:cubicBezTo>
                  <a:pt x="910" y="380"/>
                  <a:pt x="927" y="388"/>
                  <a:pt x="941" y="402"/>
                </a:cubicBezTo>
                <a:cubicBezTo>
                  <a:pt x="954" y="417"/>
                  <a:pt x="961" y="438"/>
                  <a:pt x="961" y="464"/>
                </a:cubicBezTo>
                <a:cubicBezTo>
                  <a:pt x="961" y="485"/>
                  <a:pt x="958" y="502"/>
                  <a:pt x="952" y="514"/>
                </a:cubicBezTo>
                <a:cubicBezTo>
                  <a:pt x="946" y="526"/>
                  <a:pt x="937" y="535"/>
                  <a:pt x="926" y="542"/>
                </a:cubicBezTo>
                <a:cubicBezTo>
                  <a:pt x="915" y="549"/>
                  <a:pt x="902" y="552"/>
                  <a:pt x="889" y="552"/>
                </a:cubicBezTo>
                <a:cubicBezTo>
                  <a:pt x="868" y="552"/>
                  <a:pt x="850" y="545"/>
                  <a:pt x="837" y="530"/>
                </a:cubicBezTo>
                <a:cubicBezTo>
                  <a:pt x="824" y="515"/>
                  <a:pt x="817" y="494"/>
                  <a:pt x="817" y="466"/>
                </a:cubicBezTo>
                <a:close/>
                <a:moveTo>
                  <a:pt x="844" y="466"/>
                </a:moveTo>
                <a:cubicBezTo>
                  <a:pt x="844" y="487"/>
                  <a:pt x="848" y="503"/>
                  <a:pt x="857" y="513"/>
                </a:cubicBezTo>
                <a:cubicBezTo>
                  <a:pt x="865" y="524"/>
                  <a:pt x="876" y="529"/>
                  <a:pt x="889" y="529"/>
                </a:cubicBezTo>
                <a:cubicBezTo>
                  <a:pt x="902" y="529"/>
                  <a:pt x="913" y="524"/>
                  <a:pt x="921" y="513"/>
                </a:cubicBezTo>
                <a:cubicBezTo>
                  <a:pt x="930" y="503"/>
                  <a:pt x="934" y="487"/>
                  <a:pt x="934" y="465"/>
                </a:cubicBezTo>
                <a:cubicBezTo>
                  <a:pt x="934" y="445"/>
                  <a:pt x="930" y="430"/>
                  <a:pt x="921" y="419"/>
                </a:cubicBezTo>
                <a:cubicBezTo>
                  <a:pt x="913" y="409"/>
                  <a:pt x="902" y="403"/>
                  <a:pt x="889" y="403"/>
                </a:cubicBezTo>
                <a:cubicBezTo>
                  <a:pt x="876" y="403"/>
                  <a:pt x="865" y="409"/>
                  <a:pt x="857" y="419"/>
                </a:cubicBezTo>
                <a:cubicBezTo>
                  <a:pt x="848" y="429"/>
                  <a:pt x="844" y="445"/>
                  <a:pt x="844" y="466"/>
                </a:cubicBezTo>
                <a:close/>
                <a:moveTo>
                  <a:pt x="978" y="549"/>
                </a:moveTo>
                <a:lnTo>
                  <a:pt x="978" y="384"/>
                </a:lnTo>
                <a:lnTo>
                  <a:pt x="1001" y="384"/>
                </a:lnTo>
                <a:lnTo>
                  <a:pt x="1001" y="407"/>
                </a:lnTo>
                <a:cubicBezTo>
                  <a:pt x="1012" y="389"/>
                  <a:pt x="1028" y="380"/>
                  <a:pt x="1050" y="380"/>
                </a:cubicBezTo>
                <a:cubicBezTo>
                  <a:pt x="1059" y="380"/>
                  <a:pt x="1067" y="382"/>
                  <a:pt x="1075" y="386"/>
                </a:cubicBezTo>
                <a:cubicBezTo>
                  <a:pt x="1083" y="389"/>
                  <a:pt x="1089" y="394"/>
                  <a:pt x="1093" y="400"/>
                </a:cubicBezTo>
                <a:cubicBezTo>
                  <a:pt x="1096" y="405"/>
                  <a:pt x="1099" y="412"/>
                  <a:pt x="1101" y="420"/>
                </a:cubicBezTo>
                <a:cubicBezTo>
                  <a:pt x="1102" y="425"/>
                  <a:pt x="1102" y="434"/>
                  <a:pt x="1102" y="447"/>
                </a:cubicBezTo>
                <a:lnTo>
                  <a:pt x="1102" y="549"/>
                </a:lnTo>
                <a:lnTo>
                  <a:pt x="1076" y="549"/>
                </a:lnTo>
                <a:lnTo>
                  <a:pt x="1076" y="448"/>
                </a:lnTo>
                <a:cubicBezTo>
                  <a:pt x="1076" y="437"/>
                  <a:pt x="1075" y="429"/>
                  <a:pt x="1073" y="423"/>
                </a:cubicBezTo>
                <a:cubicBezTo>
                  <a:pt x="1071" y="417"/>
                  <a:pt x="1067" y="413"/>
                  <a:pt x="1062" y="409"/>
                </a:cubicBezTo>
                <a:cubicBezTo>
                  <a:pt x="1057" y="406"/>
                  <a:pt x="1051" y="404"/>
                  <a:pt x="1044" y="404"/>
                </a:cubicBezTo>
                <a:cubicBezTo>
                  <a:pt x="1033" y="404"/>
                  <a:pt x="1024" y="408"/>
                  <a:pt x="1016" y="416"/>
                </a:cubicBezTo>
                <a:cubicBezTo>
                  <a:pt x="1008" y="423"/>
                  <a:pt x="1004" y="438"/>
                  <a:pt x="1004" y="459"/>
                </a:cubicBezTo>
                <a:lnTo>
                  <a:pt x="1004" y="549"/>
                </a:lnTo>
                <a:lnTo>
                  <a:pt x="978" y="549"/>
                </a:lnTo>
                <a:close/>
                <a:moveTo>
                  <a:pt x="1287" y="549"/>
                </a:moveTo>
                <a:lnTo>
                  <a:pt x="1261" y="549"/>
                </a:lnTo>
                <a:lnTo>
                  <a:pt x="1261" y="371"/>
                </a:lnTo>
                <a:cubicBezTo>
                  <a:pt x="1255" y="377"/>
                  <a:pt x="1247" y="383"/>
                  <a:pt x="1237" y="390"/>
                </a:cubicBezTo>
                <a:cubicBezTo>
                  <a:pt x="1226" y="396"/>
                  <a:pt x="1217" y="401"/>
                  <a:pt x="1209" y="404"/>
                </a:cubicBezTo>
                <a:lnTo>
                  <a:pt x="1209" y="377"/>
                </a:lnTo>
                <a:cubicBezTo>
                  <a:pt x="1224" y="370"/>
                  <a:pt x="1236" y="361"/>
                  <a:pt x="1247" y="351"/>
                </a:cubicBezTo>
                <a:cubicBezTo>
                  <a:pt x="1258" y="340"/>
                  <a:pt x="1266" y="330"/>
                  <a:pt x="1270" y="320"/>
                </a:cubicBezTo>
                <a:lnTo>
                  <a:pt x="1287" y="320"/>
                </a:lnTo>
                <a:lnTo>
                  <a:pt x="1287" y="549"/>
                </a:lnTo>
                <a:close/>
                <a:moveTo>
                  <a:pt x="204" y="231"/>
                </a:moveTo>
                <a:lnTo>
                  <a:pt x="204" y="4"/>
                </a:lnTo>
                <a:lnTo>
                  <a:pt x="230" y="4"/>
                </a:lnTo>
                <a:lnTo>
                  <a:pt x="230" y="231"/>
                </a:lnTo>
                <a:lnTo>
                  <a:pt x="204" y="231"/>
                </a:lnTo>
                <a:close/>
                <a:moveTo>
                  <a:pt x="257" y="35"/>
                </a:moveTo>
                <a:lnTo>
                  <a:pt x="257" y="4"/>
                </a:lnTo>
                <a:lnTo>
                  <a:pt x="283" y="4"/>
                </a:lnTo>
                <a:lnTo>
                  <a:pt x="283" y="35"/>
                </a:lnTo>
                <a:lnTo>
                  <a:pt x="257" y="35"/>
                </a:lnTo>
                <a:close/>
                <a:moveTo>
                  <a:pt x="257" y="231"/>
                </a:moveTo>
                <a:lnTo>
                  <a:pt x="257" y="66"/>
                </a:lnTo>
                <a:lnTo>
                  <a:pt x="283" y="66"/>
                </a:lnTo>
                <a:lnTo>
                  <a:pt x="283" y="231"/>
                </a:lnTo>
                <a:lnTo>
                  <a:pt x="257" y="231"/>
                </a:lnTo>
                <a:close/>
                <a:moveTo>
                  <a:pt x="413" y="178"/>
                </a:moveTo>
                <a:lnTo>
                  <a:pt x="440" y="182"/>
                </a:lnTo>
                <a:cubicBezTo>
                  <a:pt x="436" y="198"/>
                  <a:pt x="428" y="211"/>
                  <a:pt x="417" y="221"/>
                </a:cubicBezTo>
                <a:cubicBezTo>
                  <a:pt x="405" y="230"/>
                  <a:pt x="391" y="235"/>
                  <a:pt x="373" y="235"/>
                </a:cubicBezTo>
                <a:cubicBezTo>
                  <a:pt x="350" y="235"/>
                  <a:pt x="333" y="227"/>
                  <a:pt x="320" y="212"/>
                </a:cubicBezTo>
                <a:cubicBezTo>
                  <a:pt x="306" y="198"/>
                  <a:pt x="300" y="177"/>
                  <a:pt x="300" y="150"/>
                </a:cubicBezTo>
                <a:cubicBezTo>
                  <a:pt x="300" y="122"/>
                  <a:pt x="306" y="101"/>
                  <a:pt x="320" y="86"/>
                </a:cubicBezTo>
                <a:cubicBezTo>
                  <a:pt x="333" y="70"/>
                  <a:pt x="350" y="63"/>
                  <a:pt x="371" y="63"/>
                </a:cubicBezTo>
                <a:cubicBezTo>
                  <a:pt x="392" y="63"/>
                  <a:pt x="409" y="70"/>
                  <a:pt x="422" y="85"/>
                </a:cubicBezTo>
                <a:cubicBezTo>
                  <a:pt x="434" y="100"/>
                  <a:pt x="441" y="121"/>
                  <a:pt x="441" y="148"/>
                </a:cubicBezTo>
                <a:cubicBezTo>
                  <a:pt x="441" y="150"/>
                  <a:pt x="441" y="153"/>
                  <a:pt x="441" y="156"/>
                </a:cubicBezTo>
                <a:lnTo>
                  <a:pt x="327" y="156"/>
                </a:lnTo>
                <a:cubicBezTo>
                  <a:pt x="327" y="174"/>
                  <a:pt x="332" y="188"/>
                  <a:pt x="341" y="197"/>
                </a:cubicBezTo>
                <a:cubicBezTo>
                  <a:pt x="349" y="207"/>
                  <a:pt x="360" y="212"/>
                  <a:pt x="373" y="212"/>
                </a:cubicBezTo>
                <a:cubicBezTo>
                  <a:pt x="382" y="212"/>
                  <a:pt x="390" y="209"/>
                  <a:pt x="397" y="204"/>
                </a:cubicBezTo>
                <a:cubicBezTo>
                  <a:pt x="404" y="198"/>
                  <a:pt x="409" y="190"/>
                  <a:pt x="413" y="178"/>
                </a:cubicBezTo>
                <a:close/>
                <a:moveTo>
                  <a:pt x="328" y="133"/>
                </a:moveTo>
                <a:lnTo>
                  <a:pt x="413" y="133"/>
                </a:lnTo>
                <a:cubicBezTo>
                  <a:pt x="412" y="119"/>
                  <a:pt x="409" y="109"/>
                  <a:pt x="404" y="102"/>
                </a:cubicBezTo>
                <a:cubicBezTo>
                  <a:pt x="395" y="91"/>
                  <a:pt x="385" y="86"/>
                  <a:pt x="372" y="86"/>
                </a:cubicBezTo>
                <a:cubicBezTo>
                  <a:pt x="360" y="86"/>
                  <a:pt x="350" y="90"/>
                  <a:pt x="341" y="98"/>
                </a:cubicBezTo>
                <a:cubicBezTo>
                  <a:pt x="333" y="107"/>
                  <a:pt x="329" y="119"/>
                  <a:pt x="328" y="133"/>
                </a:cubicBezTo>
                <a:close/>
                <a:moveTo>
                  <a:pt x="459" y="231"/>
                </a:moveTo>
                <a:lnTo>
                  <a:pt x="459" y="66"/>
                </a:lnTo>
                <a:lnTo>
                  <a:pt x="483" y="66"/>
                </a:lnTo>
                <a:lnTo>
                  <a:pt x="483" y="90"/>
                </a:lnTo>
                <a:cubicBezTo>
                  <a:pt x="494" y="72"/>
                  <a:pt x="510" y="63"/>
                  <a:pt x="531" y="63"/>
                </a:cubicBezTo>
                <a:cubicBezTo>
                  <a:pt x="541" y="63"/>
                  <a:pt x="549" y="65"/>
                  <a:pt x="557" y="68"/>
                </a:cubicBezTo>
                <a:cubicBezTo>
                  <a:pt x="565" y="72"/>
                  <a:pt x="570" y="76"/>
                  <a:pt x="574" y="82"/>
                </a:cubicBezTo>
                <a:cubicBezTo>
                  <a:pt x="578" y="88"/>
                  <a:pt x="581" y="95"/>
                  <a:pt x="582" y="103"/>
                </a:cubicBezTo>
                <a:cubicBezTo>
                  <a:pt x="583" y="108"/>
                  <a:pt x="584" y="117"/>
                  <a:pt x="584" y="130"/>
                </a:cubicBezTo>
                <a:lnTo>
                  <a:pt x="584" y="231"/>
                </a:lnTo>
                <a:lnTo>
                  <a:pt x="558" y="231"/>
                </a:lnTo>
                <a:lnTo>
                  <a:pt x="558" y="131"/>
                </a:lnTo>
                <a:cubicBezTo>
                  <a:pt x="558" y="120"/>
                  <a:pt x="557" y="111"/>
                  <a:pt x="555" y="105"/>
                </a:cubicBezTo>
                <a:cubicBezTo>
                  <a:pt x="553" y="100"/>
                  <a:pt x="549" y="95"/>
                  <a:pt x="544" y="92"/>
                </a:cubicBezTo>
                <a:cubicBezTo>
                  <a:pt x="539" y="89"/>
                  <a:pt x="533" y="87"/>
                  <a:pt x="526" y="87"/>
                </a:cubicBezTo>
                <a:cubicBezTo>
                  <a:pt x="515" y="87"/>
                  <a:pt x="505" y="91"/>
                  <a:pt x="497" y="98"/>
                </a:cubicBezTo>
                <a:cubicBezTo>
                  <a:pt x="489" y="106"/>
                  <a:pt x="485" y="120"/>
                  <a:pt x="485" y="141"/>
                </a:cubicBezTo>
                <a:lnTo>
                  <a:pt x="485" y="231"/>
                </a:lnTo>
                <a:lnTo>
                  <a:pt x="459" y="231"/>
                </a:lnTo>
                <a:close/>
                <a:moveTo>
                  <a:pt x="666" y="206"/>
                </a:moveTo>
                <a:lnTo>
                  <a:pt x="670" y="231"/>
                </a:lnTo>
                <a:cubicBezTo>
                  <a:pt x="663" y="232"/>
                  <a:pt x="656" y="233"/>
                  <a:pt x="650" y="233"/>
                </a:cubicBezTo>
                <a:cubicBezTo>
                  <a:pt x="641" y="233"/>
                  <a:pt x="634" y="232"/>
                  <a:pt x="628" y="228"/>
                </a:cubicBezTo>
                <a:cubicBezTo>
                  <a:pt x="623" y="225"/>
                  <a:pt x="620" y="221"/>
                  <a:pt x="618" y="216"/>
                </a:cubicBezTo>
                <a:cubicBezTo>
                  <a:pt x="615" y="211"/>
                  <a:pt x="614" y="200"/>
                  <a:pt x="614" y="183"/>
                </a:cubicBezTo>
                <a:lnTo>
                  <a:pt x="614" y="88"/>
                </a:lnTo>
                <a:lnTo>
                  <a:pt x="595" y="88"/>
                </a:lnTo>
                <a:lnTo>
                  <a:pt x="595" y="66"/>
                </a:lnTo>
                <a:lnTo>
                  <a:pt x="614" y="66"/>
                </a:lnTo>
                <a:lnTo>
                  <a:pt x="614" y="26"/>
                </a:lnTo>
                <a:lnTo>
                  <a:pt x="640" y="9"/>
                </a:lnTo>
                <a:lnTo>
                  <a:pt x="640" y="66"/>
                </a:lnTo>
                <a:lnTo>
                  <a:pt x="666" y="66"/>
                </a:lnTo>
                <a:lnTo>
                  <a:pt x="666" y="88"/>
                </a:lnTo>
                <a:lnTo>
                  <a:pt x="640" y="88"/>
                </a:lnTo>
                <a:lnTo>
                  <a:pt x="640" y="184"/>
                </a:lnTo>
                <a:cubicBezTo>
                  <a:pt x="640" y="192"/>
                  <a:pt x="641" y="197"/>
                  <a:pt x="642" y="200"/>
                </a:cubicBezTo>
                <a:cubicBezTo>
                  <a:pt x="643" y="202"/>
                  <a:pt x="644" y="204"/>
                  <a:pt x="646" y="205"/>
                </a:cubicBezTo>
                <a:cubicBezTo>
                  <a:pt x="648" y="207"/>
                  <a:pt x="651" y="207"/>
                  <a:pt x="655" y="207"/>
                </a:cubicBezTo>
                <a:cubicBezTo>
                  <a:pt x="658" y="207"/>
                  <a:pt x="662" y="207"/>
                  <a:pt x="666" y="206"/>
                </a:cubicBezTo>
                <a:close/>
                <a:moveTo>
                  <a:pt x="810" y="231"/>
                </a:moveTo>
                <a:lnTo>
                  <a:pt x="729" y="4"/>
                </a:lnTo>
                <a:lnTo>
                  <a:pt x="759" y="4"/>
                </a:lnTo>
                <a:lnTo>
                  <a:pt x="814" y="169"/>
                </a:lnTo>
                <a:cubicBezTo>
                  <a:pt x="818" y="182"/>
                  <a:pt x="822" y="195"/>
                  <a:pt x="825" y="206"/>
                </a:cubicBezTo>
                <a:cubicBezTo>
                  <a:pt x="828" y="194"/>
                  <a:pt x="832" y="181"/>
                  <a:pt x="836" y="169"/>
                </a:cubicBezTo>
                <a:lnTo>
                  <a:pt x="893" y="4"/>
                </a:lnTo>
                <a:lnTo>
                  <a:pt x="922" y="4"/>
                </a:lnTo>
                <a:lnTo>
                  <a:pt x="839" y="231"/>
                </a:lnTo>
                <a:lnTo>
                  <a:pt x="810" y="231"/>
                </a:lnTo>
                <a:close/>
                <a:moveTo>
                  <a:pt x="1020" y="210"/>
                </a:moveTo>
                <a:cubicBezTo>
                  <a:pt x="1011" y="219"/>
                  <a:pt x="1001" y="225"/>
                  <a:pt x="992" y="229"/>
                </a:cubicBezTo>
                <a:cubicBezTo>
                  <a:pt x="983" y="233"/>
                  <a:pt x="974" y="235"/>
                  <a:pt x="964" y="235"/>
                </a:cubicBezTo>
                <a:cubicBezTo>
                  <a:pt x="947" y="235"/>
                  <a:pt x="934" y="230"/>
                  <a:pt x="925" y="221"/>
                </a:cubicBezTo>
                <a:cubicBezTo>
                  <a:pt x="916" y="213"/>
                  <a:pt x="911" y="201"/>
                  <a:pt x="911" y="188"/>
                </a:cubicBezTo>
                <a:cubicBezTo>
                  <a:pt x="911" y="180"/>
                  <a:pt x="913" y="172"/>
                  <a:pt x="916" y="165"/>
                </a:cubicBezTo>
                <a:cubicBezTo>
                  <a:pt x="920" y="159"/>
                  <a:pt x="924" y="154"/>
                  <a:pt x="930" y="150"/>
                </a:cubicBezTo>
                <a:cubicBezTo>
                  <a:pt x="935" y="145"/>
                  <a:pt x="941" y="142"/>
                  <a:pt x="948" y="140"/>
                </a:cubicBezTo>
                <a:cubicBezTo>
                  <a:pt x="954" y="139"/>
                  <a:pt x="961" y="138"/>
                  <a:pt x="972" y="136"/>
                </a:cubicBezTo>
                <a:cubicBezTo>
                  <a:pt x="993" y="134"/>
                  <a:pt x="1008" y="130"/>
                  <a:pt x="1018" y="127"/>
                </a:cubicBezTo>
                <a:cubicBezTo>
                  <a:pt x="1018" y="123"/>
                  <a:pt x="1018" y="120"/>
                  <a:pt x="1018" y="119"/>
                </a:cubicBezTo>
                <a:cubicBezTo>
                  <a:pt x="1018" y="108"/>
                  <a:pt x="1016" y="100"/>
                  <a:pt x="1011" y="95"/>
                </a:cubicBezTo>
                <a:cubicBezTo>
                  <a:pt x="1004" y="89"/>
                  <a:pt x="994" y="86"/>
                  <a:pt x="981" y="86"/>
                </a:cubicBezTo>
                <a:cubicBezTo>
                  <a:pt x="969" y="86"/>
                  <a:pt x="960" y="88"/>
                  <a:pt x="954" y="93"/>
                </a:cubicBezTo>
                <a:cubicBezTo>
                  <a:pt x="948" y="97"/>
                  <a:pt x="944" y="106"/>
                  <a:pt x="941" y="117"/>
                </a:cubicBezTo>
                <a:lnTo>
                  <a:pt x="916" y="114"/>
                </a:lnTo>
                <a:cubicBezTo>
                  <a:pt x="918" y="102"/>
                  <a:pt x="922" y="92"/>
                  <a:pt x="927" y="85"/>
                </a:cubicBezTo>
                <a:cubicBezTo>
                  <a:pt x="932" y="78"/>
                  <a:pt x="940" y="73"/>
                  <a:pt x="950" y="69"/>
                </a:cubicBezTo>
                <a:cubicBezTo>
                  <a:pt x="960" y="65"/>
                  <a:pt x="972" y="63"/>
                  <a:pt x="985" y="63"/>
                </a:cubicBezTo>
                <a:cubicBezTo>
                  <a:pt x="998" y="63"/>
                  <a:pt x="1009" y="64"/>
                  <a:pt x="1017" y="68"/>
                </a:cubicBezTo>
                <a:cubicBezTo>
                  <a:pt x="1025" y="71"/>
                  <a:pt x="1031" y="75"/>
                  <a:pt x="1035" y="80"/>
                </a:cubicBezTo>
                <a:cubicBezTo>
                  <a:pt x="1039" y="85"/>
                  <a:pt x="1042" y="92"/>
                  <a:pt x="1043" y="99"/>
                </a:cubicBezTo>
                <a:cubicBezTo>
                  <a:pt x="1044" y="104"/>
                  <a:pt x="1044" y="113"/>
                  <a:pt x="1044" y="125"/>
                </a:cubicBezTo>
                <a:lnTo>
                  <a:pt x="1044" y="162"/>
                </a:lnTo>
                <a:cubicBezTo>
                  <a:pt x="1044" y="188"/>
                  <a:pt x="1045" y="204"/>
                  <a:pt x="1046" y="211"/>
                </a:cubicBezTo>
                <a:cubicBezTo>
                  <a:pt x="1047" y="218"/>
                  <a:pt x="1049" y="225"/>
                  <a:pt x="1052" y="231"/>
                </a:cubicBezTo>
                <a:lnTo>
                  <a:pt x="1025" y="231"/>
                </a:lnTo>
                <a:cubicBezTo>
                  <a:pt x="1023" y="225"/>
                  <a:pt x="1021" y="218"/>
                  <a:pt x="1020" y="210"/>
                </a:cubicBezTo>
                <a:close/>
                <a:moveTo>
                  <a:pt x="1018" y="148"/>
                </a:moveTo>
                <a:cubicBezTo>
                  <a:pt x="1009" y="153"/>
                  <a:pt x="994" y="156"/>
                  <a:pt x="976" y="159"/>
                </a:cubicBezTo>
                <a:cubicBezTo>
                  <a:pt x="965" y="161"/>
                  <a:pt x="957" y="162"/>
                  <a:pt x="953" y="165"/>
                </a:cubicBezTo>
                <a:cubicBezTo>
                  <a:pt x="948" y="167"/>
                  <a:pt x="945" y="170"/>
                  <a:pt x="943" y="174"/>
                </a:cubicBezTo>
                <a:cubicBezTo>
                  <a:pt x="940" y="177"/>
                  <a:pt x="939" y="182"/>
                  <a:pt x="939" y="187"/>
                </a:cubicBezTo>
                <a:cubicBezTo>
                  <a:pt x="939" y="194"/>
                  <a:pt x="941" y="200"/>
                  <a:pt x="947" y="205"/>
                </a:cubicBezTo>
                <a:cubicBezTo>
                  <a:pt x="952" y="210"/>
                  <a:pt x="960" y="213"/>
                  <a:pt x="970" y="213"/>
                </a:cubicBezTo>
                <a:cubicBezTo>
                  <a:pt x="980" y="213"/>
                  <a:pt x="989" y="210"/>
                  <a:pt x="997" y="206"/>
                </a:cubicBezTo>
                <a:cubicBezTo>
                  <a:pt x="1004" y="201"/>
                  <a:pt x="1010" y="195"/>
                  <a:pt x="1014" y="186"/>
                </a:cubicBezTo>
                <a:cubicBezTo>
                  <a:pt x="1017" y="180"/>
                  <a:pt x="1018" y="171"/>
                  <a:pt x="1018" y="159"/>
                </a:cubicBezTo>
                <a:lnTo>
                  <a:pt x="1018" y="148"/>
                </a:lnTo>
                <a:close/>
                <a:moveTo>
                  <a:pt x="1070" y="231"/>
                </a:moveTo>
                <a:lnTo>
                  <a:pt x="1070" y="4"/>
                </a:lnTo>
                <a:lnTo>
                  <a:pt x="1096" y="4"/>
                </a:lnTo>
                <a:lnTo>
                  <a:pt x="1096" y="231"/>
                </a:lnTo>
                <a:lnTo>
                  <a:pt x="1070" y="231"/>
                </a:lnTo>
                <a:close/>
                <a:moveTo>
                  <a:pt x="1223" y="231"/>
                </a:moveTo>
                <a:lnTo>
                  <a:pt x="1223" y="207"/>
                </a:lnTo>
                <a:cubicBezTo>
                  <a:pt x="1211" y="225"/>
                  <a:pt x="1195" y="235"/>
                  <a:pt x="1174" y="235"/>
                </a:cubicBezTo>
                <a:cubicBezTo>
                  <a:pt x="1165" y="235"/>
                  <a:pt x="1157" y="233"/>
                  <a:pt x="1149" y="229"/>
                </a:cubicBezTo>
                <a:cubicBezTo>
                  <a:pt x="1141" y="225"/>
                  <a:pt x="1135" y="221"/>
                  <a:pt x="1132" y="215"/>
                </a:cubicBezTo>
                <a:cubicBezTo>
                  <a:pt x="1128" y="209"/>
                  <a:pt x="1125" y="202"/>
                  <a:pt x="1124" y="194"/>
                </a:cubicBezTo>
                <a:cubicBezTo>
                  <a:pt x="1123" y="189"/>
                  <a:pt x="1122" y="180"/>
                  <a:pt x="1122" y="168"/>
                </a:cubicBezTo>
                <a:lnTo>
                  <a:pt x="1122" y="66"/>
                </a:lnTo>
                <a:lnTo>
                  <a:pt x="1148" y="66"/>
                </a:lnTo>
                <a:lnTo>
                  <a:pt x="1148" y="157"/>
                </a:lnTo>
                <a:cubicBezTo>
                  <a:pt x="1148" y="172"/>
                  <a:pt x="1149" y="182"/>
                  <a:pt x="1150" y="187"/>
                </a:cubicBezTo>
                <a:cubicBezTo>
                  <a:pt x="1151" y="194"/>
                  <a:pt x="1155" y="200"/>
                  <a:pt x="1160" y="204"/>
                </a:cubicBezTo>
                <a:cubicBezTo>
                  <a:pt x="1165" y="208"/>
                  <a:pt x="1172" y="210"/>
                  <a:pt x="1180" y="210"/>
                </a:cubicBezTo>
                <a:cubicBezTo>
                  <a:pt x="1187" y="210"/>
                  <a:pt x="1195" y="208"/>
                  <a:pt x="1202" y="204"/>
                </a:cubicBezTo>
                <a:cubicBezTo>
                  <a:pt x="1208" y="200"/>
                  <a:pt x="1213" y="194"/>
                  <a:pt x="1216" y="186"/>
                </a:cubicBezTo>
                <a:cubicBezTo>
                  <a:pt x="1219" y="179"/>
                  <a:pt x="1220" y="168"/>
                  <a:pt x="1220" y="154"/>
                </a:cubicBezTo>
                <a:lnTo>
                  <a:pt x="1220" y="66"/>
                </a:lnTo>
                <a:lnTo>
                  <a:pt x="1246" y="66"/>
                </a:lnTo>
                <a:lnTo>
                  <a:pt x="1246" y="231"/>
                </a:lnTo>
                <a:lnTo>
                  <a:pt x="1223" y="231"/>
                </a:lnTo>
                <a:close/>
                <a:moveTo>
                  <a:pt x="1378" y="178"/>
                </a:moveTo>
                <a:lnTo>
                  <a:pt x="1405" y="182"/>
                </a:lnTo>
                <a:cubicBezTo>
                  <a:pt x="1401" y="198"/>
                  <a:pt x="1393" y="211"/>
                  <a:pt x="1382" y="221"/>
                </a:cubicBezTo>
                <a:cubicBezTo>
                  <a:pt x="1370" y="230"/>
                  <a:pt x="1355" y="235"/>
                  <a:pt x="1338" y="235"/>
                </a:cubicBezTo>
                <a:cubicBezTo>
                  <a:pt x="1315" y="235"/>
                  <a:pt x="1298" y="227"/>
                  <a:pt x="1284" y="212"/>
                </a:cubicBezTo>
                <a:cubicBezTo>
                  <a:pt x="1271" y="198"/>
                  <a:pt x="1265" y="177"/>
                  <a:pt x="1265" y="150"/>
                </a:cubicBezTo>
                <a:cubicBezTo>
                  <a:pt x="1265" y="122"/>
                  <a:pt x="1271" y="101"/>
                  <a:pt x="1285" y="86"/>
                </a:cubicBezTo>
                <a:cubicBezTo>
                  <a:pt x="1298" y="70"/>
                  <a:pt x="1315" y="63"/>
                  <a:pt x="1336" y="63"/>
                </a:cubicBezTo>
                <a:cubicBezTo>
                  <a:pt x="1357" y="63"/>
                  <a:pt x="1373" y="70"/>
                  <a:pt x="1386" y="85"/>
                </a:cubicBezTo>
                <a:cubicBezTo>
                  <a:pt x="1399" y="100"/>
                  <a:pt x="1406" y="121"/>
                  <a:pt x="1406" y="148"/>
                </a:cubicBezTo>
                <a:cubicBezTo>
                  <a:pt x="1406" y="150"/>
                  <a:pt x="1406" y="153"/>
                  <a:pt x="1406" y="156"/>
                </a:cubicBezTo>
                <a:lnTo>
                  <a:pt x="1291" y="156"/>
                </a:lnTo>
                <a:cubicBezTo>
                  <a:pt x="1292" y="174"/>
                  <a:pt x="1297" y="188"/>
                  <a:pt x="1306" y="197"/>
                </a:cubicBezTo>
                <a:cubicBezTo>
                  <a:pt x="1314" y="207"/>
                  <a:pt x="1325" y="212"/>
                  <a:pt x="1338" y="212"/>
                </a:cubicBezTo>
                <a:cubicBezTo>
                  <a:pt x="1347" y="212"/>
                  <a:pt x="1355" y="209"/>
                  <a:pt x="1362" y="204"/>
                </a:cubicBezTo>
                <a:cubicBezTo>
                  <a:pt x="1369" y="198"/>
                  <a:pt x="1374" y="190"/>
                  <a:pt x="1378" y="178"/>
                </a:cubicBezTo>
                <a:close/>
                <a:moveTo>
                  <a:pt x="1293" y="133"/>
                </a:moveTo>
                <a:lnTo>
                  <a:pt x="1378" y="133"/>
                </a:lnTo>
                <a:cubicBezTo>
                  <a:pt x="1377" y="119"/>
                  <a:pt x="1374" y="109"/>
                  <a:pt x="1369" y="102"/>
                </a:cubicBezTo>
                <a:cubicBezTo>
                  <a:pt x="1360" y="91"/>
                  <a:pt x="1350" y="86"/>
                  <a:pt x="1336" y="86"/>
                </a:cubicBezTo>
                <a:cubicBezTo>
                  <a:pt x="1324" y="86"/>
                  <a:pt x="1314" y="90"/>
                  <a:pt x="1306" y="98"/>
                </a:cubicBezTo>
                <a:cubicBezTo>
                  <a:pt x="1298" y="107"/>
                  <a:pt x="1294" y="119"/>
                  <a:pt x="1293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8" name="Freeform 78">
            <a:extLst>
              <a:ext uri="{FF2B5EF4-FFF2-40B4-BE49-F238E27FC236}">
                <a16:creationId xmlns:a16="http://schemas.microsoft.com/office/drawing/2014/main" id="{71F9900E-6809-4CFE-8F44-503C1E8387B4}"/>
              </a:ext>
            </a:extLst>
          </p:cNvPr>
          <p:cNvSpPr>
            <a:spLocks noEditPoints="1"/>
          </p:cNvSpPr>
          <p:nvPr/>
        </p:nvSpPr>
        <p:spPr bwMode="auto">
          <a:xfrm>
            <a:off x="1952626" y="5065713"/>
            <a:ext cx="506413" cy="198438"/>
          </a:xfrm>
          <a:custGeom>
            <a:avLst/>
            <a:gdLst>
              <a:gd name="T0" fmla="*/ 0 w 1406"/>
              <a:gd name="T1" fmla="*/ 116 h 552"/>
              <a:gd name="T2" fmla="*/ 134 w 1406"/>
              <a:gd name="T3" fmla="*/ 37 h 552"/>
              <a:gd name="T4" fmla="*/ 97 w 1406"/>
              <a:gd name="T5" fmla="*/ 209 h 552"/>
              <a:gd name="T6" fmla="*/ 143 w 1406"/>
              <a:gd name="T7" fmla="*/ 537 h 552"/>
              <a:gd name="T8" fmla="*/ 283 w 1406"/>
              <a:gd name="T9" fmla="*/ 384 h 552"/>
              <a:gd name="T10" fmla="*/ 136 w 1406"/>
              <a:gd name="T11" fmla="*/ 484 h 552"/>
              <a:gd name="T12" fmla="*/ 327 w 1406"/>
              <a:gd name="T13" fmla="*/ 384 h 552"/>
              <a:gd name="T14" fmla="*/ 343 w 1406"/>
              <a:gd name="T15" fmla="*/ 415 h 552"/>
              <a:gd name="T16" fmla="*/ 492 w 1406"/>
              <a:gd name="T17" fmla="*/ 538 h 552"/>
              <a:gd name="T18" fmla="*/ 516 w 1406"/>
              <a:gd name="T19" fmla="*/ 466 h 552"/>
              <a:gd name="T20" fmla="*/ 403 w 1406"/>
              <a:gd name="T21" fmla="*/ 450 h 552"/>
              <a:gd name="T22" fmla="*/ 609 w 1406"/>
              <a:gd name="T23" fmla="*/ 547 h 552"/>
              <a:gd name="T24" fmla="*/ 588 w 1406"/>
              <a:gd name="T25" fmla="*/ 454 h 552"/>
              <a:gd name="T26" fmla="*/ 532 w 1406"/>
              <a:gd name="T27" fmla="*/ 431 h 552"/>
              <a:gd name="T28" fmla="*/ 661 w 1406"/>
              <a:gd name="T29" fmla="*/ 442 h 552"/>
              <a:gd name="T30" fmla="*/ 592 w 1406"/>
              <a:gd name="T31" fmla="*/ 476 h 552"/>
              <a:gd name="T32" fmla="*/ 630 w 1406"/>
              <a:gd name="T33" fmla="*/ 504 h 552"/>
              <a:gd name="T34" fmla="*/ 695 w 1406"/>
              <a:gd name="T35" fmla="*/ 533 h 552"/>
              <a:gd name="T36" fmla="*/ 717 w 1406"/>
              <a:gd name="T37" fmla="*/ 326 h 552"/>
              <a:gd name="T38" fmla="*/ 723 w 1406"/>
              <a:gd name="T39" fmla="*/ 523 h 552"/>
              <a:gd name="T40" fmla="*/ 755 w 1406"/>
              <a:gd name="T41" fmla="*/ 353 h 552"/>
              <a:gd name="T42" fmla="*/ 821 w 1406"/>
              <a:gd name="T43" fmla="*/ 399 h 552"/>
              <a:gd name="T44" fmla="*/ 817 w 1406"/>
              <a:gd name="T45" fmla="*/ 530 h 552"/>
              <a:gd name="T46" fmla="*/ 902 w 1406"/>
              <a:gd name="T47" fmla="*/ 419 h 552"/>
              <a:gd name="T48" fmla="*/ 981 w 1406"/>
              <a:gd name="T49" fmla="*/ 407 h 552"/>
              <a:gd name="T50" fmla="*/ 1057 w 1406"/>
              <a:gd name="T51" fmla="*/ 549 h 552"/>
              <a:gd name="T52" fmla="*/ 984 w 1406"/>
              <a:gd name="T53" fmla="*/ 549 h 552"/>
              <a:gd name="T54" fmla="*/ 1221 w 1406"/>
              <a:gd name="T55" fmla="*/ 465 h 552"/>
              <a:gd name="T56" fmla="*/ 1171 w 1406"/>
              <a:gd name="T57" fmla="*/ 386 h 552"/>
              <a:gd name="T58" fmla="*/ 1244 w 1406"/>
              <a:gd name="T59" fmla="*/ 478 h 552"/>
              <a:gd name="T60" fmla="*/ 230 w 1406"/>
              <a:gd name="T61" fmla="*/ 231 h 552"/>
              <a:gd name="T62" fmla="*/ 256 w 1406"/>
              <a:gd name="T63" fmla="*/ 231 h 552"/>
              <a:gd name="T64" fmla="*/ 416 w 1406"/>
              <a:gd name="T65" fmla="*/ 221 h 552"/>
              <a:gd name="T66" fmla="*/ 441 w 1406"/>
              <a:gd name="T67" fmla="*/ 148 h 552"/>
              <a:gd name="T68" fmla="*/ 328 w 1406"/>
              <a:gd name="T69" fmla="*/ 133 h 552"/>
              <a:gd name="T70" fmla="*/ 459 w 1406"/>
              <a:gd name="T71" fmla="*/ 66 h 552"/>
              <a:gd name="T72" fmla="*/ 584 w 1406"/>
              <a:gd name="T73" fmla="*/ 130 h 552"/>
              <a:gd name="T74" fmla="*/ 497 w 1406"/>
              <a:gd name="T75" fmla="*/ 98 h 552"/>
              <a:gd name="T76" fmla="*/ 628 w 1406"/>
              <a:gd name="T77" fmla="*/ 228 h 552"/>
              <a:gd name="T78" fmla="*/ 614 w 1406"/>
              <a:gd name="T79" fmla="*/ 26 h 552"/>
              <a:gd name="T80" fmla="*/ 642 w 1406"/>
              <a:gd name="T81" fmla="*/ 200 h 552"/>
              <a:gd name="T82" fmla="*/ 814 w 1406"/>
              <a:gd name="T83" fmla="*/ 169 h 552"/>
              <a:gd name="T84" fmla="*/ 1020 w 1406"/>
              <a:gd name="T85" fmla="*/ 210 h 552"/>
              <a:gd name="T86" fmla="*/ 948 w 1406"/>
              <a:gd name="T87" fmla="*/ 140 h 552"/>
              <a:gd name="T88" fmla="*/ 941 w 1406"/>
              <a:gd name="T89" fmla="*/ 117 h 552"/>
              <a:gd name="T90" fmla="*/ 1043 w 1406"/>
              <a:gd name="T91" fmla="*/ 99 h 552"/>
              <a:gd name="T92" fmla="*/ 1018 w 1406"/>
              <a:gd name="T93" fmla="*/ 148 h 552"/>
              <a:gd name="T94" fmla="*/ 996 w 1406"/>
              <a:gd name="T95" fmla="*/ 206 h 552"/>
              <a:gd name="T96" fmla="*/ 1096 w 1406"/>
              <a:gd name="T97" fmla="*/ 231 h 552"/>
              <a:gd name="T98" fmla="*/ 1123 w 1406"/>
              <a:gd name="T99" fmla="*/ 194 h 552"/>
              <a:gd name="T100" fmla="*/ 1179 w 1406"/>
              <a:gd name="T101" fmla="*/ 210 h 552"/>
              <a:gd name="T102" fmla="*/ 1223 w 1406"/>
              <a:gd name="T103" fmla="*/ 231 h 552"/>
              <a:gd name="T104" fmla="*/ 1284 w 1406"/>
              <a:gd name="T105" fmla="*/ 86 h 552"/>
              <a:gd name="T106" fmla="*/ 1337 w 1406"/>
              <a:gd name="T107" fmla="*/ 212 h 552"/>
              <a:gd name="T108" fmla="*/ 1306 w 1406"/>
              <a:gd name="T109" fmla="*/ 98 h 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06" h="552">
                <a:moveTo>
                  <a:pt x="159" y="151"/>
                </a:moveTo>
                <a:lnTo>
                  <a:pt x="187" y="159"/>
                </a:lnTo>
                <a:cubicBezTo>
                  <a:pt x="181" y="184"/>
                  <a:pt x="170" y="202"/>
                  <a:pt x="155" y="215"/>
                </a:cubicBezTo>
                <a:cubicBezTo>
                  <a:pt x="140" y="228"/>
                  <a:pt x="121" y="235"/>
                  <a:pt x="99" y="235"/>
                </a:cubicBezTo>
                <a:cubicBezTo>
                  <a:pt x="76" y="235"/>
                  <a:pt x="58" y="230"/>
                  <a:pt x="44" y="220"/>
                </a:cubicBezTo>
                <a:cubicBezTo>
                  <a:pt x="29" y="210"/>
                  <a:pt x="18" y="195"/>
                  <a:pt x="11" y="177"/>
                </a:cubicBezTo>
                <a:cubicBezTo>
                  <a:pt x="4" y="158"/>
                  <a:pt x="0" y="137"/>
                  <a:pt x="0" y="116"/>
                </a:cubicBezTo>
                <a:cubicBezTo>
                  <a:pt x="0" y="92"/>
                  <a:pt x="4" y="71"/>
                  <a:pt x="12" y="54"/>
                </a:cubicBezTo>
                <a:cubicBezTo>
                  <a:pt x="21" y="36"/>
                  <a:pt x="33" y="23"/>
                  <a:pt x="48" y="14"/>
                </a:cubicBezTo>
                <a:cubicBezTo>
                  <a:pt x="64" y="4"/>
                  <a:pt x="81" y="0"/>
                  <a:pt x="100" y="0"/>
                </a:cubicBezTo>
                <a:cubicBezTo>
                  <a:pt x="121" y="0"/>
                  <a:pt x="139" y="6"/>
                  <a:pt x="153" y="17"/>
                </a:cubicBezTo>
                <a:cubicBezTo>
                  <a:pt x="167" y="29"/>
                  <a:pt x="178" y="45"/>
                  <a:pt x="183" y="66"/>
                </a:cubicBezTo>
                <a:lnTo>
                  <a:pt x="156" y="73"/>
                </a:lnTo>
                <a:cubicBezTo>
                  <a:pt x="151" y="57"/>
                  <a:pt x="144" y="44"/>
                  <a:pt x="134" y="37"/>
                </a:cubicBezTo>
                <a:cubicBezTo>
                  <a:pt x="125" y="29"/>
                  <a:pt x="113" y="26"/>
                  <a:pt x="99" y="26"/>
                </a:cubicBezTo>
                <a:cubicBezTo>
                  <a:pt x="83" y="26"/>
                  <a:pt x="69" y="30"/>
                  <a:pt x="58" y="38"/>
                </a:cubicBezTo>
                <a:cubicBezTo>
                  <a:pt x="48" y="47"/>
                  <a:pt x="40" y="58"/>
                  <a:pt x="35" y="72"/>
                </a:cubicBezTo>
                <a:cubicBezTo>
                  <a:pt x="31" y="86"/>
                  <a:pt x="29" y="101"/>
                  <a:pt x="29" y="116"/>
                </a:cubicBezTo>
                <a:cubicBezTo>
                  <a:pt x="29" y="135"/>
                  <a:pt x="31" y="152"/>
                  <a:pt x="37" y="166"/>
                </a:cubicBezTo>
                <a:cubicBezTo>
                  <a:pt x="42" y="181"/>
                  <a:pt x="50" y="191"/>
                  <a:pt x="61" y="198"/>
                </a:cubicBezTo>
                <a:cubicBezTo>
                  <a:pt x="72" y="206"/>
                  <a:pt x="84" y="209"/>
                  <a:pt x="97" y="209"/>
                </a:cubicBezTo>
                <a:cubicBezTo>
                  <a:pt x="113" y="209"/>
                  <a:pt x="126" y="204"/>
                  <a:pt x="137" y="195"/>
                </a:cubicBezTo>
                <a:cubicBezTo>
                  <a:pt x="147" y="185"/>
                  <a:pt x="155" y="170"/>
                  <a:pt x="159" y="151"/>
                </a:cubicBezTo>
                <a:close/>
                <a:moveTo>
                  <a:pt x="258" y="469"/>
                </a:moveTo>
                <a:lnTo>
                  <a:pt x="286" y="476"/>
                </a:lnTo>
                <a:cubicBezTo>
                  <a:pt x="280" y="501"/>
                  <a:pt x="270" y="520"/>
                  <a:pt x="254" y="533"/>
                </a:cubicBezTo>
                <a:cubicBezTo>
                  <a:pt x="239" y="546"/>
                  <a:pt x="221" y="552"/>
                  <a:pt x="198" y="552"/>
                </a:cubicBezTo>
                <a:cubicBezTo>
                  <a:pt x="176" y="552"/>
                  <a:pt x="157" y="547"/>
                  <a:pt x="143" y="537"/>
                </a:cubicBezTo>
                <a:cubicBezTo>
                  <a:pt x="129" y="527"/>
                  <a:pt x="118" y="513"/>
                  <a:pt x="110" y="494"/>
                </a:cubicBezTo>
                <a:cubicBezTo>
                  <a:pt x="103" y="475"/>
                  <a:pt x="99" y="455"/>
                  <a:pt x="99" y="433"/>
                </a:cubicBezTo>
                <a:cubicBezTo>
                  <a:pt x="99" y="410"/>
                  <a:pt x="103" y="389"/>
                  <a:pt x="112" y="371"/>
                </a:cubicBezTo>
                <a:cubicBezTo>
                  <a:pt x="120" y="354"/>
                  <a:pt x="132" y="340"/>
                  <a:pt x="148" y="331"/>
                </a:cubicBezTo>
                <a:cubicBezTo>
                  <a:pt x="163" y="322"/>
                  <a:pt x="180" y="317"/>
                  <a:pt x="199" y="317"/>
                </a:cubicBezTo>
                <a:cubicBezTo>
                  <a:pt x="220" y="317"/>
                  <a:pt x="238" y="323"/>
                  <a:pt x="252" y="335"/>
                </a:cubicBezTo>
                <a:cubicBezTo>
                  <a:pt x="267" y="346"/>
                  <a:pt x="277" y="363"/>
                  <a:pt x="283" y="384"/>
                </a:cubicBezTo>
                <a:lnTo>
                  <a:pt x="255" y="391"/>
                </a:lnTo>
                <a:cubicBezTo>
                  <a:pt x="250" y="374"/>
                  <a:pt x="243" y="362"/>
                  <a:pt x="234" y="354"/>
                </a:cubicBezTo>
                <a:cubicBezTo>
                  <a:pt x="224" y="347"/>
                  <a:pt x="213" y="343"/>
                  <a:pt x="198" y="343"/>
                </a:cubicBezTo>
                <a:cubicBezTo>
                  <a:pt x="182" y="343"/>
                  <a:pt x="169" y="347"/>
                  <a:pt x="158" y="356"/>
                </a:cubicBezTo>
                <a:cubicBezTo>
                  <a:pt x="147" y="364"/>
                  <a:pt x="139" y="375"/>
                  <a:pt x="135" y="389"/>
                </a:cubicBezTo>
                <a:cubicBezTo>
                  <a:pt x="130" y="404"/>
                  <a:pt x="128" y="418"/>
                  <a:pt x="128" y="433"/>
                </a:cubicBezTo>
                <a:cubicBezTo>
                  <a:pt x="128" y="452"/>
                  <a:pt x="131" y="469"/>
                  <a:pt x="136" y="484"/>
                </a:cubicBezTo>
                <a:cubicBezTo>
                  <a:pt x="141" y="498"/>
                  <a:pt x="149" y="509"/>
                  <a:pt x="160" y="516"/>
                </a:cubicBezTo>
                <a:cubicBezTo>
                  <a:pt x="171" y="523"/>
                  <a:pt x="183" y="527"/>
                  <a:pt x="196" y="527"/>
                </a:cubicBezTo>
                <a:cubicBezTo>
                  <a:pt x="212" y="527"/>
                  <a:pt x="225" y="522"/>
                  <a:pt x="236" y="512"/>
                </a:cubicBezTo>
                <a:cubicBezTo>
                  <a:pt x="247" y="502"/>
                  <a:pt x="254" y="488"/>
                  <a:pt x="258" y="469"/>
                </a:cubicBezTo>
                <a:close/>
                <a:moveTo>
                  <a:pt x="303" y="549"/>
                </a:moveTo>
                <a:lnTo>
                  <a:pt x="303" y="384"/>
                </a:lnTo>
                <a:lnTo>
                  <a:pt x="327" y="384"/>
                </a:lnTo>
                <a:lnTo>
                  <a:pt x="327" y="409"/>
                </a:lnTo>
                <a:cubicBezTo>
                  <a:pt x="333" y="397"/>
                  <a:pt x="338" y="390"/>
                  <a:pt x="343" y="386"/>
                </a:cubicBezTo>
                <a:cubicBezTo>
                  <a:pt x="348" y="382"/>
                  <a:pt x="354" y="380"/>
                  <a:pt x="360" y="380"/>
                </a:cubicBezTo>
                <a:cubicBezTo>
                  <a:pt x="369" y="380"/>
                  <a:pt x="378" y="383"/>
                  <a:pt x="387" y="389"/>
                </a:cubicBezTo>
                <a:lnTo>
                  <a:pt x="378" y="415"/>
                </a:lnTo>
                <a:cubicBezTo>
                  <a:pt x="371" y="411"/>
                  <a:pt x="365" y="409"/>
                  <a:pt x="359" y="409"/>
                </a:cubicBezTo>
                <a:cubicBezTo>
                  <a:pt x="353" y="409"/>
                  <a:pt x="348" y="411"/>
                  <a:pt x="343" y="415"/>
                </a:cubicBezTo>
                <a:cubicBezTo>
                  <a:pt x="339" y="418"/>
                  <a:pt x="336" y="423"/>
                  <a:pt x="334" y="430"/>
                </a:cubicBezTo>
                <a:cubicBezTo>
                  <a:pt x="331" y="440"/>
                  <a:pt x="329" y="451"/>
                  <a:pt x="329" y="462"/>
                </a:cubicBezTo>
                <a:lnTo>
                  <a:pt x="329" y="549"/>
                </a:lnTo>
                <a:lnTo>
                  <a:pt x="303" y="549"/>
                </a:lnTo>
                <a:close/>
                <a:moveTo>
                  <a:pt x="489" y="495"/>
                </a:moveTo>
                <a:lnTo>
                  <a:pt x="516" y="499"/>
                </a:lnTo>
                <a:cubicBezTo>
                  <a:pt x="511" y="516"/>
                  <a:pt x="504" y="529"/>
                  <a:pt x="492" y="538"/>
                </a:cubicBezTo>
                <a:cubicBezTo>
                  <a:pt x="481" y="547"/>
                  <a:pt x="466" y="552"/>
                  <a:pt x="448" y="552"/>
                </a:cubicBezTo>
                <a:cubicBezTo>
                  <a:pt x="426" y="552"/>
                  <a:pt x="408" y="545"/>
                  <a:pt x="395" y="530"/>
                </a:cubicBezTo>
                <a:cubicBezTo>
                  <a:pt x="382" y="515"/>
                  <a:pt x="375" y="494"/>
                  <a:pt x="375" y="468"/>
                </a:cubicBezTo>
                <a:cubicBezTo>
                  <a:pt x="375" y="440"/>
                  <a:pt x="382" y="418"/>
                  <a:pt x="395" y="403"/>
                </a:cubicBezTo>
                <a:cubicBezTo>
                  <a:pt x="409" y="388"/>
                  <a:pt x="426" y="380"/>
                  <a:pt x="447" y="380"/>
                </a:cubicBezTo>
                <a:cubicBezTo>
                  <a:pt x="467" y="380"/>
                  <a:pt x="484" y="388"/>
                  <a:pt x="497" y="403"/>
                </a:cubicBezTo>
                <a:cubicBezTo>
                  <a:pt x="510" y="418"/>
                  <a:pt x="516" y="439"/>
                  <a:pt x="516" y="466"/>
                </a:cubicBezTo>
                <a:cubicBezTo>
                  <a:pt x="516" y="468"/>
                  <a:pt x="516" y="470"/>
                  <a:pt x="516" y="473"/>
                </a:cubicBezTo>
                <a:lnTo>
                  <a:pt x="402" y="473"/>
                </a:lnTo>
                <a:cubicBezTo>
                  <a:pt x="403" y="491"/>
                  <a:pt x="408" y="505"/>
                  <a:pt x="416" y="515"/>
                </a:cubicBezTo>
                <a:cubicBezTo>
                  <a:pt x="425" y="524"/>
                  <a:pt x="436" y="529"/>
                  <a:pt x="448" y="529"/>
                </a:cubicBezTo>
                <a:cubicBezTo>
                  <a:pt x="458" y="529"/>
                  <a:pt x="466" y="526"/>
                  <a:pt x="473" y="521"/>
                </a:cubicBezTo>
                <a:cubicBezTo>
                  <a:pt x="479" y="516"/>
                  <a:pt x="485" y="507"/>
                  <a:pt x="489" y="495"/>
                </a:cubicBezTo>
                <a:close/>
                <a:moveTo>
                  <a:pt x="403" y="450"/>
                </a:moveTo>
                <a:lnTo>
                  <a:pt x="489" y="450"/>
                </a:lnTo>
                <a:cubicBezTo>
                  <a:pt x="488" y="437"/>
                  <a:pt x="485" y="426"/>
                  <a:pt x="479" y="419"/>
                </a:cubicBezTo>
                <a:cubicBezTo>
                  <a:pt x="471" y="409"/>
                  <a:pt x="460" y="403"/>
                  <a:pt x="447" y="403"/>
                </a:cubicBezTo>
                <a:cubicBezTo>
                  <a:pt x="435" y="403"/>
                  <a:pt x="425" y="407"/>
                  <a:pt x="417" y="416"/>
                </a:cubicBezTo>
                <a:cubicBezTo>
                  <a:pt x="409" y="425"/>
                  <a:pt x="404" y="436"/>
                  <a:pt x="403" y="450"/>
                </a:cubicBezTo>
                <a:close/>
                <a:moveTo>
                  <a:pt x="636" y="528"/>
                </a:moveTo>
                <a:cubicBezTo>
                  <a:pt x="627" y="537"/>
                  <a:pt x="617" y="543"/>
                  <a:pt x="609" y="547"/>
                </a:cubicBezTo>
                <a:cubicBezTo>
                  <a:pt x="600" y="550"/>
                  <a:pt x="590" y="552"/>
                  <a:pt x="580" y="552"/>
                </a:cubicBezTo>
                <a:cubicBezTo>
                  <a:pt x="563" y="552"/>
                  <a:pt x="550" y="548"/>
                  <a:pt x="541" y="539"/>
                </a:cubicBezTo>
                <a:cubicBezTo>
                  <a:pt x="532" y="530"/>
                  <a:pt x="527" y="519"/>
                  <a:pt x="527" y="505"/>
                </a:cubicBezTo>
                <a:cubicBezTo>
                  <a:pt x="527" y="497"/>
                  <a:pt x="529" y="490"/>
                  <a:pt x="532" y="483"/>
                </a:cubicBezTo>
                <a:cubicBezTo>
                  <a:pt x="536" y="476"/>
                  <a:pt x="540" y="471"/>
                  <a:pt x="546" y="467"/>
                </a:cubicBezTo>
                <a:cubicBezTo>
                  <a:pt x="551" y="463"/>
                  <a:pt x="558" y="460"/>
                  <a:pt x="565" y="458"/>
                </a:cubicBezTo>
                <a:cubicBezTo>
                  <a:pt x="570" y="456"/>
                  <a:pt x="577" y="455"/>
                  <a:pt x="588" y="454"/>
                </a:cubicBezTo>
                <a:cubicBezTo>
                  <a:pt x="609" y="451"/>
                  <a:pt x="624" y="448"/>
                  <a:pt x="634" y="444"/>
                </a:cubicBezTo>
                <a:cubicBezTo>
                  <a:pt x="634" y="440"/>
                  <a:pt x="634" y="438"/>
                  <a:pt x="634" y="437"/>
                </a:cubicBezTo>
                <a:cubicBezTo>
                  <a:pt x="634" y="426"/>
                  <a:pt x="632" y="418"/>
                  <a:pt x="627" y="413"/>
                </a:cubicBezTo>
                <a:cubicBezTo>
                  <a:pt x="620" y="407"/>
                  <a:pt x="610" y="403"/>
                  <a:pt x="597" y="403"/>
                </a:cubicBezTo>
                <a:cubicBezTo>
                  <a:pt x="585" y="403"/>
                  <a:pt x="576" y="406"/>
                  <a:pt x="570" y="410"/>
                </a:cubicBezTo>
                <a:cubicBezTo>
                  <a:pt x="564" y="415"/>
                  <a:pt x="560" y="423"/>
                  <a:pt x="557" y="435"/>
                </a:cubicBezTo>
                <a:lnTo>
                  <a:pt x="532" y="431"/>
                </a:lnTo>
                <a:cubicBezTo>
                  <a:pt x="534" y="419"/>
                  <a:pt x="538" y="410"/>
                  <a:pt x="543" y="403"/>
                </a:cubicBezTo>
                <a:cubicBezTo>
                  <a:pt x="549" y="396"/>
                  <a:pt x="556" y="390"/>
                  <a:pt x="566" y="386"/>
                </a:cubicBezTo>
                <a:cubicBezTo>
                  <a:pt x="576" y="382"/>
                  <a:pt x="588" y="380"/>
                  <a:pt x="601" y="380"/>
                </a:cubicBezTo>
                <a:cubicBezTo>
                  <a:pt x="614" y="380"/>
                  <a:pt x="625" y="382"/>
                  <a:pt x="633" y="385"/>
                </a:cubicBezTo>
                <a:cubicBezTo>
                  <a:pt x="641" y="389"/>
                  <a:pt x="647" y="393"/>
                  <a:pt x="651" y="398"/>
                </a:cubicBezTo>
                <a:cubicBezTo>
                  <a:pt x="655" y="403"/>
                  <a:pt x="658" y="409"/>
                  <a:pt x="659" y="417"/>
                </a:cubicBezTo>
                <a:cubicBezTo>
                  <a:pt x="660" y="422"/>
                  <a:pt x="661" y="430"/>
                  <a:pt x="661" y="442"/>
                </a:cubicBezTo>
                <a:lnTo>
                  <a:pt x="661" y="479"/>
                </a:lnTo>
                <a:cubicBezTo>
                  <a:pt x="661" y="505"/>
                  <a:pt x="661" y="522"/>
                  <a:pt x="662" y="529"/>
                </a:cubicBezTo>
                <a:cubicBezTo>
                  <a:pt x="663" y="536"/>
                  <a:pt x="666" y="542"/>
                  <a:pt x="669" y="549"/>
                </a:cubicBezTo>
                <a:lnTo>
                  <a:pt x="641" y="549"/>
                </a:lnTo>
                <a:cubicBezTo>
                  <a:pt x="639" y="543"/>
                  <a:pt x="637" y="536"/>
                  <a:pt x="636" y="528"/>
                </a:cubicBezTo>
                <a:close/>
                <a:moveTo>
                  <a:pt x="634" y="466"/>
                </a:moveTo>
                <a:cubicBezTo>
                  <a:pt x="625" y="470"/>
                  <a:pt x="611" y="474"/>
                  <a:pt x="592" y="476"/>
                </a:cubicBezTo>
                <a:cubicBezTo>
                  <a:pt x="581" y="478"/>
                  <a:pt x="573" y="480"/>
                  <a:pt x="569" y="482"/>
                </a:cubicBezTo>
                <a:cubicBezTo>
                  <a:pt x="565" y="484"/>
                  <a:pt x="561" y="487"/>
                  <a:pt x="559" y="491"/>
                </a:cubicBezTo>
                <a:cubicBezTo>
                  <a:pt x="556" y="495"/>
                  <a:pt x="555" y="499"/>
                  <a:pt x="555" y="504"/>
                </a:cubicBezTo>
                <a:cubicBezTo>
                  <a:pt x="555" y="512"/>
                  <a:pt x="558" y="518"/>
                  <a:pt x="563" y="523"/>
                </a:cubicBezTo>
                <a:cubicBezTo>
                  <a:pt x="568" y="528"/>
                  <a:pt x="576" y="530"/>
                  <a:pt x="586" y="530"/>
                </a:cubicBezTo>
                <a:cubicBezTo>
                  <a:pt x="596" y="530"/>
                  <a:pt x="605" y="528"/>
                  <a:pt x="613" y="523"/>
                </a:cubicBezTo>
                <a:cubicBezTo>
                  <a:pt x="621" y="518"/>
                  <a:pt x="626" y="512"/>
                  <a:pt x="630" y="504"/>
                </a:cubicBezTo>
                <a:cubicBezTo>
                  <a:pt x="633" y="498"/>
                  <a:pt x="634" y="488"/>
                  <a:pt x="634" y="476"/>
                </a:cubicBezTo>
                <a:lnTo>
                  <a:pt x="634" y="466"/>
                </a:lnTo>
                <a:close/>
                <a:moveTo>
                  <a:pt x="743" y="524"/>
                </a:moveTo>
                <a:lnTo>
                  <a:pt x="747" y="548"/>
                </a:lnTo>
                <a:cubicBezTo>
                  <a:pt x="740" y="550"/>
                  <a:pt x="733" y="551"/>
                  <a:pt x="727" y="551"/>
                </a:cubicBezTo>
                <a:cubicBezTo>
                  <a:pt x="718" y="551"/>
                  <a:pt x="711" y="549"/>
                  <a:pt x="705" y="546"/>
                </a:cubicBezTo>
                <a:cubicBezTo>
                  <a:pt x="700" y="543"/>
                  <a:pt x="697" y="539"/>
                  <a:pt x="695" y="533"/>
                </a:cubicBezTo>
                <a:cubicBezTo>
                  <a:pt x="692" y="528"/>
                  <a:pt x="691" y="517"/>
                  <a:pt x="691" y="500"/>
                </a:cubicBezTo>
                <a:lnTo>
                  <a:pt x="691" y="405"/>
                </a:lnTo>
                <a:lnTo>
                  <a:pt x="672" y="405"/>
                </a:lnTo>
                <a:lnTo>
                  <a:pt x="672" y="384"/>
                </a:lnTo>
                <a:lnTo>
                  <a:pt x="691" y="384"/>
                </a:lnTo>
                <a:lnTo>
                  <a:pt x="691" y="343"/>
                </a:lnTo>
                <a:lnTo>
                  <a:pt x="717" y="326"/>
                </a:lnTo>
                <a:lnTo>
                  <a:pt x="717" y="384"/>
                </a:lnTo>
                <a:lnTo>
                  <a:pt x="743" y="384"/>
                </a:lnTo>
                <a:lnTo>
                  <a:pt x="743" y="405"/>
                </a:lnTo>
                <a:lnTo>
                  <a:pt x="717" y="405"/>
                </a:lnTo>
                <a:lnTo>
                  <a:pt x="717" y="502"/>
                </a:lnTo>
                <a:cubicBezTo>
                  <a:pt x="717" y="510"/>
                  <a:pt x="718" y="515"/>
                  <a:pt x="719" y="517"/>
                </a:cubicBezTo>
                <a:cubicBezTo>
                  <a:pt x="720" y="520"/>
                  <a:pt x="721" y="521"/>
                  <a:pt x="723" y="523"/>
                </a:cubicBezTo>
                <a:cubicBezTo>
                  <a:pt x="725" y="524"/>
                  <a:pt x="728" y="525"/>
                  <a:pt x="732" y="525"/>
                </a:cubicBezTo>
                <a:cubicBezTo>
                  <a:pt x="735" y="525"/>
                  <a:pt x="739" y="524"/>
                  <a:pt x="743" y="524"/>
                </a:cubicBezTo>
                <a:close/>
                <a:moveTo>
                  <a:pt x="755" y="353"/>
                </a:moveTo>
                <a:lnTo>
                  <a:pt x="755" y="321"/>
                </a:lnTo>
                <a:lnTo>
                  <a:pt x="781" y="321"/>
                </a:lnTo>
                <a:lnTo>
                  <a:pt x="781" y="353"/>
                </a:lnTo>
                <a:lnTo>
                  <a:pt x="755" y="353"/>
                </a:lnTo>
                <a:close/>
                <a:moveTo>
                  <a:pt x="755" y="549"/>
                </a:moveTo>
                <a:lnTo>
                  <a:pt x="755" y="384"/>
                </a:lnTo>
                <a:lnTo>
                  <a:pt x="781" y="384"/>
                </a:lnTo>
                <a:lnTo>
                  <a:pt x="781" y="549"/>
                </a:lnTo>
                <a:lnTo>
                  <a:pt x="755" y="549"/>
                </a:lnTo>
                <a:close/>
                <a:moveTo>
                  <a:pt x="798" y="466"/>
                </a:moveTo>
                <a:cubicBezTo>
                  <a:pt x="798" y="436"/>
                  <a:pt x="805" y="413"/>
                  <a:pt x="821" y="399"/>
                </a:cubicBezTo>
                <a:cubicBezTo>
                  <a:pt x="834" y="386"/>
                  <a:pt x="850" y="380"/>
                  <a:pt x="869" y="380"/>
                </a:cubicBezTo>
                <a:cubicBezTo>
                  <a:pt x="891" y="380"/>
                  <a:pt x="908" y="388"/>
                  <a:pt x="921" y="402"/>
                </a:cubicBezTo>
                <a:cubicBezTo>
                  <a:pt x="935" y="417"/>
                  <a:pt x="941" y="438"/>
                  <a:pt x="941" y="464"/>
                </a:cubicBezTo>
                <a:cubicBezTo>
                  <a:pt x="941" y="485"/>
                  <a:pt x="938" y="502"/>
                  <a:pt x="932" y="514"/>
                </a:cubicBezTo>
                <a:cubicBezTo>
                  <a:pt x="926" y="526"/>
                  <a:pt x="918" y="535"/>
                  <a:pt x="907" y="542"/>
                </a:cubicBezTo>
                <a:cubicBezTo>
                  <a:pt x="895" y="549"/>
                  <a:pt x="883" y="552"/>
                  <a:pt x="869" y="552"/>
                </a:cubicBezTo>
                <a:cubicBezTo>
                  <a:pt x="848" y="552"/>
                  <a:pt x="831" y="545"/>
                  <a:pt x="817" y="530"/>
                </a:cubicBezTo>
                <a:cubicBezTo>
                  <a:pt x="804" y="515"/>
                  <a:pt x="798" y="494"/>
                  <a:pt x="798" y="466"/>
                </a:cubicBezTo>
                <a:close/>
                <a:moveTo>
                  <a:pt x="824" y="466"/>
                </a:moveTo>
                <a:cubicBezTo>
                  <a:pt x="824" y="487"/>
                  <a:pt x="828" y="503"/>
                  <a:pt x="837" y="513"/>
                </a:cubicBezTo>
                <a:cubicBezTo>
                  <a:pt x="846" y="524"/>
                  <a:pt x="856" y="529"/>
                  <a:pt x="869" y="529"/>
                </a:cubicBezTo>
                <a:cubicBezTo>
                  <a:pt x="882" y="529"/>
                  <a:pt x="893" y="524"/>
                  <a:pt x="902" y="513"/>
                </a:cubicBezTo>
                <a:cubicBezTo>
                  <a:pt x="910" y="503"/>
                  <a:pt x="915" y="487"/>
                  <a:pt x="915" y="465"/>
                </a:cubicBezTo>
                <a:cubicBezTo>
                  <a:pt x="915" y="445"/>
                  <a:pt x="910" y="430"/>
                  <a:pt x="902" y="419"/>
                </a:cubicBezTo>
                <a:cubicBezTo>
                  <a:pt x="893" y="409"/>
                  <a:pt x="882" y="403"/>
                  <a:pt x="869" y="403"/>
                </a:cubicBezTo>
                <a:cubicBezTo>
                  <a:pt x="856" y="403"/>
                  <a:pt x="846" y="409"/>
                  <a:pt x="837" y="419"/>
                </a:cubicBezTo>
                <a:cubicBezTo>
                  <a:pt x="828" y="429"/>
                  <a:pt x="824" y="445"/>
                  <a:pt x="824" y="466"/>
                </a:cubicBezTo>
                <a:close/>
                <a:moveTo>
                  <a:pt x="958" y="549"/>
                </a:moveTo>
                <a:lnTo>
                  <a:pt x="958" y="384"/>
                </a:lnTo>
                <a:lnTo>
                  <a:pt x="981" y="384"/>
                </a:lnTo>
                <a:lnTo>
                  <a:pt x="981" y="407"/>
                </a:lnTo>
                <a:cubicBezTo>
                  <a:pt x="993" y="389"/>
                  <a:pt x="1009" y="380"/>
                  <a:pt x="1030" y="380"/>
                </a:cubicBezTo>
                <a:cubicBezTo>
                  <a:pt x="1039" y="380"/>
                  <a:pt x="1048" y="382"/>
                  <a:pt x="1056" y="386"/>
                </a:cubicBezTo>
                <a:cubicBezTo>
                  <a:pt x="1063" y="389"/>
                  <a:pt x="1069" y="394"/>
                  <a:pt x="1073" y="400"/>
                </a:cubicBezTo>
                <a:cubicBezTo>
                  <a:pt x="1077" y="405"/>
                  <a:pt x="1080" y="412"/>
                  <a:pt x="1081" y="420"/>
                </a:cubicBezTo>
                <a:cubicBezTo>
                  <a:pt x="1082" y="425"/>
                  <a:pt x="1083" y="434"/>
                  <a:pt x="1083" y="447"/>
                </a:cubicBezTo>
                <a:lnTo>
                  <a:pt x="1083" y="549"/>
                </a:lnTo>
                <a:lnTo>
                  <a:pt x="1057" y="549"/>
                </a:lnTo>
                <a:lnTo>
                  <a:pt x="1057" y="448"/>
                </a:lnTo>
                <a:cubicBezTo>
                  <a:pt x="1057" y="437"/>
                  <a:pt x="1056" y="429"/>
                  <a:pt x="1053" y="423"/>
                </a:cubicBezTo>
                <a:cubicBezTo>
                  <a:pt x="1051" y="417"/>
                  <a:pt x="1048" y="413"/>
                  <a:pt x="1043" y="409"/>
                </a:cubicBezTo>
                <a:cubicBezTo>
                  <a:pt x="1038" y="406"/>
                  <a:pt x="1032" y="404"/>
                  <a:pt x="1025" y="404"/>
                </a:cubicBezTo>
                <a:cubicBezTo>
                  <a:pt x="1014" y="404"/>
                  <a:pt x="1004" y="408"/>
                  <a:pt x="996" y="416"/>
                </a:cubicBezTo>
                <a:cubicBezTo>
                  <a:pt x="988" y="423"/>
                  <a:pt x="984" y="438"/>
                  <a:pt x="984" y="459"/>
                </a:cubicBezTo>
                <a:lnTo>
                  <a:pt x="984" y="549"/>
                </a:lnTo>
                <a:lnTo>
                  <a:pt x="958" y="549"/>
                </a:lnTo>
                <a:close/>
                <a:moveTo>
                  <a:pt x="1306" y="522"/>
                </a:moveTo>
                <a:lnTo>
                  <a:pt x="1306" y="549"/>
                </a:lnTo>
                <a:lnTo>
                  <a:pt x="1166" y="549"/>
                </a:lnTo>
                <a:cubicBezTo>
                  <a:pt x="1166" y="542"/>
                  <a:pt x="1167" y="535"/>
                  <a:pt x="1169" y="529"/>
                </a:cubicBezTo>
                <a:cubicBezTo>
                  <a:pt x="1173" y="519"/>
                  <a:pt x="1179" y="509"/>
                  <a:pt x="1187" y="499"/>
                </a:cubicBezTo>
                <a:cubicBezTo>
                  <a:pt x="1194" y="489"/>
                  <a:pt x="1206" y="478"/>
                  <a:pt x="1221" y="465"/>
                </a:cubicBezTo>
                <a:cubicBezTo>
                  <a:pt x="1243" y="444"/>
                  <a:pt x="1259" y="428"/>
                  <a:pt x="1267" y="416"/>
                </a:cubicBezTo>
                <a:cubicBezTo>
                  <a:pt x="1275" y="405"/>
                  <a:pt x="1279" y="393"/>
                  <a:pt x="1279" y="383"/>
                </a:cubicBezTo>
                <a:cubicBezTo>
                  <a:pt x="1279" y="372"/>
                  <a:pt x="1276" y="362"/>
                  <a:pt x="1268" y="355"/>
                </a:cubicBezTo>
                <a:cubicBezTo>
                  <a:pt x="1261" y="347"/>
                  <a:pt x="1251" y="343"/>
                  <a:pt x="1239" y="343"/>
                </a:cubicBezTo>
                <a:cubicBezTo>
                  <a:pt x="1227" y="343"/>
                  <a:pt x="1217" y="347"/>
                  <a:pt x="1209" y="356"/>
                </a:cubicBezTo>
                <a:cubicBezTo>
                  <a:pt x="1202" y="363"/>
                  <a:pt x="1198" y="375"/>
                  <a:pt x="1198" y="389"/>
                </a:cubicBezTo>
                <a:lnTo>
                  <a:pt x="1171" y="386"/>
                </a:lnTo>
                <a:cubicBezTo>
                  <a:pt x="1173" y="365"/>
                  <a:pt x="1180" y="348"/>
                  <a:pt x="1192" y="337"/>
                </a:cubicBezTo>
                <a:cubicBezTo>
                  <a:pt x="1204" y="326"/>
                  <a:pt x="1220" y="320"/>
                  <a:pt x="1240" y="320"/>
                </a:cubicBezTo>
                <a:cubicBezTo>
                  <a:pt x="1260" y="320"/>
                  <a:pt x="1276" y="326"/>
                  <a:pt x="1288" y="338"/>
                </a:cubicBezTo>
                <a:cubicBezTo>
                  <a:pt x="1300" y="351"/>
                  <a:pt x="1306" y="366"/>
                  <a:pt x="1306" y="383"/>
                </a:cubicBezTo>
                <a:cubicBezTo>
                  <a:pt x="1306" y="393"/>
                  <a:pt x="1304" y="401"/>
                  <a:pt x="1301" y="410"/>
                </a:cubicBezTo>
                <a:cubicBezTo>
                  <a:pt x="1297" y="419"/>
                  <a:pt x="1292" y="428"/>
                  <a:pt x="1284" y="438"/>
                </a:cubicBezTo>
                <a:cubicBezTo>
                  <a:pt x="1276" y="448"/>
                  <a:pt x="1262" y="461"/>
                  <a:pt x="1244" y="478"/>
                </a:cubicBezTo>
                <a:cubicBezTo>
                  <a:pt x="1228" y="492"/>
                  <a:pt x="1218" y="502"/>
                  <a:pt x="1213" y="507"/>
                </a:cubicBezTo>
                <a:cubicBezTo>
                  <a:pt x="1209" y="512"/>
                  <a:pt x="1205" y="517"/>
                  <a:pt x="1202" y="522"/>
                </a:cubicBezTo>
                <a:lnTo>
                  <a:pt x="1306" y="522"/>
                </a:lnTo>
                <a:close/>
                <a:moveTo>
                  <a:pt x="204" y="231"/>
                </a:moveTo>
                <a:lnTo>
                  <a:pt x="204" y="4"/>
                </a:lnTo>
                <a:lnTo>
                  <a:pt x="230" y="4"/>
                </a:lnTo>
                <a:lnTo>
                  <a:pt x="230" y="231"/>
                </a:lnTo>
                <a:lnTo>
                  <a:pt x="204" y="231"/>
                </a:lnTo>
                <a:close/>
                <a:moveTo>
                  <a:pt x="256" y="35"/>
                </a:moveTo>
                <a:lnTo>
                  <a:pt x="256" y="4"/>
                </a:lnTo>
                <a:lnTo>
                  <a:pt x="282" y="4"/>
                </a:lnTo>
                <a:lnTo>
                  <a:pt x="282" y="35"/>
                </a:lnTo>
                <a:lnTo>
                  <a:pt x="256" y="35"/>
                </a:lnTo>
                <a:close/>
                <a:moveTo>
                  <a:pt x="256" y="231"/>
                </a:moveTo>
                <a:lnTo>
                  <a:pt x="256" y="66"/>
                </a:lnTo>
                <a:lnTo>
                  <a:pt x="282" y="66"/>
                </a:lnTo>
                <a:lnTo>
                  <a:pt x="282" y="231"/>
                </a:lnTo>
                <a:lnTo>
                  <a:pt x="256" y="231"/>
                </a:lnTo>
                <a:close/>
                <a:moveTo>
                  <a:pt x="413" y="178"/>
                </a:moveTo>
                <a:lnTo>
                  <a:pt x="440" y="182"/>
                </a:lnTo>
                <a:cubicBezTo>
                  <a:pt x="436" y="198"/>
                  <a:pt x="428" y="211"/>
                  <a:pt x="416" y="221"/>
                </a:cubicBezTo>
                <a:cubicBezTo>
                  <a:pt x="405" y="230"/>
                  <a:pt x="390" y="235"/>
                  <a:pt x="373" y="235"/>
                </a:cubicBezTo>
                <a:cubicBezTo>
                  <a:pt x="350" y="235"/>
                  <a:pt x="332" y="227"/>
                  <a:pt x="319" y="212"/>
                </a:cubicBezTo>
                <a:cubicBezTo>
                  <a:pt x="306" y="198"/>
                  <a:pt x="300" y="177"/>
                  <a:pt x="300" y="150"/>
                </a:cubicBezTo>
                <a:cubicBezTo>
                  <a:pt x="300" y="122"/>
                  <a:pt x="306" y="101"/>
                  <a:pt x="320" y="86"/>
                </a:cubicBezTo>
                <a:cubicBezTo>
                  <a:pt x="333" y="70"/>
                  <a:pt x="350" y="63"/>
                  <a:pt x="371" y="63"/>
                </a:cubicBezTo>
                <a:cubicBezTo>
                  <a:pt x="392" y="63"/>
                  <a:pt x="408" y="70"/>
                  <a:pt x="421" y="85"/>
                </a:cubicBezTo>
                <a:cubicBezTo>
                  <a:pt x="434" y="100"/>
                  <a:pt x="441" y="121"/>
                  <a:pt x="441" y="148"/>
                </a:cubicBezTo>
                <a:cubicBezTo>
                  <a:pt x="441" y="150"/>
                  <a:pt x="441" y="153"/>
                  <a:pt x="441" y="156"/>
                </a:cubicBezTo>
                <a:lnTo>
                  <a:pt x="326" y="156"/>
                </a:lnTo>
                <a:cubicBezTo>
                  <a:pt x="327" y="174"/>
                  <a:pt x="332" y="188"/>
                  <a:pt x="341" y="197"/>
                </a:cubicBezTo>
                <a:cubicBezTo>
                  <a:pt x="349" y="207"/>
                  <a:pt x="360" y="212"/>
                  <a:pt x="373" y="212"/>
                </a:cubicBezTo>
                <a:cubicBezTo>
                  <a:pt x="382" y="212"/>
                  <a:pt x="390" y="209"/>
                  <a:pt x="397" y="204"/>
                </a:cubicBezTo>
                <a:cubicBezTo>
                  <a:pt x="404" y="198"/>
                  <a:pt x="409" y="190"/>
                  <a:pt x="413" y="178"/>
                </a:cubicBezTo>
                <a:close/>
                <a:moveTo>
                  <a:pt x="328" y="133"/>
                </a:moveTo>
                <a:lnTo>
                  <a:pt x="413" y="133"/>
                </a:lnTo>
                <a:cubicBezTo>
                  <a:pt x="412" y="119"/>
                  <a:pt x="409" y="109"/>
                  <a:pt x="403" y="102"/>
                </a:cubicBezTo>
                <a:cubicBezTo>
                  <a:pt x="395" y="91"/>
                  <a:pt x="384" y="86"/>
                  <a:pt x="371" y="86"/>
                </a:cubicBezTo>
                <a:cubicBezTo>
                  <a:pt x="359" y="86"/>
                  <a:pt x="349" y="90"/>
                  <a:pt x="341" y="98"/>
                </a:cubicBezTo>
                <a:cubicBezTo>
                  <a:pt x="333" y="107"/>
                  <a:pt x="329" y="119"/>
                  <a:pt x="328" y="133"/>
                </a:cubicBezTo>
                <a:close/>
                <a:moveTo>
                  <a:pt x="459" y="231"/>
                </a:moveTo>
                <a:lnTo>
                  <a:pt x="459" y="66"/>
                </a:lnTo>
                <a:lnTo>
                  <a:pt x="482" y="66"/>
                </a:lnTo>
                <a:lnTo>
                  <a:pt x="482" y="90"/>
                </a:lnTo>
                <a:cubicBezTo>
                  <a:pt x="494" y="72"/>
                  <a:pt x="510" y="63"/>
                  <a:pt x="531" y="63"/>
                </a:cubicBezTo>
                <a:cubicBezTo>
                  <a:pt x="540" y="63"/>
                  <a:pt x="549" y="65"/>
                  <a:pt x="557" y="68"/>
                </a:cubicBezTo>
                <a:cubicBezTo>
                  <a:pt x="564" y="72"/>
                  <a:pt x="570" y="76"/>
                  <a:pt x="574" y="82"/>
                </a:cubicBezTo>
                <a:cubicBezTo>
                  <a:pt x="578" y="88"/>
                  <a:pt x="581" y="95"/>
                  <a:pt x="582" y="103"/>
                </a:cubicBezTo>
                <a:cubicBezTo>
                  <a:pt x="583" y="108"/>
                  <a:pt x="584" y="117"/>
                  <a:pt x="584" y="130"/>
                </a:cubicBezTo>
                <a:lnTo>
                  <a:pt x="584" y="231"/>
                </a:lnTo>
                <a:lnTo>
                  <a:pt x="558" y="231"/>
                </a:lnTo>
                <a:lnTo>
                  <a:pt x="558" y="131"/>
                </a:lnTo>
                <a:cubicBezTo>
                  <a:pt x="558" y="120"/>
                  <a:pt x="557" y="111"/>
                  <a:pt x="554" y="105"/>
                </a:cubicBezTo>
                <a:cubicBezTo>
                  <a:pt x="552" y="100"/>
                  <a:pt x="549" y="95"/>
                  <a:pt x="544" y="92"/>
                </a:cubicBezTo>
                <a:cubicBezTo>
                  <a:pt x="539" y="89"/>
                  <a:pt x="533" y="87"/>
                  <a:pt x="526" y="87"/>
                </a:cubicBezTo>
                <a:cubicBezTo>
                  <a:pt x="515" y="87"/>
                  <a:pt x="505" y="91"/>
                  <a:pt x="497" y="98"/>
                </a:cubicBezTo>
                <a:cubicBezTo>
                  <a:pt x="489" y="106"/>
                  <a:pt x="485" y="120"/>
                  <a:pt x="485" y="141"/>
                </a:cubicBezTo>
                <a:lnTo>
                  <a:pt x="485" y="231"/>
                </a:lnTo>
                <a:lnTo>
                  <a:pt x="459" y="231"/>
                </a:lnTo>
                <a:close/>
                <a:moveTo>
                  <a:pt x="666" y="206"/>
                </a:moveTo>
                <a:lnTo>
                  <a:pt x="670" y="231"/>
                </a:lnTo>
                <a:cubicBezTo>
                  <a:pt x="662" y="232"/>
                  <a:pt x="656" y="233"/>
                  <a:pt x="650" y="233"/>
                </a:cubicBezTo>
                <a:cubicBezTo>
                  <a:pt x="641" y="233"/>
                  <a:pt x="634" y="232"/>
                  <a:pt x="628" y="228"/>
                </a:cubicBezTo>
                <a:cubicBezTo>
                  <a:pt x="623" y="225"/>
                  <a:pt x="619" y="221"/>
                  <a:pt x="617" y="216"/>
                </a:cubicBezTo>
                <a:cubicBezTo>
                  <a:pt x="615" y="211"/>
                  <a:pt x="614" y="200"/>
                  <a:pt x="614" y="183"/>
                </a:cubicBezTo>
                <a:lnTo>
                  <a:pt x="614" y="88"/>
                </a:lnTo>
                <a:lnTo>
                  <a:pt x="595" y="88"/>
                </a:lnTo>
                <a:lnTo>
                  <a:pt x="595" y="66"/>
                </a:lnTo>
                <a:lnTo>
                  <a:pt x="614" y="66"/>
                </a:lnTo>
                <a:lnTo>
                  <a:pt x="614" y="26"/>
                </a:lnTo>
                <a:lnTo>
                  <a:pt x="640" y="9"/>
                </a:lnTo>
                <a:lnTo>
                  <a:pt x="640" y="66"/>
                </a:lnTo>
                <a:lnTo>
                  <a:pt x="666" y="66"/>
                </a:lnTo>
                <a:lnTo>
                  <a:pt x="666" y="88"/>
                </a:lnTo>
                <a:lnTo>
                  <a:pt x="640" y="88"/>
                </a:lnTo>
                <a:lnTo>
                  <a:pt x="640" y="184"/>
                </a:lnTo>
                <a:cubicBezTo>
                  <a:pt x="640" y="192"/>
                  <a:pt x="641" y="197"/>
                  <a:pt x="642" y="200"/>
                </a:cubicBezTo>
                <a:cubicBezTo>
                  <a:pt x="642" y="202"/>
                  <a:pt x="644" y="204"/>
                  <a:pt x="646" y="205"/>
                </a:cubicBezTo>
                <a:cubicBezTo>
                  <a:pt x="648" y="207"/>
                  <a:pt x="651" y="207"/>
                  <a:pt x="655" y="207"/>
                </a:cubicBezTo>
                <a:cubicBezTo>
                  <a:pt x="658" y="207"/>
                  <a:pt x="662" y="207"/>
                  <a:pt x="666" y="206"/>
                </a:cubicBezTo>
                <a:close/>
                <a:moveTo>
                  <a:pt x="810" y="231"/>
                </a:moveTo>
                <a:lnTo>
                  <a:pt x="728" y="4"/>
                </a:lnTo>
                <a:lnTo>
                  <a:pt x="759" y="4"/>
                </a:lnTo>
                <a:lnTo>
                  <a:pt x="814" y="169"/>
                </a:lnTo>
                <a:cubicBezTo>
                  <a:pt x="818" y="182"/>
                  <a:pt x="822" y="195"/>
                  <a:pt x="825" y="206"/>
                </a:cubicBezTo>
                <a:cubicBezTo>
                  <a:pt x="828" y="194"/>
                  <a:pt x="832" y="181"/>
                  <a:pt x="836" y="169"/>
                </a:cubicBezTo>
                <a:lnTo>
                  <a:pt x="893" y="4"/>
                </a:lnTo>
                <a:lnTo>
                  <a:pt x="922" y="4"/>
                </a:lnTo>
                <a:lnTo>
                  <a:pt x="839" y="231"/>
                </a:lnTo>
                <a:lnTo>
                  <a:pt x="810" y="231"/>
                </a:lnTo>
                <a:close/>
                <a:moveTo>
                  <a:pt x="1020" y="210"/>
                </a:moveTo>
                <a:cubicBezTo>
                  <a:pt x="1010" y="219"/>
                  <a:pt x="1001" y="225"/>
                  <a:pt x="992" y="229"/>
                </a:cubicBezTo>
                <a:cubicBezTo>
                  <a:pt x="983" y="233"/>
                  <a:pt x="974" y="235"/>
                  <a:pt x="963" y="235"/>
                </a:cubicBezTo>
                <a:cubicBezTo>
                  <a:pt x="947" y="235"/>
                  <a:pt x="934" y="230"/>
                  <a:pt x="924" y="221"/>
                </a:cubicBezTo>
                <a:cubicBezTo>
                  <a:pt x="915" y="213"/>
                  <a:pt x="911" y="201"/>
                  <a:pt x="911" y="188"/>
                </a:cubicBezTo>
                <a:cubicBezTo>
                  <a:pt x="911" y="180"/>
                  <a:pt x="913" y="172"/>
                  <a:pt x="916" y="165"/>
                </a:cubicBezTo>
                <a:cubicBezTo>
                  <a:pt x="919" y="159"/>
                  <a:pt x="924" y="154"/>
                  <a:pt x="929" y="150"/>
                </a:cubicBezTo>
                <a:cubicBezTo>
                  <a:pt x="935" y="145"/>
                  <a:pt x="941" y="142"/>
                  <a:pt x="948" y="140"/>
                </a:cubicBezTo>
                <a:cubicBezTo>
                  <a:pt x="953" y="139"/>
                  <a:pt x="961" y="138"/>
                  <a:pt x="971" y="136"/>
                </a:cubicBezTo>
                <a:cubicBezTo>
                  <a:pt x="992" y="134"/>
                  <a:pt x="1008" y="130"/>
                  <a:pt x="1018" y="127"/>
                </a:cubicBezTo>
                <a:cubicBezTo>
                  <a:pt x="1018" y="123"/>
                  <a:pt x="1018" y="120"/>
                  <a:pt x="1018" y="119"/>
                </a:cubicBezTo>
                <a:cubicBezTo>
                  <a:pt x="1018" y="108"/>
                  <a:pt x="1015" y="100"/>
                  <a:pt x="1011" y="95"/>
                </a:cubicBezTo>
                <a:cubicBezTo>
                  <a:pt x="1004" y="89"/>
                  <a:pt x="994" y="86"/>
                  <a:pt x="981" y="86"/>
                </a:cubicBezTo>
                <a:cubicBezTo>
                  <a:pt x="969" y="86"/>
                  <a:pt x="960" y="88"/>
                  <a:pt x="954" y="93"/>
                </a:cubicBezTo>
                <a:cubicBezTo>
                  <a:pt x="948" y="97"/>
                  <a:pt x="944" y="106"/>
                  <a:pt x="941" y="117"/>
                </a:cubicBezTo>
                <a:lnTo>
                  <a:pt x="915" y="114"/>
                </a:lnTo>
                <a:cubicBezTo>
                  <a:pt x="918" y="102"/>
                  <a:pt x="921" y="92"/>
                  <a:pt x="927" y="85"/>
                </a:cubicBezTo>
                <a:cubicBezTo>
                  <a:pt x="932" y="78"/>
                  <a:pt x="940" y="73"/>
                  <a:pt x="950" y="69"/>
                </a:cubicBezTo>
                <a:cubicBezTo>
                  <a:pt x="960" y="65"/>
                  <a:pt x="972" y="63"/>
                  <a:pt x="985" y="63"/>
                </a:cubicBezTo>
                <a:cubicBezTo>
                  <a:pt x="998" y="63"/>
                  <a:pt x="1009" y="64"/>
                  <a:pt x="1017" y="68"/>
                </a:cubicBezTo>
                <a:cubicBezTo>
                  <a:pt x="1025" y="71"/>
                  <a:pt x="1031" y="75"/>
                  <a:pt x="1035" y="80"/>
                </a:cubicBezTo>
                <a:cubicBezTo>
                  <a:pt x="1039" y="85"/>
                  <a:pt x="1041" y="92"/>
                  <a:pt x="1043" y="99"/>
                </a:cubicBezTo>
                <a:cubicBezTo>
                  <a:pt x="1044" y="104"/>
                  <a:pt x="1044" y="113"/>
                  <a:pt x="1044" y="125"/>
                </a:cubicBezTo>
                <a:lnTo>
                  <a:pt x="1044" y="162"/>
                </a:lnTo>
                <a:cubicBezTo>
                  <a:pt x="1044" y="188"/>
                  <a:pt x="1045" y="204"/>
                  <a:pt x="1046" y="211"/>
                </a:cubicBezTo>
                <a:cubicBezTo>
                  <a:pt x="1047" y="218"/>
                  <a:pt x="1049" y="225"/>
                  <a:pt x="1052" y="231"/>
                </a:cubicBezTo>
                <a:lnTo>
                  <a:pt x="1025" y="231"/>
                </a:lnTo>
                <a:cubicBezTo>
                  <a:pt x="1022" y="225"/>
                  <a:pt x="1021" y="218"/>
                  <a:pt x="1020" y="210"/>
                </a:cubicBezTo>
                <a:close/>
                <a:moveTo>
                  <a:pt x="1018" y="148"/>
                </a:moveTo>
                <a:cubicBezTo>
                  <a:pt x="1008" y="153"/>
                  <a:pt x="994" y="156"/>
                  <a:pt x="975" y="159"/>
                </a:cubicBezTo>
                <a:cubicBezTo>
                  <a:pt x="965" y="161"/>
                  <a:pt x="957" y="162"/>
                  <a:pt x="953" y="165"/>
                </a:cubicBezTo>
                <a:cubicBezTo>
                  <a:pt x="948" y="167"/>
                  <a:pt x="945" y="170"/>
                  <a:pt x="942" y="174"/>
                </a:cubicBezTo>
                <a:cubicBezTo>
                  <a:pt x="940" y="177"/>
                  <a:pt x="939" y="182"/>
                  <a:pt x="939" y="187"/>
                </a:cubicBezTo>
                <a:cubicBezTo>
                  <a:pt x="939" y="194"/>
                  <a:pt x="941" y="200"/>
                  <a:pt x="947" y="205"/>
                </a:cubicBezTo>
                <a:cubicBezTo>
                  <a:pt x="952" y="210"/>
                  <a:pt x="960" y="213"/>
                  <a:pt x="970" y="213"/>
                </a:cubicBezTo>
                <a:cubicBezTo>
                  <a:pt x="980" y="213"/>
                  <a:pt x="989" y="210"/>
                  <a:pt x="996" y="206"/>
                </a:cubicBezTo>
                <a:cubicBezTo>
                  <a:pt x="1004" y="201"/>
                  <a:pt x="1010" y="195"/>
                  <a:pt x="1014" y="186"/>
                </a:cubicBezTo>
                <a:cubicBezTo>
                  <a:pt x="1016" y="180"/>
                  <a:pt x="1018" y="171"/>
                  <a:pt x="1018" y="159"/>
                </a:cubicBezTo>
                <a:lnTo>
                  <a:pt x="1018" y="148"/>
                </a:lnTo>
                <a:close/>
                <a:moveTo>
                  <a:pt x="1070" y="231"/>
                </a:moveTo>
                <a:lnTo>
                  <a:pt x="1070" y="4"/>
                </a:lnTo>
                <a:lnTo>
                  <a:pt x="1096" y="4"/>
                </a:lnTo>
                <a:lnTo>
                  <a:pt x="1096" y="231"/>
                </a:lnTo>
                <a:lnTo>
                  <a:pt x="1070" y="231"/>
                </a:lnTo>
                <a:close/>
                <a:moveTo>
                  <a:pt x="1223" y="231"/>
                </a:moveTo>
                <a:lnTo>
                  <a:pt x="1223" y="207"/>
                </a:lnTo>
                <a:cubicBezTo>
                  <a:pt x="1211" y="225"/>
                  <a:pt x="1195" y="235"/>
                  <a:pt x="1174" y="235"/>
                </a:cubicBezTo>
                <a:cubicBezTo>
                  <a:pt x="1165" y="235"/>
                  <a:pt x="1157" y="233"/>
                  <a:pt x="1149" y="229"/>
                </a:cubicBezTo>
                <a:cubicBezTo>
                  <a:pt x="1141" y="225"/>
                  <a:pt x="1135" y="221"/>
                  <a:pt x="1131" y="215"/>
                </a:cubicBezTo>
                <a:cubicBezTo>
                  <a:pt x="1128" y="209"/>
                  <a:pt x="1125" y="202"/>
                  <a:pt x="1123" y="194"/>
                </a:cubicBezTo>
                <a:cubicBezTo>
                  <a:pt x="1122" y="189"/>
                  <a:pt x="1122" y="180"/>
                  <a:pt x="1122" y="168"/>
                </a:cubicBezTo>
                <a:lnTo>
                  <a:pt x="1122" y="66"/>
                </a:lnTo>
                <a:lnTo>
                  <a:pt x="1148" y="66"/>
                </a:lnTo>
                <a:lnTo>
                  <a:pt x="1148" y="157"/>
                </a:lnTo>
                <a:cubicBezTo>
                  <a:pt x="1148" y="172"/>
                  <a:pt x="1148" y="182"/>
                  <a:pt x="1149" y="187"/>
                </a:cubicBezTo>
                <a:cubicBezTo>
                  <a:pt x="1151" y="194"/>
                  <a:pt x="1155" y="200"/>
                  <a:pt x="1160" y="204"/>
                </a:cubicBezTo>
                <a:cubicBezTo>
                  <a:pt x="1165" y="208"/>
                  <a:pt x="1172" y="210"/>
                  <a:pt x="1179" y="210"/>
                </a:cubicBezTo>
                <a:cubicBezTo>
                  <a:pt x="1187" y="210"/>
                  <a:pt x="1195" y="208"/>
                  <a:pt x="1201" y="204"/>
                </a:cubicBezTo>
                <a:cubicBezTo>
                  <a:pt x="1208" y="200"/>
                  <a:pt x="1213" y="194"/>
                  <a:pt x="1216" y="186"/>
                </a:cubicBezTo>
                <a:cubicBezTo>
                  <a:pt x="1219" y="179"/>
                  <a:pt x="1220" y="168"/>
                  <a:pt x="1220" y="154"/>
                </a:cubicBezTo>
                <a:lnTo>
                  <a:pt x="1220" y="66"/>
                </a:lnTo>
                <a:lnTo>
                  <a:pt x="1246" y="66"/>
                </a:lnTo>
                <a:lnTo>
                  <a:pt x="1246" y="231"/>
                </a:lnTo>
                <a:lnTo>
                  <a:pt x="1223" y="231"/>
                </a:lnTo>
                <a:close/>
                <a:moveTo>
                  <a:pt x="1378" y="178"/>
                </a:moveTo>
                <a:lnTo>
                  <a:pt x="1405" y="182"/>
                </a:lnTo>
                <a:cubicBezTo>
                  <a:pt x="1401" y="198"/>
                  <a:pt x="1393" y="211"/>
                  <a:pt x="1381" y="221"/>
                </a:cubicBezTo>
                <a:cubicBezTo>
                  <a:pt x="1370" y="230"/>
                  <a:pt x="1355" y="235"/>
                  <a:pt x="1337" y="235"/>
                </a:cubicBezTo>
                <a:cubicBezTo>
                  <a:pt x="1315" y="235"/>
                  <a:pt x="1297" y="227"/>
                  <a:pt x="1284" y="212"/>
                </a:cubicBezTo>
                <a:cubicBezTo>
                  <a:pt x="1271" y="198"/>
                  <a:pt x="1265" y="177"/>
                  <a:pt x="1265" y="150"/>
                </a:cubicBezTo>
                <a:cubicBezTo>
                  <a:pt x="1265" y="122"/>
                  <a:pt x="1271" y="101"/>
                  <a:pt x="1284" y="86"/>
                </a:cubicBezTo>
                <a:cubicBezTo>
                  <a:pt x="1298" y="70"/>
                  <a:pt x="1315" y="63"/>
                  <a:pt x="1336" y="63"/>
                </a:cubicBezTo>
                <a:cubicBezTo>
                  <a:pt x="1357" y="63"/>
                  <a:pt x="1373" y="70"/>
                  <a:pt x="1386" y="85"/>
                </a:cubicBezTo>
                <a:cubicBezTo>
                  <a:pt x="1399" y="100"/>
                  <a:pt x="1406" y="121"/>
                  <a:pt x="1406" y="148"/>
                </a:cubicBezTo>
                <a:cubicBezTo>
                  <a:pt x="1406" y="150"/>
                  <a:pt x="1406" y="153"/>
                  <a:pt x="1406" y="156"/>
                </a:cubicBezTo>
                <a:lnTo>
                  <a:pt x="1291" y="156"/>
                </a:lnTo>
                <a:cubicBezTo>
                  <a:pt x="1292" y="174"/>
                  <a:pt x="1297" y="188"/>
                  <a:pt x="1306" y="197"/>
                </a:cubicBezTo>
                <a:cubicBezTo>
                  <a:pt x="1314" y="207"/>
                  <a:pt x="1325" y="212"/>
                  <a:pt x="1337" y="212"/>
                </a:cubicBezTo>
                <a:cubicBezTo>
                  <a:pt x="1347" y="212"/>
                  <a:pt x="1355" y="209"/>
                  <a:pt x="1362" y="204"/>
                </a:cubicBezTo>
                <a:cubicBezTo>
                  <a:pt x="1369" y="198"/>
                  <a:pt x="1374" y="190"/>
                  <a:pt x="1378" y="178"/>
                </a:cubicBezTo>
                <a:close/>
                <a:moveTo>
                  <a:pt x="1293" y="133"/>
                </a:moveTo>
                <a:lnTo>
                  <a:pt x="1378" y="133"/>
                </a:lnTo>
                <a:cubicBezTo>
                  <a:pt x="1377" y="119"/>
                  <a:pt x="1374" y="109"/>
                  <a:pt x="1368" y="102"/>
                </a:cubicBezTo>
                <a:cubicBezTo>
                  <a:pt x="1360" y="91"/>
                  <a:pt x="1349" y="86"/>
                  <a:pt x="1336" y="86"/>
                </a:cubicBezTo>
                <a:cubicBezTo>
                  <a:pt x="1324" y="86"/>
                  <a:pt x="1314" y="90"/>
                  <a:pt x="1306" y="98"/>
                </a:cubicBezTo>
                <a:cubicBezTo>
                  <a:pt x="1298" y="107"/>
                  <a:pt x="1294" y="119"/>
                  <a:pt x="1293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9" name="Freeform 79">
            <a:extLst>
              <a:ext uri="{FF2B5EF4-FFF2-40B4-BE49-F238E27FC236}">
                <a16:creationId xmlns:a16="http://schemas.microsoft.com/office/drawing/2014/main" id="{4ED61C25-18A3-4C5C-9F08-122CEF42FFE2}"/>
              </a:ext>
            </a:extLst>
          </p:cNvPr>
          <p:cNvSpPr>
            <a:spLocks noEditPoints="1"/>
          </p:cNvSpPr>
          <p:nvPr/>
        </p:nvSpPr>
        <p:spPr bwMode="auto">
          <a:xfrm>
            <a:off x="2798763" y="4048126"/>
            <a:ext cx="350838" cy="198438"/>
          </a:xfrm>
          <a:custGeom>
            <a:avLst/>
            <a:gdLst>
              <a:gd name="T0" fmla="*/ 308 w 975"/>
              <a:gd name="T1" fmla="*/ 199 h 552"/>
              <a:gd name="T2" fmla="*/ 125 w 975"/>
              <a:gd name="T3" fmla="*/ 179 h 552"/>
              <a:gd name="T4" fmla="*/ 218 w 975"/>
              <a:gd name="T5" fmla="*/ 0 h 552"/>
              <a:gd name="T6" fmla="*/ 280 w 975"/>
              <a:gd name="T7" fmla="*/ 75 h 552"/>
              <a:gd name="T8" fmla="*/ 185 w 975"/>
              <a:gd name="T9" fmla="*/ 32 h 552"/>
              <a:gd name="T10" fmla="*/ 151 w 975"/>
              <a:gd name="T11" fmla="*/ 168 h 552"/>
              <a:gd name="T12" fmla="*/ 281 w 975"/>
              <a:gd name="T13" fmla="*/ 184 h 552"/>
              <a:gd name="T14" fmla="*/ 0 w 975"/>
              <a:gd name="T15" fmla="*/ 321 h 552"/>
              <a:gd name="T16" fmla="*/ 166 w 975"/>
              <a:gd name="T17" fmla="*/ 321 h 552"/>
              <a:gd name="T18" fmla="*/ 26 w 975"/>
              <a:gd name="T19" fmla="*/ 548 h 552"/>
              <a:gd name="T20" fmla="*/ 305 w 975"/>
              <a:gd name="T21" fmla="*/ 538 h 552"/>
              <a:gd name="T22" fmla="*/ 208 w 975"/>
              <a:gd name="T23" fmla="*/ 403 h 552"/>
              <a:gd name="T24" fmla="*/ 329 w 975"/>
              <a:gd name="T25" fmla="*/ 473 h 552"/>
              <a:gd name="T26" fmla="*/ 285 w 975"/>
              <a:gd name="T27" fmla="*/ 521 h 552"/>
              <a:gd name="T28" fmla="*/ 292 w 975"/>
              <a:gd name="T29" fmla="*/ 419 h 552"/>
              <a:gd name="T30" fmla="*/ 404 w 975"/>
              <a:gd name="T31" fmla="*/ 523 h 552"/>
              <a:gd name="T32" fmla="*/ 355 w 975"/>
              <a:gd name="T33" fmla="*/ 533 h 552"/>
              <a:gd name="T34" fmla="*/ 332 w 975"/>
              <a:gd name="T35" fmla="*/ 384 h 552"/>
              <a:gd name="T36" fmla="*/ 378 w 975"/>
              <a:gd name="T37" fmla="*/ 384 h 552"/>
              <a:gd name="T38" fmla="*/ 378 w 975"/>
              <a:gd name="T39" fmla="*/ 502 h 552"/>
              <a:gd name="T40" fmla="*/ 404 w 975"/>
              <a:gd name="T41" fmla="*/ 523 h 552"/>
              <a:gd name="T42" fmla="*/ 449 w 975"/>
              <a:gd name="T43" fmla="*/ 479 h 552"/>
              <a:gd name="T44" fmla="*/ 516 w 975"/>
              <a:gd name="T45" fmla="*/ 384 h 552"/>
              <a:gd name="T46" fmla="*/ 582 w 975"/>
              <a:gd name="T47" fmla="*/ 384 h 552"/>
              <a:gd name="T48" fmla="*/ 508 w 975"/>
              <a:gd name="T49" fmla="*/ 450 h 552"/>
              <a:gd name="T50" fmla="*/ 603 w 975"/>
              <a:gd name="T51" fmla="*/ 466 h 552"/>
              <a:gd name="T52" fmla="*/ 746 w 975"/>
              <a:gd name="T53" fmla="*/ 464 h 552"/>
              <a:gd name="T54" fmla="*/ 623 w 975"/>
              <a:gd name="T55" fmla="*/ 530 h 552"/>
              <a:gd name="T56" fmla="*/ 675 w 975"/>
              <a:gd name="T57" fmla="*/ 529 h 552"/>
              <a:gd name="T58" fmla="*/ 675 w 975"/>
              <a:gd name="T59" fmla="*/ 403 h 552"/>
              <a:gd name="T60" fmla="*/ 763 w 975"/>
              <a:gd name="T61" fmla="*/ 384 h 552"/>
              <a:gd name="T62" fmla="*/ 820 w 975"/>
              <a:gd name="T63" fmla="*/ 380 h 552"/>
              <a:gd name="T64" fmla="*/ 803 w 975"/>
              <a:gd name="T65" fmla="*/ 414 h 552"/>
              <a:gd name="T66" fmla="*/ 763 w 975"/>
              <a:gd name="T67" fmla="*/ 548 h 552"/>
              <a:gd name="T68" fmla="*/ 874 w 975"/>
              <a:gd name="T69" fmla="*/ 450 h 552"/>
              <a:gd name="T70" fmla="*/ 975 w 975"/>
              <a:gd name="T71" fmla="*/ 548 h 552"/>
              <a:gd name="T72" fmla="*/ 874 w 975"/>
              <a:gd name="T73" fmla="*/ 548 h 552"/>
              <a:gd name="T74" fmla="*/ 358 w 975"/>
              <a:gd name="T75" fmla="*/ 3 h 552"/>
              <a:gd name="T76" fmla="*/ 398 w 975"/>
              <a:gd name="T77" fmla="*/ 81 h 552"/>
              <a:gd name="T78" fmla="*/ 510 w 975"/>
              <a:gd name="T79" fmla="*/ 196 h 552"/>
              <a:gd name="T80" fmla="*/ 375 w 975"/>
              <a:gd name="T81" fmla="*/ 148 h 552"/>
              <a:gd name="T82" fmla="*/ 479 w 975"/>
              <a:gd name="T83" fmla="*/ 196 h 552"/>
              <a:gd name="T84" fmla="*/ 414 w 975"/>
              <a:gd name="T85" fmla="*/ 101 h 552"/>
              <a:gd name="T86" fmla="*/ 535 w 975"/>
              <a:gd name="T87" fmla="*/ 3 h 552"/>
              <a:gd name="T88" fmla="*/ 630 w 975"/>
              <a:gd name="T89" fmla="*/ 69 h 552"/>
              <a:gd name="T90" fmla="*/ 649 w 975"/>
              <a:gd name="T91" fmla="*/ 211 h 552"/>
              <a:gd name="T92" fmla="*/ 559 w 975"/>
              <a:gd name="T93" fmla="*/ 147 h 552"/>
              <a:gd name="T94" fmla="*/ 641 w 975"/>
              <a:gd name="T95" fmla="*/ 148 h 552"/>
              <a:gd name="T96" fmla="*/ 559 w 975"/>
              <a:gd name="T97" fmla="*/ 147 h 552"/>
              <a:gd name="T98" fmla="*/ 691 w 975"/>
              <a:gd name="T99" fmla="*/ 221 h 552"/>
              <a:gd name="T100" fmla="*/ 714 w 975"/>
              <a:gd name="T101" fmla="*/ 140 h 552"/>
              <a:gd name="T102" fmla="*/ 777 w 975"/>
              <a:gd name="T103" fmla="*/ 95 h 552"/>
              <a:gd name="T104" fmla="*/ 682 w 975"/>
              <a:gd name="T105" fmla="*/ 113 h 552"/>
              <a:gd name="T106" fmla="*/ 783 w 975"/>
              <a:gd name="T107" fmla="*/ 67 h 552"/>
              <a:gd name="T108" fmla="*/ 811 w 975"/>
              <a:gd name="T109" fmla="*/ 162 h 552"/>
              <a:gd name="T110" fmla="*/ 786 w 975"/>
              <a:gd name="T111" fmla="*/ 210 h 552"/>
              <a:gd name="T112" fmla="*/ 709 w 975"/>
              <a:gd name="T113" fmla="*/ 173 h 552"/>
              <a:gd name="T114" fmla="*/ 763 w 975"/>
              <a:gd name="T115" fmla="*/ 205 h 552"/>
              <a:gd name="T116" fmla="*/ 836 w 975"/>
              <a:gd name="T117" fmla="*/ 231 h 552"/>
              <a:gd name="T118" fmla="*/ 836 w 975"/>
              <a:gd name="T119" fmla="*/ 231 h 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75" h="552">
                <a:moveTo>
                  <a:pt x="219" y="142"/>
                </a:moveTo>
                <a:lnTo>
                  <a:pt x="219" y="115"/>
                </a:lnTo>
                <a:lnTo>
                  <a:pt x="308" y="115"/>
                </a:lnTo>
                <a:lnTo>
                  <a:pt x="308" y="199"/>
                </a:lnTo>
                <a:cubicBezTo>
                  <a:pt x="295" y="211"/>
                  <a:pt x="280" y="220"/>
                  <a:pt x="266" y="226"/>
                </a:cubicBezTo>
                <a:cubicBezTo>
                  <a:pt x="251" y="232"/>
                  <a:pt x="236" y="235"/>
                  <a:pt x="221" y="235"/>
                </a:cubicBezTo>
                <a:cubicBezTo>
                  <a:pt x="200" y="235"/>
                  <a:pt x="181" y="230"/>
                  <a:pt x="164" y="220"/>
                </a:cubicBezTo>
                <a:cubicBezTo>
                  <a:pt x="147" y="211"/>
                  <a:pt x="134" y="197"/>
                  <a:pt x="125" y="179"/>
                </a:cubicBezTo>
                <a:cubicBezTo>
                  <a:pt x="117" y="161"/>
                  <a:pt x="112" y="141"/>
                  <a:pt x="112" y="118"/>
                </a:cubicBezTo>
                <a:cubicBezTo>
                  <a:pt x="112" y="96"/>
                  <a:pt x="117" y="75"/>
                  <a:pt x="125" y="56"/>
                </a:cubicBezTo>
                <a:cubicBezTo>
                  <a:pt x="134" y="37"/>
                  <a:pt x="146" y="23"/>
                  <a:pt x="163" y="14"/>
                </a:cubicBezTo>
                <a:cubicBezTo>
                  <a:pt x="179" y="4"/>
                  <a:pt x="197" y="0"/>
                  <a:pt x="218" y="0"/>
                </a:cubicBezTo>
                <a:cubicBezTo>
                  <a:pt x="234" y="0"/>
                  <a:pt x="248" y="2"/>
                  <a:pt x="260" y="8"/>
                </a:cubicBezTo>
                <a:cubicBezTo>
                  <a:pt x="272" y="13"/>
                  <a:pt x="282" y="20"/>
                  <a:pt x="289" y="30"/>
                </a:cubicBezTo>
                <a:cubicBezTo>
                  <a:pt x="296" y="39"/>
                  <a:pt x="301" y="52"/>
                  <a:pt x="305" y="67"/>
                </a:cubicBezTo>
                <a:lnTo>
                  <a:pt x="280" y="75"/>
                </a:lnTo>
                <a:cubicBezTo>
                  <a:pt x="277" y="63"/>
                  <a:pt x="273" y="54"/>
                  <a:pt x="268" y="47"/>
                </a:cubicBezTo>
                <a:cubicBezTo>
                  <a:pt x="263" y="41"/>
                  <a:pt x="257" y="35"/>
                  <a:pt x="248" y="31"/>
                </a:cubicBezTo>
                <a:cubicBezTo>
                  <a:pt x="239" y="27"/>
                  <a:pt x="229" y="25"/>
                  <a:pt x="219" y="25"/>
                </a:cubicBezTo>
                <a:cubicBezTo>
                  <a:pt x="206" y="25"/>
                  <a:pt x="195" y="27"/>
                  <a:pt x="185" y="32"/>
                </a:cubicBezTo>
                <a:cubicBezTo>
                  <a:pt x="176" y="36"/>
                  <a:pt x="169" y="41"/>
                  <a:pt x="163" y="48"/>
                </a:cubicBezTo>
                <a:cubicBezTo>
                  <a:pt x="157" y="55"/>
                  <a:pt x="153" y="63"/>
                  <a:pt x="150" y="71"/>
                </a:cubicBezTo>
                <a:cubicBezTo>
                  <a:pt x="144" y="85"/>
                  <a:pt x="141" y="100"/>
                  <a:pt x="141" y="117"/>
                </a:cubicBezTo>
                <a:cubicBezTo>
                  <a:pt x="141" y="137"/>
                  <a:pt x="145" y="154"/>
                  <a:pt x="151" y="168"/>
                </a:cubicBezTo>
                <a:cubicBezTo>
                  <a:pt x="158" y="181"/>
                  <a:pt x="167" y="191"/>
                  <a:pt x="179" y="198"/>
                </a:cubicBezTo>
                <a:cubicBezTo>
                  <a:pt x="192" y="205"/>
                  <a:pt x="205" y="208"/>
                  <a:pt x="219" y="208"/>
                </a:cubicBezTo>
                <a:cubicBezTo>
                  <a:pt x="231" y="208"/>
                  <a:pt x="243" y="205"/>
                  <a:pt x="255" y="200"/>
                </a:cubicBezTo>
                <a:cubicBezTo>
                  <a:pt x="266" y="195"/>
                  <a:pt x="275" y="190"/>
                  <a:pt x="281" y="184"/>
                </a:cubicBezTo>
                <a:lnTo>
                  <a:pt x="281" y="142"/>
                </a:lnTo>
                <a:lnTo>
                  <a:pt x="219" y="142"/>
                </a:lnTo>
                <a:close/>
                <a:moveTo>
                  <a:pt x="0" y="548"/>
                </a:moveTo>
                <a:lnTo>
                  <a:pt x="0" y="321"/>
                </a:lnTo>
                <a:lnTo>
                  <a:pt x="28" y="321"/>
                </a:lnTo>
                <a:lnTo>
                  <a:pt x="139" y="499"/>
                </a:lnTo>
                <a:lnTo>
                  <a:pt x="139" y="321"/>
                </a:lnTo>
                <a:lnTo>
                  <a:pt x="166" y="321"/>
                </a:lnTo>
                <a:lnTo>
                  <a:pt x="166" y="548"/>
                </a:lnTo>
                <a:lnTo>
                  <a:pt x="138" y="548"/>
                </a:lnTo>
                <a:lnTo>
                  <a:pt x="26" y="370"/>
                </a:lnTo>
                <a:lnTo>
                  <a:pt x="26" y="548"/>
                </a:lnTo>
                <a:lnTo>
                  <a:pt x="0" y="548"/>
                </a:lnTo>
                <a:close/>
                <a:moveTo>
                  <a:pt x="301" y="495"/>
                </a:moveTo>
                <a:lnTo>
                  <a:pt x="328" y="499"/>
                </a:lnTo>
                <a:cubicBezTo>
                  <a:pt x="324" y="516"/>
                  <a:pt x="316" y="529"/>
                  <a:pt x="305" y="538"/>
                </a:cubicBezTo>
                <a:cubicBezTo>
                  <a:pt x="293" y="547"/>
                  <a:pt x="279" y="552"/>
                  <a:pt x="261" y="552"/>
                </a:cubicBezTo>
                <a:cubicBezTo>
                  <a:pt x="238" y="552"/>
                  <a:pt x="221" y="544"/>
                  <a:pt x="208" y="530"/>
                </a:cubicBezTo>
                <a:cubicBezTo>
                  <a:pt x="194" y="515"/>
                  <a:pt x="188" y="494"/>
                  <a:pt x="188" y="467"/>
                </a:cubicBezTo>
                <a:cubicBezTo>
                  <a:pt x="188" y="440"/>
                  <a:pt x="194" y="418"/>
                  <a:pt x="208" y="403"/>
                </a:cubicBezTo>
                <a:cubicBezTo>
                  <a:pt x="221" y="388"/>
                  <a:pt x="238" y="380"/>
                  <a:pt x="259" y="380"/>
                </a:cubicBezTo>
                <a:cubicBezTo>
                  <a:pt x="280" y="380"/>
                  <a:pt x="297" y="387"/>
                  <a:pt x="309" y="402"/>
                </a:cubicBezTo>
                <a:cubicBezTo>
                  <a:pt x="322" y="417"/>
                  <a:pt x="329" y="438"/>
                  <a:pt x="329" y="466"/>
                </a:cubicBezTo>
                <a:cubicBezTo>
                  <a:pt x="329" y="467"/>
                  <a:pt x="329" y="470"/>
                  <a:pt x="329" y="473"/>
                </a:cubicBezTo>
                <a:lnTo>
                  <a:pt x="214" y="473"/>
                </a:lnTo>
                <a:cubicBezTo>
                  <a:pt x="215" y="491"/>
                  <a:pt x="220" y="505"/>
                  <a:pt x="229" y="515"/>
                </a:cubicBezTo>
                <a:cubicBezTo>
                  <a:pt x="237" y="524"/>
                  <a:pt x="248" y="529"/>
                  <a:pt x="261" y="529"/>
                </a:cubicBezTo>
                <a:cubicBezTo>
                  <a:pt x="270" y="529"/>
                  <a:pt x="278" y="526"/>
                  <a:pt x="285" y="521"/>
                </a:cubicBezTo>
                <a:cubicBezTo>
                  <a:pt x="292" y="515"/>
                  <a:pt x="297" y="507"/>
                  <a:pt x="301" y="495"/>
                </a:cubicBezTo>
                <a:close/>
                <a:moveTo>
                  <a:pt x="216" y="450"/>
                </a:moveTo>
                <a:lnTo>
                  <a:pt x="301" y="450"/>
                </a:lnTo>
                <a:cubicBezTo>
                  <a:pt x="300" y="436"/>
                  <a:pt x="297" y="426"/>
                  <a:pt x="292" y="419"/>
                </a:cubicBezTo>
                <a:cubicBezTo>
                  <a:pt x="283" y="408"/>
                  <a:pt x="273" y="403"/>
                  <a:pt x="259" y="403"/>
                </a:cubicBezTo>
                <a:cubicBezTo>
                  <a:pt x="248" y="403"/>
                  <a:pt x="238" y="407"/>
                  <a:pt x="229" y="416"/>
                </a:cubicBezTo>
                <a:cubicBezTo>
                  <a:pt x="221" y="424"/>
                  <a:pt x="217" y="436"/>
                  <a:pt x="216" y="450"/>
                </a:cubicBezTo>
                <a:close/>
                <a:moveTo>
                  <a:pt x="404" y="523"/>
                </a:moveTo>
                <a:lnTo>
                  <a:pt x="407" y="548"/>
                </a:lnTo>
                <a:cubicBezTo>
                  <a:pt x="400" y="550"/>
                  <a:pt x="393" y="551"/>
                  <a:pt x="388" y="551"/>
                </a:cubicBezTo>
                <a:cubicBezTo>
                  <a:pt x="378" y="551"/>
                  <a:pt x="371" y="549"/>
                  <a:pt x="366" y="546"/>
                </a:cubicBezTo>
                <a:cubicBezTo>
                  <a:pt x="361" y="542"/>
                  <a:pt x="357" y="538"/>
                  <a:pt x="355" y="533"/>
                </a:cubicBezTo>
                <a:cubicBezTo>
                  <a:pt x="353" y="528"/>
                  <a:pt x="352" y="517"/>
                  <a:pt x="352" y="500"/>
                </a:cubicBezTo>
                <a:lnTo>
                  <a:pt x="352" y="405"/>
                </a:lnTo>
                <a:lnTo>
                  <a:pt x="332" y="405"/>
                </a:lnTo>
                <a:lnTo>
                  <a:pt x="332" y="384"/>
                </a:lnTo>
                <a:lnTo>
                  <a:pt x="352" y="384"/>
                </a:lnTo>
                <a:lnTo>
                  <a:pt x="352" y="343"/>
                </a:lnTo>
                <a:lnTo>
                  <a:pt x="378" y="326"/>
                </a:lnTo>
                <a:lnTo>
                  <a:pt x="378" y="384"/>
                </a:lnTo>
                <a:lnTo>
                  <a:pt x="404" y="384"/>
                </a:lnTo>
                <a:lnTo>
                  <a:pt x="404" y="405"/>
                </a:lnTo>
                <a:lnTo>
                  <a:pt x="378" y="405"/>
                </a:lnTo>
                <a:lnTo>
                  <a:pt x="378" y="502"/>
                </a:lnTo>
                <a:cubicBezTo>
                  <a:pt x="378" y="510"/>
                  <a:pt x="378" y="515"/>
                  <a:pt x="379" y="517"/>
                </a:cubicBezTo>
                <a:cubicBezTo>
                  <a:pt x="380" y="519"/>
                  <a:pt x="381" y="521"/>
                  <a:pt x="383" y="522"/>
                </a:cubicBezTo>
                <a:cubicBezTo>
                  <a:pt x="386" y="524"/>
                  <a:pt x="388" y="524"/>
                  <a:pt x="392" y="524"/>
                </a:cubicBezTo>
                <a:cubicBezTo>
                  <a:pt x="395" y="524"/>
                  <a:pt x="399" y="524"/>
                  <a:pt x="404" y="523"/>
                </a:cubicBezTo>
                <a:close/>
                <a:moveTo>
                  <a:pt x="443" y="548"/>
                </a:moveTo>
                <a:lnTo>
                  <a:pt x="397" y="384"/>
                </a:lnTo>
                <a:lnTo>
                  <a:pt x="424" y="384"/>
                </a:lnTo>
                <a:lnTo>
                  <a:pt x="449" y="479"/>
                </a:lnTo>
                <a:lnTo>
                  <a:pt x="457" y="514"/>
                </a:lnTo>
                <a:cubicBezTo>
                  <a:pt x="458" y="512"/>
                  <a:pt x="460" y="501"/>
                  <a:pt x="465" y="480"/>
                </a:cubicBezTo>
                <a:lnTo>
                  <a:pt x="489" y="384"/>
                </a:lnTo>
                <a:lnTo>
                  <a:pt x="516" y="384"/>
                </a:lnTo>
                <a:lnTo>
                  <a:pt x="539" y="479"/>
                </a:lnTo>
                <a:lnTo>
                  <a:pt x="547" y="511"/>
                </a:lnTo>
                <a:lnTo>
                  <a:pt x="556" y="479"/>
                </a:lnTo>
                <a:lnTo>
                  <a:pt x="582" y="384"/>
                </a:lnTo>
                <a:lnTo>
                  <a:pt x="607" y="384"/>
                </a:lnTo>
                <a:lnTo>
                  <a:pt x="559" y="548"/>
                </a:lnTo>
                <a:lnTo>
                  <a:pt x="532" y="548"/>
                </a:lnTo>
                <a:lnTo>
                  <a:pt x="508" y="450"/>
                </a:lnTo>
                <a:lnTo>
                  <a:pt x="502" y="421"/>
                </a:lnTo>
                <a:lnTo>
                  <a:pt x="471" y="548"/>
                </a:lnTo>
                <a:lnTo>
                  <a:pt x="443" y="548"/>
                </a:lnTo>
                <a:close/>
                <a:moveTo>
                  <a:pt x="603" y="466"/>
                </a:moveTo>
                <a:cubicBezTo>
                  <a:pt x="603" y="435"/>
                  <a:pt x="611" y="413"/>
                  <a:pt x="626" y="398"/>
                </a:cubicBezTo>
                <a:cubicBezTo>
                  <a:pt x="640" y="386"/>
                  <a:pt x="656" y="380"/>
                  <a:pt x="675" y="380"/>
                </a:cubicBezTo>
                <a:cubicBezTo>
                  <a:pt x="696" y="380"/>
                  <a:pt x="713" y="387"/>
                  <a:pt x="726" y="402"/>
                </a:cubicBezTo>
                <a:cubicBezTo>
                  <a:pt x="740" y="417"/>
                  <a:pt x="746" y="437"/>
                  <a:pt x="746" y="464"/>
                </a:cubicBezTo>
                <a:cubicBezTo>
                  <a:pt x="746" y="485"/>
                  <a:pt x="743" y="501"/>
                  <a:pt x="738" y="513"/>
                </a:cubicBezTo>
                <a:cubicBezTo>
                  <a:pt x="732" y="526"/>
                  <a:pt x="723" y="535"/>
                  <a:pt x="712" y="542"/>
                </a:cubicBezTo>
                <a:cubicBezTo>
                  <a:pt x="700" y="548"/>
                  <a:pt x="688" y="552"/>
                  <a:pt x="675" y="552"/>
                </a:cubicBezTo>
                <a:cubicBezTo>
                  <a:pt x="653" y="552"/>
                  <a:pt x="636" y="544"/>
                  <a:pt x="623" y="530"/>
                </a:cubicBezTo>
                <a:cubicBezTo>
                  <a:pt x="609" y="515"/>
                  <a:pt x="603" y="494"/>
                  <a:pt x="603" y="466"/>
                </a:cubicBezTo>
                <a:close/>
                <a:moveTo>
                  <a:pt x="629" y="466"/>
                </a:moveTo>
                <a:cubicBezTo>
                  <a:pt x="629" y="487"/>
                  <a:pt x="634" y="503"/>
                  <a:pt x="642" y="513"/>
                </a:cubicBezTo>
                <a:cubicBezTo>
                  <a:pt x="651" y="524"/>
                  <a:pt x="662" y="529"/>
                  <a:pt x="675" y="529"/>
                </a:cubicBezTo>
                <a:cubicBezTo>
                  <a:pt x="688" y="529"/>
                  <a:pt x="698" y="524"/>
                  <a:pt x="707" y="513"/>
                </a:cubicBezTo>
                <a:cubicBezTo>
                  <a:pt x="716" y="503"/>
                  <a:pt x="720" y="487"/>
                  <a:pt x="720" y="465"/>
                </a:cubicBezTo>
                <a:cubicBezTo>
                  <a:pt x="720" y="445"/>
                  <a:pt x="715" y="429"/>
                  <a:pt x="707" y="419"/>
                </a:cubicBezTo>
                <a:cubicBezTo>
                  <a:pt x="698" y="408"/>
                  <a:pt x="687" y="403"/>
                  <a:pt x="675" y="403"/>
                </a:cubicBezTo>
                <a:cubicBezTo>
                  <a:pt x="662" y="403"/>
                  <a:pt x="651" y="408"/>
                  <a:pt x="642" y="419"/>
                </a:cubicBezTo>
                <a:cubicBezTo>
                  <a:pt x="634" y="429"/>
                  <a:pt x="629" y="445"/>
                  <a:pt x="629" y="466"/>
                </a:cubicBezTo>
                <a:close/>
                <a:moveTo>
                  <a:pt x="763" y="548"/>
                </a:moveTo>
                <a:lnTo>
                  <a:pt x="763" y="384"/>
                </a:lnTo>
                <a:lnTo>
                  <a:pt x="786" y="384"/>
                </a:lnTo>
                <a:lnTo>
                  <a:pt x="786" y="409"/>
                </a:lnTo>
                <a:cubicBezTo>
                  <a:pt x="792" y="397"/>
                  <a:pt x="798" y="389"/>
                  <a:pt x="803" y="386"/>
                </a:cubicBezTo>
                <a:cubicBezTo>
                  <a:pt x="808" y="382"/>
                  <a:pt x="813" y="380"/>
                  <a:pt x="820" y="380"/>
                </a:cubicBezTo>
                <a:cubicBezTo>
                  <a:pt x="828" y="380"/>
                  <a:pt x="837" y="383"/>
                  <a:pt x="846" y="389"/>
                </a:cubicBezTo>
                <a:lnTo>
                  <a:pt x="837" y="415"/>
                </a:lnTo>
                <a:cubicBezTo>
                  <a:pt x="831" y="411"/>
                  <a:pt x="824" y="409"/>
                  <a:pt x="818" y="409"/>
                </a:cubicBezTo>
                <a:cubicBezTo>
                  <a:pt x="812" y="409"/>
                  <a:pt x="807" y="411"/>
                  <a:pt x="803" y="414"/>
                </a:cubicBezTo>
                <a:cubicBezTo>
                  <a:pt x="798" y="418"/>
                  <a:pt x="795" y="423"/>
                  <a:pt x="793" y="430"/>
                </a:cubicBezTo>
                <a:cubicBezTo>
                  <a:pt x="790" y="440"/>
                  <a:pt x="789" y="450"/>
                  <a:pt x="789" y="462"/>
                </a:cubicBezTo>
                <a:lnTo>
                  <a:pt x="789" y="548"/>
                </a:lnTo>
                <a:lnTo>
                  <a:pt x="763" y="548"/>
                </a:lnTo>
                <a:close/>
                <a:moveTo>
                  <a:pt x="848" y="548"/>
                </a:moveTo>
                <a:lnTo>
                  <a:pt x="848" y="321"/>
                </a:lnTo>
                <a:lnTo>
                  <a:pt x="874" y="321"/>
                </a:lnTo>
                <a:lnTo>
                  <a:pt x="874" y="450"/>
                </a:lnTo>
                <a:lnTo>
                  <a:pt x="936" y="384"/>
                </a:lnTo>
                <a:lnTo>
                  <a:pt x="969" y="384"/>
                </a:lnTo>
                <a:lnTo>
                  <a:pt x="911" y="445"/>
                </a:lnTo>
                <a:lnTo>
                  <a:pt x="975" y="548"/>
                </a:lnTo>
                <a:lnTo>
                  <a:pt x="943" y="548"/>
                </a:lnTo>
                <a:lnTo>
                  <a:pt x="892" y="464"/>
                </a:lnTo>
                <a:lnTo>
                  <a:pt x="874" y="483"/>
                </a:lnTo>
                <a:lnTo>
                  <a:pt x="874" y="548"/>
                </a:lnTo>
                <a:lnTo>
                  <a:pt x="848" y="548"/>
                </a:lnTo>
                <a:close/>
                <a:moveTo>
                  <a:pt x="332" y="231"/>
                </a:moveTo>
                <a:lnTo>
                  <a:pt x="332" y="3"/>
                </a:lnTo>
                <a:lnTo>
                  <a:pt x="358" y="3"/>
                </a:lnTo>
                <a:lnTo>
                  <a:pt x="358" y="231"/>
                </a:lnTo>
                <a:lnTo>
                  <a:pt x="332" y="231"/>
                </a:lnTo>
                <a:close/>
                <a:moveTo>
                  <a:pt x="375" y="148"/>
                </a:moveTo>
                <a:cubicBezTo>
                  <a:pt x="375" y="118"/>
                  <a:pt x="383" y="95"/>
                  <a:pt x="398" y="81"/>
                </a:cubicBezTo>
                <a:cubicBezTo>
                  <a:pt x="412" y="69"/>
                  <a:pt x="428" y="63"/>
                  <a:pt x="447" y="63"/>
                </a:cubicBezTo>
                <a:cubicBezTo>
                  <a:pt x="468" y="63"/>
                  <a:pt x="485" y="70"/>
                  <a:pt x="498" y="85"/>
                </a:cubicBezTo>
                <a:cubicBezTo>
                  <a:pt x="512" y="99"/>
                  <a:pt x="519" y="120"/>
                  <a:pt x="519" y="146"/>
                </a:cubicBezTo>
                <a:cubicBezTo>
                  <a:pt x="519" y="167"/>
                  <a:pt x="516" y="184"/>
                  <a:pt x="510" y="196"/>
                </a:cubicBezTo>
                <a:cubicBezTo>
                  <a:pt x="504" y="208"/>
                  <a:pt x="495" y="218"/>
                  <a:pt x="484" y="224"/>
                </a:cubicBezTo>
                <a:cubicBezTo>
                  <a:pt x="472" y="231"/>
                  <a:pt x="460" y="234"/>
                  <a:pt x="447" y="234"/>
                </a:cubicBezTo>
                <a:cubicBezTo>
                  <a:pt x="425" y="234"/>
                  <a:pt x="408" y="227"/>
                  <a:pt x="395" y="212"/>
                </a:cubicBezTo>
                <a:cubicBezTo>
                  <a:pt x="381" y="197"/>
                  <a:pt x="375" y="176"/>
                  <a:pt x="375" y="148"/>
                </a:cubicBezTo>
                <a:close/>
                <a:moveTo>
                  <a:pt x="401" y="148"/>
                </a:moveTo>
                <a:cubicBezTo>
                  <a:pt x="401" y="170"/>
                  <a:pt x="406" y="185"/>
                  <a:pt x="414" y="196"/>
                </a:cubicBezTo>
                <a:cubicBezTo>
                  <a:pt x="423" y="206"/>
                  <a:pt x="434" y="211"/>
                  <a:pt x="447" y="211"/>
                </a:cubicBezTo>
                <a:cubicBezTo>
                  <a:pt x="460" y="211"/>
                  <a:pt x="470" y="206"/>
                  <a:pt x="479" y="196"/>
                </a:cubicBezTo>
                <a:cubicBezTo>
                  <a:pt x="488" y="185"/>
                  <a:pt x="492" y="169"/>
                  <a:pt x="492" y="148"/>
                </a:cubicBezTo>
                <a:cubicBezTo>
                  <a:pt x="492" y="127"/>
                  <a:pt x="488" y="112"/>
                  <a:pt x="479" y="101"/>
                </a:cubicBezTo>
                <a:cubicBezTo>
                  <a:pt x="470" y="91"/>
                  <a:pt x="460" y="86"/>
                  <a:pt x="447" y="86"/>
                </a:cubicBezTo>
                <a:cubicBezTo>
                  <a:pt x="434" y="86"/>
                  <a:pt x="423" y="91"/>
                  <a:pt x="414" y="101"/>
                </a:cubicBezTo>
                <a:cubicBezTo>
                  <a:pt x="406" y="112"/>
                  <a:pt x="401" y="127"/>
                  <a:pt x="401" y="148"/>
                </a:cubicBezTo>
                <a:close/>
                <a:moveTo>
                  <a:pt x="559" y="231"/>
                </a:moveTo>
                <a:lnTo>
                  <a:pt x="535" y="231"/>
                </a:lnTo>
                <a:lnTo>
                  <a:pt x="535" y="3"/>
                </a:lnTo>
                <a:lnTo>
                  <a:pt x="561" y="3"/>
                </a:lnTo>
                <a:lnTo>
                  <a:pt x="561" y="85"/>
                </a:lnTo>
                <a:cubicBezTo>
                  <a:pt x="572" y="70"/>
                  <a:pt x="586" y="63"/>
                  <a:pt x="603" y="63"/>
                </a:cubicBezTo>
                <a:cubicBezTo>
                  <a:pt x="612" y="63"/>
                  <a:pt x="621" y="65"/>
                  <a:pt x="630" y="69"/>
                </a:cubicBezTo>
                <a:cubicBezTo>
                  <a:pt x="638" y="73"/>
                  <a:pt x="645" y="78"/>
                  <a:pt x="651" y="86"/>
                </a:cubicBezTo>
                <a:cubicBezTo>
                  <a:pt x="656" y="93"/>
                  <a:pt x="660" y="102"/>
                  <a:pt x="663" y="113"/>
                </a:cubicBezTo>
                <a:cubicBezTo>
                  <a:pt x="667" y="123"/>
                  <a:pt x="668" y="134"/>
                  <a:pt x="668" y="146"/>
                </a:cubicBezTo>
                <a:cubicBezTo>
                  <a:pt x="668" y="174"/>
                  <a:pt x="662" y="196"/>
                  <a:pt x="649" y="211"/>
                </a:cubicBezTo>
                <a:cubicBezTo>
                  <a:pt x="636" y="227"/>
                  <a:pt x="620" y="234"/>
                  <a:pt x="602" y="234"/>
                </a:cubicBezTo>
                <a:cubicBezTo>
                  <a:pt x="584" y="234"/>
                  <a:pt x="570" y="226"/>
                  <a:pt x="559" y="210"/>
                </a:cubicBezTo>
                <a:lnTo>
                  <a:pt x="559" y="231"/>
                </a:lnTo>
                <a:close/>
                <a:moveTo>
                  <a:pt x="559" y="147"/>
                </a:moveTo>
                <a:cubicBezTo>
                  <a:pt x="559" y="167"/>
                  <a:pt x="561" y="181"/>
                  <a:pt x="566" y="190"/>
                </a:cubicBezTo>
                <a:cubicBezTo>
                  <a:pt x="575" y="204"/>
                  <a:pt x="586" y="211"/>
                  <a:pt x="600" y="211"/>
                </a:cubicBezTo>
                <a:cubicBezTo>
                  <a:pt x="611" y="211"/>
                  <a:pt x="621" y="206"/>
                  <a:pt x="629" y="196"/>
                </a:cubicBezTo>
                <a:cubicBezTo>
                  <a:pt x="637" y="185"/>
                  <a:pt x="641" y="169"/>
                  <a:pt x="641" y="148"/>
                </a:cubicBezTo>
                <a:cubicBezTo>
                  <a:pt x="641" y="127"/>
                  <a:pt x="638" y="111"/>
                  <a:pt x="630" y="101"/>
                </a:cubicBezTo>
                <a:cubicBezTo>
                  <a:pt x="622" y="91"/>
                  <a:pt x="612" y="85"/>
                  <a:pt x="601" y="85"/>
                </a:cubicBezTo>
                <a:cubicBezTo>
                  <a:pt x="589" y="85"/>
                  <a:pt x="580" y="91"/>
                  <a:pt x="571" y="101"/>
                </a:cubicBezTo>
                <a:cubicBezTo>
                  <a:pt x="563" y="112"/>
                  <a:pt x="559" y="127"/>
                  <a:pt x="559" y="147"/>
                </a:cubicBezTo>
                <a:close/>
                <a:moveTo>
                  <a:pt x="786" y="210"/>
                </a:moveTo>
                <a:cubicBezTo>
                  <a:pt x="777" y="219"/>
                  <a:pt x="767" y="225"/>
                  <a:pt x="758" y="229"/>
                </a:cubicBezTo>
                <a:cubicBezTo>
                  <a:pt x="749" y="232"/>
                  <a:pt x="740" y="234"/>
                  <a:pt x="730" y="234"/>
                </a:cubicBezTo>
                <a:cubicBezTo>
                  <a:pt x="713" y="234"/>
                  <a:pt x="700" y="230"/>
                  <a:pt x="691" y="221"/>
                </a:cubicBezTo>
                <a:cubicBezTo>
                  <a:pt x="682" y="212"/>
                  <a:pt x="677" y="201"/>
                  <a:pt x="677" y="187"/>
                </a:cubicBezTo>
                <a:cubicBezTo>
                  <a:pt x="677" y="179"/>
                  <a:pt x="679" y="172"/>
                  <a:pt x="682" y="165"/>
                </a:cubicBezTo>
                <a:cubicBezTo>
                  <a:pt x="686" y="159"/>
                  <a:pt x="690" y="153"/>
                  <a:pt x="696" y="149"/>
                </a:cubicBezTo>
                <a:cubicBezTo>
                  <a:pt x="701" y="145"/>
                  <a:pt x="708" y="142"/>
                  <a:pt x="714" y="140"/>
                </a:cubicBezTo>
                <a:cubicBezTo>
                  <a:pt x="720" y="139"/>
                  <a:pt x="727" y="137"/>
                  <a:pt x="738" y="136"/>
                </a:cubicBezTo>
                <a:cubicBezTo>
                  <a:pt x="759" y="133"/>
                  <a:pt x="774" y="130"/>
                  <a:pt x="784" y="126"/>
                </a:cubicBezTo>
                <a:cubicBezTo>
                  <a:pt x="784" y="123"/>
                  <a:pt x="784" y="120"/>
                  <a:pt x="784" y="119"/>
                </a:cubicBezTo>
                <a:cubicBezTo>
                  <a:pt x="784" y="108"/>
                  <a:pt x="782" y="100"/>
                  <a:pt x="777" y="95"/>
                </a:cubicBezTo>
                <a:cubicBezTo>
                  <a:pt x="770" y="89"/>
                  <a:pt x="760" y="86"/>
                  <a:pt x="747" y="86"/>
                </a:cubicBezTo>
                <a:cubicBezTo>
                  <a:pt x="735" y="86"/>
                  <a:pt x="726" y="88"/>
                  <a:pt x="720" y="93"/>
                </a:cubicBezTo>
                <a:cubicBezTo>
                  <a:pt x="714" y="97"/>
                  <a:pt x="710" y="105"/>
                  <a:pt x="707" y="117"/>
                </a:cubicBezTo>
                <a:lnTo>
                  <a:pt x="682" y="113"/>
                </a:lnTo>
                <a:cubicBezTo>
                  <a:pt x="684" y="102"/>
                  <a:pt x="688" y="92"/>
                  <a:pt x="693" y="85"/>
                </a:cubicBezTo>
                <a:cubicBezTo>
                  <a:pt x="698" y="78"/>
                  <a:pt x="706" y="72"/>
                  <a:pt x="716" y="68"/>
                </a:cubicBezTo>
                <a:cubicBezTo>
                  <a:pt x="726" y="64"/>
                  <a:pt x="738" y="63"/>
                  <a:pt x="751" y="63"/>
                </a:cubicBezTo>
                <a:cubicBezTo>
                  <a:pt x="764" y="63"/>
                  <a:pt x="775" y="64"/>
                  <a:pt x="783" y="67"/>
                </a:cubicBezTo>
                <a:cubicBezTo>
                  <a:pt x="791" y="71"/>
                  <a:pt x="797" y="75"/>
                  <a:pt x="801" y="80"/>
                </a:cubicBezTo>
                <a:cubicBezTo>
                  <a:pt x="805" y="85"/>
                  <a:pt x="808" y="91"/>
                  <a:pt x="809" y="99"/>
                </a:cubicBezTo>
                <a:cubicBezTo>
                  <a:pt x="810" y="104"/>
                  <a:pt x="811" y="112"/>
                  <a:pt x="811" y="125"/>
                </a:cubicBezTo>
                <a:lnTo>
                  <a:pt x="811" y="162"/>
                </a:lnTo>
                <a:cubicBezTo>
                  <a:pt x="811" y="188"/>
                  <a:pt x="811" y="204"/>
                  <a:pt x="812" y="211"/>
                </a:cubicBezTo>
                <a:cubicBezTo>
                  <a:pt x="813" y="218"/>
                  <a:pt x="815" y="224"/>
                  <a:pt x="819" y="231"/>
                </a:cubicBezTo>
                <a:lnTo>
                  <a:pt x="791" y="231"/>
                </a:lnTo>
                <a:cubicBezTo>
                  <a:pt x="789" y="225"/>
                  <a:pt x="787" y="218"/>
                  <a:pt x="786" y="210"/>
                </a:cubicBezTo>
                <a:close/>
                <a:moveTo>
                  <a:pt x="784" y="148"/>
                </a:moveTo>
                <a:cubicBezTo>
                  <a:pt x="775" y="152"/>
                  <a:pt x="761" y="156"/>
                  <a:pt x="742" y="159"/>
                </a:cubicBezTo>
                <a:cubicBezTo>
                  <a:pt x="731" y="160"/>
                  <a:pt x="723" y="162"/>
                  <a:pt x="719" y="164"/>
                </a:cubicBezTo>
                <a:cubicBezTo>
                  <a:pt x="714" y="166"/>
                  <a:pt x="711" y="169"/>
                  <a:pt x="709" y="173"/>
                </a:cubicBezTo>
                <a:cubicBezTo>
                  <a:pt x="706" y="177"/>
                  <a:pt x="705" y="182"/>
                  <a:pt x="705" y="186"/>
                </a:cubicBezTo>
                <a:cubicBezTo>
                  <a:pt x="705" y="194"/>
                  <a:pt x="708" y="200"/>
                  <a:pt x="713" y="205"/>
                </a:cubicBezTo>
                <a:cubicBezTo>
                  <a:pt x="718" y="210"/>
                  <a:pt x="726" y="212"/>
                  <a:pt x="736" y="212"/>
                </a:cubicBezTo>
                <a:cubicBezTo>
                  <a:pt x="746" y="212"/>
                  <a:pt x="755" y="210"/>
                  <a:pt x="763" y="205"/>
                </a:cubicBezTo>
                <a:cubicBezTo>
                  <a:pt x="770" y="201"/>
                  <a:pt x="776" y="194"/>
                  <a:pt x="780" y="186"/>
                </a:cubicBezTo>
                <a:cubicBezTo>
                  <a:pt x="783" y="180"/>
                  <a:pt x="784" y="171"/>
                  <a:pt x="784" y="158"/>
                </a:cubicBezTo>
                <a:lnTo>
                  <a:pt x="784" y="148"/>
                </a:lnTo>
                <a:close/>
                <a:moveTo>
                  <a:pt x="836" y="231"/>
                </a:moveTo>
                <a:lnTo>
                  <a:pt x="836" y="3"/>
                </a:lnTo>
                <a:lnTo>
                  <a:pt x="862" y="3"/>
                </a:lnTo>
                <a:lnTo>
                  <a:pt x="862" y="231"/>
                </a:lnTo>
                <a:lnTo>
                  <a:pt x="836" y="2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0" name="Freeform 80">
            <a:extLst>
              <a:ext uri="{FF2B5EF4-FFF2-40B4-BE49-F238E27FC236}">
                <a16:creationId xmlns:a16="http://schemas.microsoft.com/office/drawing/2014/main" id="{0D71B342-8104-4B7B-9631-BBF26CCF30E6}"/>
              </a:ext>
            </a:extLst>
          </p:cNvPr>
          <p:cNvSpPr>
            <a:spLocks noEditPoints="1"/>
          </p:cNvSpPr>
          <p:nvPr/>
        </p:nvSpPr>
        <p:spPr bwMode="auto">
          <a:xfrm>
            <a:off x="8893176" y="6083301"/>
            <a:ext cx="390525" cy="198438"/>
          </a:xfrm>
          <a:custGeom>
            <a:avLst/>
            <a:gdLst>
              <a:gd name="T0" fmla="*/ 320 w 1085"/>
              <a:gd name="T1" fmla="*/ 27 h 548"/>
              <a:gd name="T2" fmla="*/ 320 w 1085"/>
              <a:gd name="T3" fmla="*/ 227 h 548"/>
              <a:gd name="T4" fmla="*/ 143 w 1085"/>
              <a:gd name="T5" fmla="*/ 344 h 548"/>
              <a:gd name="T6" fmla="*/ 28 w 1085"/>
              <a:gd name="T7" fmla="*/ 442 h 548"/>
              <a:gd name="T8" fmla="*/ 216 w 1085"/>
              <a:gd name="T9" fmla="*/ 377 h 548"/>
              <a:gd name="T10" fmla="*/ 216 w 1085"/>
              <a:gd name="T11" fmla="*/ 548 h 548"/>
              <a:gd name="T12" fmla="*/ 216 w 1085"/>
              <a:gd name="T13" fmla="*/ 525 h 548"/>
              <a:gd name="T14" fmla="*/ 183 w 1085"/>
              <a:gd name="T15" fmla="*/ 415 h 548"/>
              <a:gd name="T16" fmla="*/ 327 w 1085"/>
              <a:gd name="T17" fmla="*/ 405 h 548"/>
              <a:gd name="T18" fmla="*/ 359 w 1085"/>
              <a:gd name="T19" fmla="*/ 405 h 548"/>
              <a:gd name="T20" fmla="*/ 304 w 1085"/>
              <a:gd name="T21" fmla="*/ 545 h 548"/>
              <a:gd name="T22" fmla="*/ 431 w 1085"/>
              <a:gd name="T23" fmla="*/ 511 h 548"/>
              <a:gd name="T24" fmla="*/ 520 w 1085"/>
              <a:gd name="T25" fmla="*/ 507 h 548"/>
              <a:gd name="T26" fmla="*/ 506 w 1085"/>
              <a:gd name="T27" fmla="*/ 545 h 548"/>
              <a:gd name="T28" fmla="*/ 686 w 1085"/>
              <a:gd name="T29" fmla="*/ 524 h 548"/>
              <a:gd name="T30" fmla="*/ 582 w 1085"/>
              <a:gd name="T31" fmla="*/ 479 h 548"/>
              <a:gd name="T32" fmla="*/ 684 w 1085"/>
              <a:gd name="T33" fmla="*/ 433 h 548"/>
              <a:gd name="T34" fmla="*/ 581 w 1085"/>
              <a:gd name="T35" fmla="*/ 427 h 548"/>
              <a:gd name="T36" fmla="*/ 701 w 1085"/>
              <a:gd name="T37" fmla="*/ 394 h 548"/>
              <a:gd name="T38" fmla="*/ 718 w 1085"/>
              <a:gd name="T39" fmla="*/ 545 h 548"/>
              <a:gd name="T40" fmla="*/ 619 w 1085"/>
              <a:gd name="T41" fmla="*/ 478 h 548"/>
              <a:gd name="T42" fmla="*/ 662 w 1085"/>
              <a:gd name="T43" fmla="*/ 519 h 548"/>
              <a:gd name="T44" fmla="*/ 736 w 1085"/>
              <a:gd name="T45" fmla="*/ 380 h 548"/>
              <a:gd name="T46" fmla="*/ 820 w 1085"/>
              <a:gd name="T47" fmla="*/ 385 h 548"/>
              <a:gd name="T48" fmla="*/ 762 w 1085"/>
              <a:gd name="T49" fmla="*/ 459 h 548"/>
              <a:gd name="T50" fmla="*/ 873 w 1085"/>
              <a:gd name="T51" fmla="*/ 548 h 548"/>
              <a:gd name="T52" fmla="*/ 838 w 1085"/>
              <a:gd name="T53" fmla="*/ 387 h 548"/>
              <a:gd name="T54" fmla="*/ 940 w 1085"/>
              <a:gd name="T55" fmla="*/ 317 h 548"/>
              <a:gd name="T56" fmla="*/ 875 w 1085"/>
              <a:gd name="T57" fmla="*/ 525 h 548"/>
              <a:gd name="T58" fmla="*/ 845 w 1085"/>
              <a:gd name="T59" fmla="*/ 415 h 548"/>
              <a:gd name="T60" fmla="*/ 1023 w 1085"/>
              <a:gd name="T61" fmla="*/ 525 h 548"/>
              <a:gd name="T62" fmla="*/ 984 w 1085"/>
              <a:gd name="T63" fmla="*/ 462 h 548"/>
              <a:gd name="T64" fmla="*/ 996 w 1085"/>
              <a:gd name="T65" fmla="*/ 380 h 548"/>
              <a:gd name="T66" fmla="*/ 1053 w 1085"/>
              <a:gd name="T67" fmla="*/ 427 h 548"/>
              <a:gd name="T68" fmla="*/ 990 w 1085"/>
              <a:gd name="T69" fmla="*/ 430 h 548"/>
              <a:gd name="T70" fmla="*/ 1085 w 1085"/>
              <a:gd name="T71" fmla="*/ 496 h 548"/>
              <a:gd name="T72" fmla="*/ 957 w 1085"/>
              <a:gd name="T73" fmla="*/ 496 h 548"/>
              <a:gd name="T74" fmla="*/ 439 w 1085"/>
              <a:gd name="T75" fmla="*/ 184 h 548"/>
              <a:gd name="T76" fmla="*/ 546 w 1085"/>
              <a:gd name="T77" fmla="*/ 123 h 548"/>
              <a:gd name="T78" fmla="*/ 469 w 1085"/>
              <a:gd name="T79" fmla="*/ 114 h 548"/>
              <a:gd name="T80" fmla="*/ 545 w 1085"/>
              <a:gd name="T81" fmla="*/ 64 h 548"/>
              <a:gd name="T82" fmla="*/ 574 w 1085"/>
              <a:gd name="T83" fmla="*/ 207 h 548"/>
              <a:gd name="T84" fmla="*/ 504 w 1085"/>
              <a:gd name="T85" fmla="*/ 155 h 548"/>
              <a:gd name="T86" fmla="*/ 498 w 1085"/>
              <a:gd name="T87" fmla="*/ 209 h 548"/>
              <a:gd name="T88" fmla="*/ 588 w 1085"/>
              <a:gd name="T89" fmla="*/ 178 h 548"/>
              <a:gd name="T90" fmla="*/ 689 w 1085"/>
              <a:gd name="T91" fmla="*/ 182 h 548"/>
              <a:gd name="T92" fmla="*/ 593 w 1085"/>
              <a:gd name="T93" fmla="*/ 106 h 548"/>
              <a:gd name="T94" fmla="*/ 681 w 1085"/>
              <a:gd name="T95" fmla="*/ 65 h 548"/>
              <a:gd name="T96" fmla="*/ 651 w 1085"/>
              <a:gd name="T97" fmla="*/ 82 h 548"/>
              <a:gd name="T98" fmla="*/ 654 w 1085"/>
              <a:gd name="T99" fmla="*/ 127 h 548"/>
              <a:gd name="T100" fmla="*/ 686 w 1085"/>
              <a:gd name="T101" fmla="*/ 224 h 548"/>
              <a:gd name="T102" fmla="*/ 793 w 1085"/>
              <a:gd name="T103" fmla="*/ 227 h 548"/>
              <a:gd name="T104" fmla="*/ 737 w 1085"/>
              <a:gd name="T105" fmla="*/ 84 h 548"/>
              <a:gd name="T106" fmla="*/ 763 w 1085"/>
              <a:gd name="T107" fmla="*/ 5 h 548"/>
              <a:gd name="T108" fmla="*/ 763 w 1085"/>
              <a:gd name="T109" fmla="*/ 181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5" h="548">
                <a:moveTo>
                  <a:pt x="292" y="227"/>
                </a:moveTo>
                <a:lnTo>
                  <a:pt x="292" y="0"/>
                </a:lnTo>
                <a:lnTo>
                  <a:pt x="435" y="0"/>
                </a:lnTo>
                <a:lnTo>
                  <a:pt x="435" y="27"/>
                </a:lnTo>
                <a:lnTo>
                  <a:pt x="320" y="27"/>
                </a:lnTo>
                <a:lnTo>
                  <a:pt x="320" y="97"/>
                </a:lnTo>
                <a:lnTo>
                  <a:pt x="419" y="97"/>
                </a:lnTo>
                <a:lnTo>
                  <a:pt x="419" y="124"/>
                </a:lnTo>
                <a:lnTo>
                  <a:pt x="320" y="124"/>
                </a:lnTo>
                <a:lnTo>
                  <a:pt x="320" y="227"/>
                </a:lnTo>
                <a:lnTo>
                  <a:pt x="292" y="227"/>
                </a:lnTo>
                <a:close/>
                <a:moveTo>
                  <a:pt x="0" y="545"/>
                </a:moveTo>
                <a:lnTo>
                  <a:pt x="0" y="317"/>
                </a:lnTo>
                <a:lnTo>
                  <a:pt x="143" y="317"/>
                </a:lnTo>
                <a:lnTo>
                  <a:pt x="143" y="344"/>
                </a:lnTo>
                <a:lnTo>
                  <a:pt x="28" y="344"/>
                </a:lnTo>
                <a:lnTo>
                  <a:pt x="28" y="415"/>
                </a:lnTo>
                <a:lnTo>
                  <a:pt x="128" y="415"/>
                </a:lnTo>
                <a:lnTo>
                  <a:pt x="128" y="442"/>
                </a:lnTo>
                <a:lnTo>
                  <a:pt x="28" y="442"/>
                </a:lnTo>
                <a:lnTo>
                  <a:pt x="28" y="545"/>
                </a:lnTo>
                <a:lnTo>
                  <a:pt x="0" y="545"/>
                </a:lnTo>
                <a:close/>
                <a:moveTo>
                  <a:pt x="144" y="462"/>
                </a:moveTo>
                <a:cubicBezTo>
                  <a:pt x="144" y="432"/>
                  <a:pt x="152" y="409"/>
                  <a:pt x="167" y="395"/>
                </a:cubicBezTo>
                <a:cubicBezTo>
                  <a:pt x="181" y="383"/>
                  <a:pt x="197" y="377"/>
                  <a:pt x="216" y="377"/>
                </a:cubicBezTo>
                <a:cubicBezTo>
                  <a:pt x="237" y="377"/>
                  <a:pt x="254" y="384"/>
                  <a:pt x="267" y="399"/>
                </a:cubicBezTo>
                <a:cubicBezTo>
                  <a:pt x="281" y="414"/>
                  <a:pt x="287" y="434"/>
                  <a:pt x="287" y="460"/>
                </a:cubicBezTo>
                <a:cubicBezTo>
                  <a:pt x="287" y="481"/>
                  <a:pt x="284" y="498"/>
                  <a:pt x="279" y="510"/>
                </a:cubicBezTo>
                <a:cubicBezTo>
                  <a:pt x="273" y="522"/>
                  <a:pt x="264" y="532"/>
                  <a:pt x="253" y="538"/>
                </a:cubicBezTo>
                <a:cubicBezTo>
                  <a:pt x="241" y="545"/>
                  <a:pt x="229" y="548"/>
                  <a:pt x="216" y="548"/>
                </a:cubicBezTo>
                <a:cubicBezTo>
                  <a:pt x="194" y="548"/>
                  <a:pt x="177" y="541"/>
                  <a:pt x="164" y="526"/>
                </a:cubicBezTo>
                <a:cubicBezTo>
                  <a:pt x="150" y="511"/>
                  <a:pt x="144" y="490"/>
                  <a:pt x="144" y="462"/>
                </a:cubicBezTo>
                <a:close/>
                <a:moveTo>
                  <a:pt x="170" y="462"/>
                </a:moveTo>
                <a:cubicBezTo>
                  <a:pt x="170" y="484"/>
                  <a:pt x="175" y="499"/>
                  <a:pt x="183" y="510"/>
                </a:cubicBezTo>
                <a:cubicBezTo>
                  <a:pt x="192" y="520"/>
                  <a:pt x="203" y="525"/>
                  <a:pt x="216" y="525"/>
                </a:cubicBezTo>
                <a:cubicBezTo>
                  <a:pt x="229" y="525"/>
                  <a:pt x="239" y="520"/>
                  <a:pt x="248" y="510"/>
                </a:cubicBezTo>
                <a:cubicBezTo>
                  <a:pt x="257" y="499"/>
                  <a:pt x="261" y="483"/>
                  <a:pt x="261" y="462"/>
                </a:cubicBezTo>
                <a:cubicBezTo>
                  <a:pt x="261" y="441"/>
                  <a:pt x="256" y="426"/>
                  <a:pt x="248" y="415"/>
                </a:cubicBezTo>
                <a:cubicBezTo>
                  <a:pt x="239" y="405"/>
                  <a:pt x="228" y="400"/>
                  <a:pt x="216" y="400"/>
                </a:cubicBezTo>
                <a:cubicBezTo>
                  <a:pt x="203" y="400"/>
                  <a:pt x="192" y="405"/>
                  <a:pt x="183" y="415"/>
                </a:cubicBezTo>
                <a:cubicBezTo>
                  <a:pt x="175" y="426"/>
                  <a:pt x="170" y="441"/>
                  <a:pt x="170" y="462"/>
                </a:cubicBezTo>
                <a:close/>
                <a:moveTo>
                  <a:pt x="304" y="545"/>
                </a:moveTo>
                <a:lnTo>
                  <a:pt x="304" y="380"/>
                </a:lnTo>
                <a:lnTo>
                  <a:pt x="327" y="380"/>
                </a:lnTo>
                <a:lnTo>
                  <a:pt x="327" y="405"/>
                </a:lnTo>
                <a:cubicBezTo>
                  <a:pt x="333" y="394"/>
                  <a:pt x="339" y="386"/>
                  <a:pt x="344" y="382"/>
                </a:cubicBezTo>
                <a:cubicBezTo>
                  <a:pt x="349" y="378"/>
                  <a:pt x="354" y="377"/>
                  <a:pt x="361" y="377"/>
                </a:cubicBezTo>
                <a:cubicBezTo>
                  <a:pt x="369" y="377"/>
                  <a:pt x="378" y="379"/>
                  <a:pt x="387" y="385"/>
                </a:cubicBezTo>
                <a:lnTo>
                  <a:pt x="378" y="411"/>
                </a:lnTo>
                <a:cubicBezTo>
                  <a:pt x="372" y="407"/>
                  <a:pt x="365" y="405"/>
                  <a:pt x="359" y="405"/>
                </a:cubicBezTo>
                <a:cubicBezTo>
                  <a:pt x="353" y="405"/>
                  <a:pt x="348" y="407"/>
                  <a:pt x="344" y="411"/>
                </a:cubicBezTo>
                <a:cubicBezTo>
                  <a:pt x="339" y="415"/>
                  <a:pt x="336" y="420"/>
                  <a:pt x="334" y="426"/>
                </a:cubicBezTo>
                <a:cubicBezTo>
                  <a:pt x="331" y="436"/>
                  <a:pt x="330" y="447"/>
                  <a:pt x="330" y="459"/>
                </a:cubicBezTo>
                <a:lnTo>
                  <a:pt x="330" y="545"/>
                </a:lnTo>
                <a:lnTo>
                  <a:pt x="304" y="545"/>
                </a:lnTo>
                <a:close/>
                <a:moveTo>
                  <a:pt x="417" y="545"/>
                </a:moveTo>
                <a:lnTo>
                  <a:pt x="370" y="380"/>
                </a:lnTo>
                <a:lnTo>
                  <a:pt x="397" y="380"/>
                </a:lnTo>
                <a:lnTo>
                  <a:pt x="422" y="475"/>
                </a:lnTo>
                <a:lnTo>
                  <a:pt x="431" y="511"/>
                </a:lnTo>
                <a:cubicBezTo>
                  <a:pt x="431" y="509"/>
                  <a:pt x="434" y="497"/>
                  <a:pt x="438" y="477"/>
                </a:cubicBezTo>
                <a:lnTo>
                  <a:pt x="463" y="380"/>
                </a:lnTo>
                <a:lnTo>
                  <a:pt x="489" y="380"/>
                </a:lnTo>
                <a:lnTo>
                  <a:pt x="513" y="476"/>
                </a:lnTo>
                <a:lnTo>
                  <a:pt x="520" y="507"/>
                </a:lnTo>
                <a:lnTo>
                  <a:pt x="529" y="475"/>
                </a:lnTo>
                <a:lnTo>
                  <a:pt x="555" y="380"/>
                </a:lnTo>
                <a:lnTo>
                  <a:pt x="581" y="380"/>
                </a:lnTo>
                <a:lnTo>
                  <a:pt x="533" y="545"/>
                </a:lnTo>
                <a:lnTo>
                  <a:pt x="506" y="545"/>
                </a:lnTo>
                <a:lnTo>
                  <a:pt x="481" y="446"/>
                </a:lnTo>
                <a:lnTo>
                  <a:pt x="475" y="418"/>
                </a:lnTo>
                <a:lnTo>
                  <a:pt x="444" y="545"/>
                </a:lnTo>
                <a:lnTo>
                  <a:pt x="417" y="545"/>
                </a:lnTo>
                <a:close/>
                <a:moveTo>
                  <a:pt x="686" y="524"/>
                </a:moveTo>
                <a:cubicBezTo>
                  <a:pt x="676" y="533"/>
                  <a:pt x="667" y="539"/>
                  <a:pt x="658" y="543"/>
                </a:cubicBezTo>
                <a:cubicBezTo>
                  <a:pt x="649" y="546"/>
                  <a:pt x="640" y="548"/>
                  <a:pt x="629" y="548"/>
                </a:cubicBezTo>
                <a:cubicBezTo>
                  <a:pt x="613" y="548"/>
                  <a:pt x="600" y="544"/>
                  <a:pt x="590" y="535"/>
                </a:cubicBezTo>
                <a:cubicBezTo>
                  <a:pt x="581" y="526"/>
                  <a:pt x="577" y="515"/>
                  <a:pt x="577" y="501"/>
                </a:cubicBezTo>
                <a:cubicBezTo>
                  <a:pt x="577" y="493"/>
                  <a:pt x="579" y="486"/>
                  <a:pt x="582" y="479"/>
                </a:cubicBezTo>
                <a:cubicBezTo>
                  <a:pt x="585" y="473"/>
                  <a:pt x="590" y="467"/>
                  <a:pt x="595" y="463"/>
                </a:cubicBezTo>
                <a:cubicBezTo>
                  <a:pt x="601" y="459"/>
                  <a:pt x="607" y="456"/>
                  <a:pt x="614" y="454"/>
                </a:cubicBezTo>
                <a:cubicBezTo>
                  <a:pt x="619" y="453"/>
                  <a:pt x="627" y="451"/>
                  <a:pt x="637" y="450"/>
                </a:cubicBezTo>
                <a:cubicBezTo>
                  <a:pt x="658" y="447"/>
                  <a:pt x="674" y="444"/>
                  <a:pt x="684" y="440"/>
                </a:cubicBezTo>
                <a:cubicBezTo>
                  <a:pt x="684" y="437"/>
                  <a:pt x="684" y="434"/>
                  <a:pt x="684" y="433"/>
                </a:cubicBezTo>
                <a:cubicBezTo>
                  <a:pt x="684" y="422"/>
                  <a:pt x="681" y="414"/>
                  <a:pt x="677" y="409"/>
                </a:cubicBezTo>
                <a:cubicBezTo>
                  <a:pt x="670" y="403"/>
                  <a:pt x="660" y="400"/>
                  <a:pt x="647" y="400"/>
                </a:cubicBezTo>
                <a:cubicBezTo>
                  <a:pt x="635" y="400"/>
                  <a:pt x="626" y="402"/>
                  <a:pt x="620" y="407"/>
                </a:cubicBezTo>
                <a:cubicBezTo>
                  <a:pt x="614" y="411"/>
                  <a:pt x="610" y="419"/>
                  <a:pt x="607" y="431"/>
                </a:cubicBezTo>
                <a:lnTo>
                  <a:pt x="581" y="427"/>
                </a:lnTo>
                <a:cubicBezTo>
                  <a:pt x="584" y="416"/>
                  <a:pt x="587" y="406"/>
                  <a:pt x="593" y="399"/>
                </a:cubicBezTo>
                <a:cubicBezTo>
                  <a:pt x="598" y="392"/>
                  <a:pt x="606" y="386"/>
                  <a:pt x="616" y="382"/>
                </a:cubicBezTo>
                <a:cubicBezTo>
                  <a:pt x="626" y="378"/>
                  <a:pt x="638" y="377"/>
                  <a:pt x="651" y="377"/>
                </a:cubicBezTo>
                <a:cubicBezTo>
                  <a:pt x="664" y="377"/>
                  <a:pt x="675" y="378"/>
                  <a:pt x="683" y="381"/>
                </a:cubicBezTo>
                <a:cubicBezTo>
                  <a:pt x="691" y="385"/>
                  <a:pt x="697" y="389"/>
                  <a:pt x="701" y="394"/>
                </a:cubicBezTo>
                <a:cubicBezTo>
                  <a:pt x="705" y="399"/>
                  <a:pt x="707" y="405"/>
                  <a:pt x="709" y="413"/>
                </a:cubicBezTo>
                <a:cubicBezTo>
                  <a:pt x="710" y="418"/>
                  <a:pt x="710" y="426"/>
                  <a:pt x="710" y="439"/>
                </a:cubicBezTo>
                <a:lnTo>
                  <a:pt x="710" y="476"/>
                </a:lnTo>
                <a:cubicBezTo>
                  <a:pt x="710" y="502"/>
                  <a:pt x="711" y="518"/>
                  <a:pt x="712" y="525"/>
                </a:cubicBezTo>
                <a:cubicBezTo>
                  <a:pt x="713" y="532"/>
                  <a:pt x="715" y="538"/>
                  <a:pt x="718" y="545"/>
                </a:cubicBezTo>
                <a:lnTo>
                  <a:pt x="691" y="545"/>
                </a:lnTo>
                <a:cubicBezTo>
                  <a:pt x="688" y="539"/>
                  <a:pt x="687" y="532"/>
                  <a:pt x="686" y="524"/>
                </a:cubicBezTo>
                <a:close/>
                <a:moveTo>
                  <a:pt x="684" y="462"/>
                </a:moveTo>
                <a:cubicBezTo>
                  <a:pt x="674" y="466"/>
                  <a:pt x="660" y="470"/>
                  <a:pt x="641" y="473"/>
                </a:cubicBezTo>
                <a:cubicBezTo>
                  <a:pt x="631" y="474"/>
                  <a:pt x="623" y="476"/>
                  <a:pt x="619" y="478"/>
                </a:cubicBezTo>
                <a:cubicBezTo>
                  <a:pt x="614" y="480"/>
                  <a:pt x="611" y="483"/>
                  <a:pt x="608" y="487"/>
                </a:cubicBezTo>
                <a:cubicBezTo>
                  <a:pt x="606" y="491"/>
                  <a:pt x="605" y="496"/>
                  <a:pt x="605" y="501"/>
                </a:cubicBezTo>
                <a:cubicBezTo>
                  <a:pt x="605" y="508"/>
                  <a:pt x="607" y="514"/>
                  <a:pt x="613" y="519"/>
                </a:cubicBezTo>
                <a:cubicBezTo>
                  <a:pt x="618" y="524"/>
                  <a:pt x="626" y="526"/>
                  <a:pt x="636" y="526"/>
                </a:cubicBezTo>
                <a:cubicBezTo>
                  <a:pt x="646" y="526"/>
                  <a:pt x="655" y="524"/>
                  <a:pt x="662" y="519"/>
                </a:cubicBezTo>
                <a:cubicBezTo>
                  <a:pt x="670" y="515"/>
                  <a:pt x="676" y="508"/>
                  <a:pt x="680" y="500"/>
                </a:cubicBezTo>
                <a:cubicBezTo>
                  <a:pt x="682" y="494"/>
                  <a:pt x="684" y="485"/>
                  <a:pt x="684" y="472"/>
                </a:cubicBezTo>
                <a:lnTo>
                  <a:pt x="684" y="462"/>
                </a:lnTo>
                <a:close/>
                <a:moveTo>
                  <a:pt x="736" y="545"/>
                </a:moveTo>
                <a:lnTo>
                  <a:pt x="736" y="380"/>
                </a:lnTo>
                <a:lnTo>
                  <a:pt x="760" y="380"/>
                </a:lnTo>
                <a:lnTo>
                  <a:pt x="760" y="405"/>
                </a:lnTo>
                <a:cubicBezTo>
                  <a:pt x="766" y="394"/>
                  <a:pt x="771" y="386"/>
                  <a:pt x="776" y="382"/>
                </a:cubicBezTo>
                <a:cubicBezTo>
                  <a:pt x="781" y="378"/>
                  <a:pt x="787" y="377"/>
                  <a:pt x="793" y="377"/>
                </a:cubicBezTo>
                <a:cubicBezTo>
                  <a:pt x="802" y="377"/>
                  <a:pt x="811" y="379"/>
                  <a:pt x="820" y="385"/>
                </a:cubicBezTo>
                <a:lnTo>
                  <a:pt x="810" y="411"/>
                </a:lnTo>
                <a:cubicBezTo>
                  <a:pt x="804" y="407"/>
                  <a:pt x="798" y="405"/>
                  <a:pt x="791" y="405"/>
                </a:cubicBezTo>
                <a:cubicBezTo>
                  <a:pt x="786" y="405"/>
                  <a:pt x="781" y="407"/>
                  <a:pt x="776" y="411"/>
                </a:cubicBezTo>
                <a:cubicBezTo>
                  <a:pt x="772" y="415"/>
                  <a:pt x="768" y="420"/>
                  <a:pt x="767" y="426"/>
                </a:cubicBezTo>
                <a:cubicBezTo>
                  <a:pt x="764" y="436"/>
                  <a:pt x="762" y="447"/>
                  <a:pt x="762" y="459"/>
                </a:cubicBezTo>
                <a:lnTo>
                  <a:pt x="762" y="545"/>
                </a:lnTo>
                <a:lnTo>
                  <a:pt x="736" y="545"/>
                </a:lnTo>
                <a:close/>
                <a:moveTo>
                  <a:pt x="916" y="545"/>
                </a:moveTo>
                <a:lnTo>
                  <a:pt x="916" y="524"/>
                </a:lnTo>
                <a:cubicBezTo>
                  <a:pt x="906" y="540"/>
                  <a:pt x="892" y="548"/>
                  <a:pt x="873" y="548"/>
                </a:cubicBezTo>
                <a:cubicBezTo>
                  <a:pt x="861" y="548"/>
                  <a:pt x="849" y="545"/>
                  <a:pt x="839" y="537"/>
                </a:cubicBezTo>
                <a:cubicBezTo>
                  <a:pt x="829" y="530"/>
                  <a:pt x="821" y="520"/>
                  <a:pt x="815" y="507"/>
                </a:cubicBezTo>
                <a:cubicBezTo>
                  <a:pt x="810" y="494"/>
                  <a:pt x="807" y="479"/>
                  <a:pt x="807" y="463"/>
                </a:cubicBezTo>
                <a:cubicBezTo>
                  <a:pt x="807" y="446"/>
                  <a:pt x="810" y="431"/>
                  <a:pt x="815" y="418"/>
                </a:cubicBezTo>
                <a:cubicBezTo>
                  <a:pt x="820" y="405"/>
                  <a:pt x="827" y="394"/>
                  <a:pt x="838" y="387"/>
                </a:cubicBezTo>
                <a:cubicBezTo>
                  <a:pt x="848" y="380"/>
                  <a:pt x="859" y="377"/>
                  <a:pt x="872" y="377"/>
                </a:cubicBezTo>
                <a:cubicBezTo>
                  <a:pt x="881" y="377"/>
                  <a:pt x="889" y="379"/>
                  <a:pt x="896" y="383"/>
                </a:cubicBezTo>
                <a:cubicBezTo>
                  <a:pt x="904" y="387"/>
                  <a:pt x="910" y="393"/>
                  <a:pt x="914" y="399"/>
                </a:cubicBezTo>
                <a:lnTo>
                  <a:pt x="914" y="317"/>
                </a:lnTo>
                <a:lnTo>
                  <a:pt x="940" y="317"/>
                </a:lnTo>
                <a:lnTo>
                  <a:pt x="940" y="545"/>
                </a:lnTo>
                <a:lnTo>
                  <a:pt x="916" y="545"/>
                </a:lnTo>
                <a:close/>
                <a:moveTo>
                  <a:pt x="834" y="463"/>
                </a:moveTo>
                <a:cubicBezTo>
                  <a:pt x="834" y="484"/>
                  <a:pt x="838" y="499"/>
                  <a:pt x="846" y="510"/>
                </a:cubicBezTo>
                <a:cubicBezTo>
                  <a:pt x="854" y="520"/>
                  <a:pt x="864" y="525"/>
                  <a:pt x="875" y="525"/>
                </a:cubicBezTo>
                <a:cubicBezTo>
                  <a:pt x="887" y="525"/>
                  <a:pt x="897" y="520"/>
                  <a:pt x="905" y="511"/>
                </a:cubicBezTo>
                <a:cubicBezTo>
                  <a:pt x="912" y="501"/>
                  <a:pt x="916" y="485"/>
                  <a:pt x="916" y="465"/>
                </a:cubicBezTo>
                <a:cubicBezTo>
                  <a:pt x="916" y="443"/>
                  <a:pt x="912" y="426"/>
                  <a:pt x="904" y="415"/>
                </a:cubicBezTo>
                <a:cubicBezTo>
                  <a:pt x="896" y="405"/>
                  <a:pt x="886" y="400"/>
                  <a:pt x="874" y="400"/>
                </a:cubicBezTo>
                <a:cubicBezTo>
                  <a:pt x="863" y="400"/>
                  <a:pt x="853" y="405"/>
                  <a:pt x="845" y="415"/>
                </a:cubicBezTo>
                <a:cubicBezTo>
                  <a:pt x="837" y="425"/>
                  <a:pt x="834" y="441"/>
                  <a:pt x="834" y="463"/>
                </a:cubicBezTo>
                <a:close/>
                <a:moveTo>
                  <a:pt x="957" y="496"/>
                </a:moveTo>
                <a:lnTo>
                  <a:pt x="983" y="491"/>
                </a:lnTo>
                <a:cubicBezTo>
                  <a:pt x="984" y="502"/>
                  <a:pt x="988" y="511"/>
                  <a:pt x="995" y="517"/>
                </a:cubicBezTo>
                <a:cubicBezTo>
                  <a:pt x="1002" y="522"/>
                  <a:pt x="1011" y="525"/>
                  <a:pt x="1023" y="525"/>
                </a:cubicBezTo>
                <a:cubicBezTo>
                  <a:pt x="1035" y="525"/>
                  <a:pt x="1044" y="523"/>
                  <a:pt x="1049" y="518"/>
                </a:cubicBezTo>
                <a:cubicBezTo>
                  <a:pt x="1055" y="512"/>
                  <a:pt x="1058" y="506"/>
                  <a:pt x="1058" y="499"/>
                </a:cubicBezTo>
                <a:cubicBezTo>
                  <a:pt x="1058" y="493"/>
                  <a:pt x="1055" y="488"/>
                  <a:pt x="1050" y="484"/>
                </a:cubicBezTo>
                <a:cubicBezTo>
                  <a:pt x="1047" y="482"/>
                  <a:pt x="1038" y="479"/>
                  <a:pt x="1024" y="475"/>
                </a:cubicBezTo>
                <a:cubicBezTo>
                  <a:pt x="1005" y="470"/>
                  <a:pt x="991" y="465"/>
                  <a:pt x="984" y="462"/>
                </a:cubicBezTo>
                <a:cubicBezTo>
                  <a:pt x="977" y="458"/>
                  <a:pt x="971" y="453"/>
                  <a:pt x="967" y="446"/>
                </a:cubicBezTo>
                <a:cubicBezTo>
                  <a:pt x="963" y="439"/>
                  <a:pt x="962" y="432"/>
                  <a:pt x="962" y="424"/>
                </a:cubicBezTo>
                <a:cubicBezTo>
                  <a:pt x="962" y="417"/>
                  <a:pt x="963" y="410"/>
                  <a:pt x="966" y="404"/>
                </a:cubicBezTo>
                <a:cubicBezTo>
                  <a:pt x="969" y="397"/>
                  <a:pt x="974" y="392"/>
                  <a:pt x="979" y="388"/>
                </a:cubicBezTo>
                <a:cubicBezTo>
                  <a:pt x="983" y="385"/>
                  <a:pt x="989" y="382"/>
                  <a:pt x="996" y="380"/>
                </a:cubicBezTo>
                <a:cubicBezTo>
                  <a:pt x="1003" y="378"/>
                  <a:pt x="1010" y="377"/>
                  <a:pt x="1018" y="377"/>
                </a:cubicBezTo>
                <a:cubicBezTo>
                  <a:pt x="1030" y="377"/>
                  <a:pt x="1041" y="378"/>
                  <a:pt x="1050" y="382"/>
                </a:cubicBezTo>
                <a:cubicBezTo>
                  <a:pt x="1059" y="386"/>
                  <a:pt x="1065" y="391"/>
                  <a:pt x="1070" y="397"/>
                </a:cubicBezTo>
                <a:cubicBezTo>
                  <a:pt x="1074" y="404"/>
                  <a:pt x="1077" y="412"/>
                  <a:pt x="1079" y="423"/>
                </a:cubicBezTo>
                <a:lnTo>
                  <a:pt x="1053" y="427"/>
                </a:lnTo>
                <a:cubicBezTo>
                  <a:pt x="1052" y="418"/>
                  <a:pt x="1049" y="411"/>
                  <a:pt x="1043" y="407"/>
                </a:cubicBezTo>
                <a:cubicBezTo>
                  <a:pt x="1038" y="402"/>
                  <a:pt x="1030" y="399"/>
                  <a:pt x="1020" y="399"/>
                </a:cubicBezTo>
                <a:cubicBezTo>
                  <a:pt x="1008" y="399"/>
                  <a:pt x="999" y="401"/>
                  <a:pt x="994" y="406"/>
                </a:cubicBezTo>
                <a:cubicBezTo>
                  <a:pt x="989" y="410"/>
                  <a:pt x="987" y="415"/>
                  <a:pt x="987" y="421"/>
                </a:cubicBezTo>
                <a:cubicBezTo>
                  <a:pt x="987" y="424"/>
                  <a:pt x="988" y="427"/>
                  <a:pt x="990" y="430"/>
                </a:cubicBezTo>
                <a:cubicBezTo>
                  <a:pt x="992" y="433"/>
                  <a:pt x="995" y="436"/>
                  <a:pt x="1000" y="438"/>
                </a:cubicBezTo>
                <a:cubicBezTo>
                  <a:pt x="1002" y="439"/>
                  <a:pt x="1010" y="441"/>
                  <a:pt x="1023" y="445"/>
                </a:cubicBezTo>
                <a:cubicBezTo>
                  <a:pt x="1041" y="450"/>
                  <a:pt x="1054" y="455"/>
                  <a:pt x="1061" y="458"/>
                </a:cubicBezTo>
                <a:cubicBezTo>
                  <a:pt x="1068" y="461"/>
                  <a:pt x="1074" y="466"/>
                  <a:pt x="1078" y="472"/>
                </a:cubicBezTo>
                <a:cubicBezTo>
                  <a:pt x="1083" y="479"/>
                  <a:pt x="1085" y="487"/>
                  <a:pt x="1085" y="496"/>
                </a:cubicBezTo>
                <a:cubicBezTo>
                  <a:pt x="1085" y="506"/>
                  <a:pt x="1082" y="514"/>
                  <a:pt x="1077" y="523"/>
                </a:cubicBezTo>
                <a:cubicBezTo>
                  <a:pt x="1072" y="531"/>
                  <a:pt x="1065" y="537"/>
                  <a:pt x="1055" y="542"/>
                </a:cubicBezTo>
                <a:cubicBezTo>
                  <a:pt x="1046" y="546"/>
                  <a:pt x="1035" y="548"/>
                  <a:pt x="1023" y="548"/>
                </a:cubicBezTo>
                <a:cubicBezTo>
                  <a:pt x="1003" y="548"/>
                  <a:pt x="988" y="544"/>
                  <a:pt x="977" y="535"/>
                </a:cubicBezTo>
                <a:cubicBezTo>
                  <a:pt x="967" y="526"/>
                  <a:pt x="960" y="513"/>
                  <a:pt x="957" y="496"/>
                </a:cubicBezTo>
                <a:close/>
                <a:moveTo>
                  <a:pt x="548" y="207"/>
                </a:moveTo>
                <a:cubicBezTo>
                  <a:pt x="539" y="215"/>
                  <a:pt x="529" y="222"/>
                  <a:pt x="520" y="225"/>
                </a:cubicBezTo>
                <a:cubicBezTo>
                  <a:pt x="512" y="229"/>
                  <a:pt x="502" y="231"/>
                  <a:pt x="492" y="231"/>
                </a:cubicBezTo>
                <a:cubicBezTo>
                  <a:pt x="475" y="231"/>
                  <a:pt x="462" y="226"/>
                  <a:pt x="453" y="218"/>
                </a:cubicBezTo>
                <a:cubicBezTo>
                  <a:pt x="444" y="209"/>
                  <a:pt x="439" y="198"/>
                  <a:pt x="439" y="184"/>
                </a:cubicBezTo>
                <a:cubicBezTo>
                  <a:pt x="439" y="176"/>
                  <a:pt x="441" y="168"/>
                  <a:pt x="444" y="162"/>
                </a:cubicBezTo>
                <a:cubicBezTo>
                  <a:pt x="448" y="155"/>
                  <a:pt x="452" y="150"/>
                  <a:pt x="458" y="146"/>
                </a:cubicBezTo>
                <a:cubicBezTo>
                  <a:pt x="463" y="142"/>
                  <a:pt x="470" y="139"/>
                  <a:pt x="477" y="137"/>
                </a:cubicBezTo>
                <a:cubicBezTo>
                  <a:pt x="482" y="135"/>
                  <a:pt x="489" y="134"/>
                  <a:pt x="500" y="132"/>
                </a:cubicBezTo>
                <a:cubicBezTo>
                  <a:pt x="521" y="130"/>
                  <a:pt x="536" y="127"/>
                  <a:pt x="546" y="123"/>
                </a:cubicBezTo>
                <a:cubicBezTo>
                  <a:pt x="546" y="119"/>
                  <a:pt x="546" y="117"/>
                  <a:pt x="546" y="116"/>
                </a:cubicBezTo>
                <a:cubicBezTo>
                  <a:pt x="546" y="104"/>
                  <a:pt x="544" y="96"/>
                  <a:pt x="539" y="92"/>
                </a:cubicBezTo>
                <a:cubicBezTo>
                  <a:pt x="532" y="85"/>
                  <a:pt x="522" y="82"/>
                  <a:pt x="509" y="82"/>
                </a:cubicBezTo>
                <a:cubicBezTo>
                  <a:pt x="497" y="82"/>
                  <a:pt x="488" y="85"/>
                  <a:pt x="482" y="89"/>
                </a:cubicBezTo>
                <a:cubicBezTo>
                  <a:pt x="476" y="94"/>
                  <a:pt x="472" y="102"/>
                  <a:pt x="469" y="114"/>
                </a:cubicBezTo>
                <a:lnTo>
                  <a:pt x="444" y="110"/>
                </a:lnTo>
                <a:cubicBezTo>
                  <a:pt x="446" y="98"/>
                  <a:pt x="450" y="89"/>
                  <a:pt x="455" y="81"/>
                </a:cubicBezTo>
                <a:cubicBezTo>
                  <a:pt x="460" y="74"/>
                  <a:pt x="468" y="69"/>
                  <a:pt x="478" y="65"/>
                </a:cubicBezTo>
                <a:cubicBezTo>
                  <a:pt x="488" y="61"/>
                  <a:pt x="500" y="59"/>
                  <a:pt x="513" y="59"/>
                </a:cubicBezTo>
                <a:cubicBezTo>
                  <a:pt x="526" y="59"/>
                  <a:pt x="537" y="61"/>
                  <a:pt x="545" y="64"/>
                </a:cubicBezTo>
                <a:cubicBezTo>
                  <a:pt x="553" y="67"/>
                  <a:pt x="559" y="71"/>
                  <a:pt x="563" y="76"/>
                </a:cubicBezTo>
                <a:cubicBezTo>
                  <a:pt x="567" y="82"/>
                  <a:pt x="570" y="88"/>
                  <a:pt x="571" y="96"/>
                </a:cubicBezTo>
                <a:cubicBezTo>
                  <a:pt x="572" y="100"/>
                  <a:pt x="573" y="109"/>
                  <a:pt x="573" y="121"/>
                </a:cubicBezTo>
                <a:lnTo>
                  <a:pt x="573" y="158"/>
                </a:lnTo>
                <a:cubicBezTo>
                  <a:pt x="573" y="184"/>
                  <a:pt x="573" y="200"/>
                  <a:pt x="574" y="207"/>
                </a:cubicBezTo>
                <a:cubicBezTo>
                  <a:pt x="575" y="214"/>
                  <a:pt x="577" y="221"/>
                  <a:pt x="581" y="227"/>
                </a:cubicBezTo>
                <a:lnTo>
                  <a:pt x="553" y="227"/>
                </a:lnTo>
                <a:cubicBezTo>
                  <a:pt x="551" y="221"/>
                  <a:pt x="549" y="215"/>
                  <a:pt x="548" y="207"/>
                </a:cubicBezTo>
                <a:close/>
                <a:moveTo>
                  <a:pt x="546" y="145"/>
                </a:moveTo>
                <a:cubicBezTo>
                  <a:pt x="537" y="149"/>
                  <a:pt x="523" y="152"/>
                  <a:pt x="504" y="155"/>
                </a:cubicBezTo>
                <a:cubicBezTo>
                  <a:pt x="493" y="157"/>
                  <a:pt x="485" y="159"/>
                  <a:pt x="481" y="161"/>
                </a:cubicBezTo>
                <a:cubicBezTo>
                  <a:pt x="476" y="163"/>
                  <a:pt x="473" y="166"/>
                  <a:pt x="471" y="170"/>
                </a:cubicBezTo>
                <a:cubicBezTo>
                  <a:pt x="468" y="174"/>
                  <a:pt x="467" y="178"/>
                  <a:pt x="467" y="183"/>
                </a:cubicBezTo>
                <a:cubicBezTo>
                  <a:pt x="467" y="190"/>
                  <a:pt x="470" y="197"/>
                  <a:pt x="475" y="201"/>
                </a:cubicBezTo>
                <a:cubicBezTo>
                  <a:pt x="480" y="206"/>
                  <a:pt x="488" y="209"/>
                  <a:pt x="498" y="209"/>
                </a:cubicBezTo>
                <a:cubicBezTo>
                  <a:pt x="508" y="209"/>
                  <a:pt x="517" y="207"/>
                  <a:pt x="525" y="202"/>
                </a:cubicBezTo>
                <a:cubicBezTo>
                  <a:pt x="533" y="197"/>
                  <a:pt x="538" y="191"/>
                  <a:pt x="542" y="183"/>
                </a:cubicBezTo>
                <a:cubicBezTo>
                  <a:pt x="545" y="176"/>
                  <a:pt x="546" y="167"/>
                  <a:pt x="546" y="155"/>
                </a:cubicBezTo>
                <a:lnTo>
                  <a:pt x="546" y="145"/>
                </a:lnTo>
                <a:close/>
                <a:moveTo>
                  <a:pt x="588" y="178"/>
                </a:moveTo>
                <a:lnTo>
                  <a:pt x="614" y="174"/>
                </a:lnTo>
                <a:cubicBezTo>
                  <a:pt x="616" y="185"/>
                  <a:pt x="620" y="193"/>
                  <a:pt x="626" y="199"/>
                </a:cubicBezTo>
                <a:cubicBezTo>
                  <a:pt x="633" y="205"/>
                  <a:pt x="642" y="208"/>
                  <a:pt x="654" y="208"/>
                </a:cubicBezTo>
                <a:cubicBezTo>
                  <a:pt x="666" y="208"/>
                  <a:pt x="675" y="205"/>
                  <a:pt x="681" y="200"/>
                </a:cubicBezTo>
                <a:cubicBezTo>
                  <a:pt x="686" y="195"/>
                  <a:pt x="689" y="189"/>
                  <a:pt x="689" y="182"/>
                </a:cubicBezTo>
                <a:cubicBezTo>
                  <a:pt x="689" y="175"/>
                  <a:pt x="687" y="170"/>
                  <a:pt x="682" y="167"/>
                </a:cubicBezTo>
                <a:cubicBezTo>
                  <a:pt x="678" y="164"/>
                  <a:pt x="669" y="161"/>
                  <a:pt x="655" y="157"/>
                </a:cubicBezTo>
                <a:cubicBezTo>
                  <a:pt x="636" y="152"/>
                  <a:pt x="623" y="148"/>
                  <a:pt x="615" y="144"/>
                </a:cubicBezTo>
                <a:cubicBezTo>
                  <a:pt x="608" y="140"/>
                  <a:pt x="602" y="135"/>
                  <a:pt x="599" y="128"/>
                </a:cubicBezTo>
                <a:cubicBezTo>
                  <a:pt x="595" y="122"/>
                  <a:pt x="593" y="114"/>
                  <a:pt x="593" y="106"/>
                </a:cubicBezTo>
                <a:cubicBezTo>
                  <a:pt x="593" y="99"/>
                  <a:pt x="594" y="92"/>
                  <a:pt x="598" y="86"/>
                </a:cubicBezTo>
                <a:cubicBezTo>
                  <a:pt x="601" y="80"/>
                  <a:pt x="605" y="75"/>
                  <a:pt x="610" y="70"/>
                </a:cubicBezTo>
                <a:cubicBezTo>
                  <a:pt x="614" y="67"/>
                  <a:pt x="620" y="65"/>
                  <a:pt x="627" y="62"/>
                </a:cubicBezTo>
                <a:cubicBezTo>
                  <a:pt x="634" y="60"/>
                  <a:pt x="641" y="59"/>
                  <a:pt x="649" y="59"/>
                </a:cubicBezTo>
                <a:cubicBezTo>
                  <a:pt x="661" y="59"/>
                  <a:pt x="672" y="61"/>
                  <a:pt x="681" y="65"/>
                </a:cubicBezTo>
                <a:cubicBezTo>
                  <a:pt x="690" y="68"/>
                  <a:pt x="697" y="73"/>
                  <a:pt x="701" y="80"/>
                </a:cubicBezTo>
                <a:cubicBezTo>
                  <a:pt x="705" y="86"/>
                  <a:pt x="708" y="95"/>
                  <a:pt x="710" y="105"/>
                </a:cubicBezTo>
                <a:lnTo>
                  <a:pt x="685" y="109"/>
                </a:lnTo>
                <a:cubicBezTo>
                  <a:pt x="683" y="101"/>
                  <a:pt x="680" y="94"/>
                  <a:pt x="675" y="89"/>
                </a:cubicBezTo>
                <a:cubicBezTo>
                  <a:pt x="669" y="84"/>
                  <a:pt x="661" y="82"/>
                  <a:pt x="651" y="82"/>
                </a:cubicBezTo>
                <a:cubicBezTo>
                  <a:pt x="639" y="82"/>
                  <a:pt x="631" y="84"/>
                  <a:pt x="626" y="88"/>
                </a:cubicBezTo>
                <a:cubicBezTo>
                  <a:pt x="621" y="92"/>
                  <a:pt x="618" y="97"/>
                  <a:pt x="618" y="103"/>
                </a:cubicBezTo>
                <a:cubicBezTo>
                  <a:pt x="618" y="107"/>
                  <a:pt x="619" y="110"/>
                  <a:pt x="621" y="113"/>
                </a:cubicBezTo>
                <a:cubicBezTo>
                  <a:pt x="623" y="116"/>
                  <a:pt x="627" y="118"/>
                  <a:pt x="631" y="120"/>
                </a:cubicBezTo>
                <a:cubicBezTo>
                  <a:pt x="634" y="121"/>
                  <a:pt x="641" y="124"/>
                  <a:pt x="654" y="127"/>
                </a:cubicBezTo>
                <a:cubicBezTo>
                  <a:pt x="672" y="133"/>
                  <a:pt x="685" y="137"/>
                  <a:pt x="693" y="140"/>
                </a:cubicBezTo>
                <a:cubicBezTo>
                  <a:pt x="700" y="144"/>
                  <a:pt x="706" y="149"/>
                  <a:pt x="710" y="155"/>
                </a:cubicBezTo>
                <a:cubicBezTo>
                  <a:pt x="714" y="161"/>
                  <a:pt x="716" y="169"/>
                  <a:pt x="716" y="179"/>
                </a:cubicBezTo>
                <a:cubicBezTo>
                  <a:pt x="716" y="188"/>
                  <a:pt x="713" y="197"/>
                  <a:pt x="708" y="205"/>
                </a:cubicBezTo>
                <a:cubicBezTo>
                  <a:pt x="703" y="213"/>
                  <a:pt x="696" y="220"/>
                  <a:pt x="686" y="224"/>
                </a:cubicBezTo>
                <a:cubicBezTo>
                  <a:pt x="677" y="229"/>
                  <a:pt x="666" y="231"/>
                  <a:pt x="654" y="231"/>
                </a:cubicBezTo>
                <a:cubicBezTo>
                  <a:pt x="634" y="231"/>
                  <a:pt x="619" y="226"/>
                  <a:pt x="608" y="218"/>
                </a:cubicBezTo>
                <a:cubicBezTo>
                  <a:pt x="598" y="209"/>
                  <a:pt x="591" y="195"/>
                  <a:pt x="588" y="178"/>
                </a:cubicBezTo>
                <a:close/>
                <a:moveTo>
                  <a:pt x="789" y="202"/>
                </a:moveTo>
                <a:lnTo>
                  <a:pt x="793" y="227"/>
                </a:lnTo>
                <a:cubicBezTo>
                  <a:pt x="786" y="229"/>
                  <a:pt x="779" y="230"/>
                  <a:pt x="773" y="230"/>
                </a:cubicBezTo>
                <a:cubicBezTo>
                  <a:pt x="764" y="230"/>
                  <a:pt x="757" y="228"/>
                  <a:pt x="751" y="225"/>
                </a:cubicBezTo>
                <a:cubicBezTo>
                  <a:pt x="746" y="221"/>
                  <a:pt x="743" y="217"/>
                  <a:pt x="741" y="212"/>
                </a:cubicBezTo>
                <a:cubicBezTo>
                  <a:pt x="738" y="207"/>
                  <a:pt x="737" y="196"/>
                  <a:pt x="737" y="179"/>
                </a:cubicBezTo>
                <a:lnTo>
                  <a:pt x="737" y="84"/>
                </a:lnTo>
                <a:lnTo>
                  <a:pt x="718" y="84"/>
                </a:lnTo>
                <a:lnTo>
                  <a:pt x="718" y="63"/>
                </a:lnTo>
                <a:lnTo>
                  <a:pt x="737" y="63"/>
                </a:lnTo>
                <a:lnTo>
                  <a:pt x="737" y="22"/>
                </a:lnTo>
                <a:lnTo>
                  <a:pt x="763" y="5"/>
                </a:lnTo>
                <a:lnTo>
                  <a:pt x="763" y="63"/>
                </a:lnTo>
                <a:lnTo>
                  <a:pt x="789" y="63"/>
                </a:lnTo>
                <a:lnTo>
                  <a:pt x="789" y="84"/>
                </a:lnTo>
                <a:lnTo>
                  <a:pt x="763" y="84"/>
                </a:lnTo>
                <a:lnTo>
                  <a:pt x="763" y="181"/>
                </a:lnTo>
                <a:cubicBezTo>
                  <a:pt x="763" y="189"/>
                  <a:pt x="764" y="194"/>
                  <a:pt x="765" y="196"/>
                </a:cubicBezTo>
                <a:cubicBezTo>
                  <a:pt x="766" y="198"/>
                  <a:pt x="767" y="200"/>
                  <a:pt x="769" y="201"/>
                </a:cubicBezTo>
                <a:cubicBezTo>
                  <a:pt x="771" y="203"/>
                  <a:pt x="774" y="203"/>
                  <a:pt x="778" y="203"/>
                </a:cubicBezTo>
                <a:cubicBezTo>
                  <a:pt x="781" y="203"/>
                  <a:pt x="785" y="203"/>
                  <a:pt x="789" y="2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1" name="Freeform 81">
            <a:extLst>
              <a:ext uri="{FF2B5EF4-FFF2-40B4-BE49-F238E27FC236}">
                <a16:creationId xmlns:a16="http://schemas.microsoft.com/office/drawing/2014/main" id="{95532F22-7BE7-4DD4-A517-5B9405F8A6E1}"/>
              </a:ext>
            </a:extLst>
          </p:cNvPr>
          <p:cNvSpPr>
            <a:spLocks noEditPoints="1"/>
          </p:cNvSpPr>
          <p:nvPr/>
        </p:nvSpPr>
        <p:spPr bwMode="auto">
          <a:xfrm>
            <a:off x="2733676" y="5067301"/>
            <a:ext cx="484188" cy="82550"/>
          </a:xfrm>
          <a:custGeom>
            <a:avLst/>
            <a:gdLst>
              <a:gd name="T0" fmla="*/ 28 w 1344"/>
              <a:gd name="T1" fmla="*/ 93 h 231"/>
              <a:gd name="T2" fmla="*/ 166 w 1344"/>
              <a:gd name="T3" fmla="*/ 227 h 231"/>
              <a:gd name="T4" fmla="*/ 28 w 1344"/>
              <a:gd name="T5" fmla="*/ 227 h 231"/>
              <a:gd name="T6" fmla="*/ 239 w 1344"/>
              <a:gd name="T7" fmla="*/ 231 h 231"/>
              <a:gd name="T8" fmla="*/ 205 w 1344"/>
              <a:gd name="T9" fmla="*/ 146 h 231"/>
              <a:gd name="T10" fmla="*/ 293 w 1344"/>
              <a:gd name="T11" fmla="*/ 115 h 231"/>
              <a:gd name="T12" fmla="*/ 216 w 1344"/>
              <a:gd name="T13" fmla="*/ 113 h 231"/>
              <a:gd name="T14" fmla="*/ 260 w 1344"/>
              <a:gd name="T15" fmla="*/ 59 h 231"/>
              <a:gd name="T16" fmla="*/ 320 w 1344"/>
              <a:gd name="T17" fmla="*/ 121 h 231"/>
              <a:gd name="T18" fmla="*/ 301 w 1344"/>
              <a:gd name="T19" fmla="*/ 227 h 231"/>
              <a:gd name="T20" fmla="*/ 228 w 1344"/>
              <a:gd name="T21" fmla="*/ 161 h 231"/>
              <a:gd name="T22" fmla="*/ 245 w 1344"/>
              <a:gd name="T23" fmla="*/ 209 h 231"/>
              <a:gd name="T24" fmla="*/ 293 w 1344"/>
              <a:gd name="T25" fmla="*/ 144 h 231"/>
              <a:gd name="T26" fmla="*/ 369 w 1344"/>
              <a:gd name="T27" fmla="*/ 86 h 231"/>
              <a:gd name="T28" fmla="*/ 469 w 1344"/>
              <a:gd name="T29" fmla="*/ 99 h 231"/>
              <a:gd name="T30" fmla="*/ 444 w 1344"/>
              <a:gd name="T31" fmla="*/ 127 h 231"/>
              <a:gd name="T32" fmla="*/ 384 w 1344"/>
              <a:gd name="T33" fmla="*/ 94 h 231"/>
              <a:gd name="T34" fmla="*/ 596 w 1344"/>
              <a:gd name="T35" fmla="*/ 227 h 231"/>
              <a:gd name="T36" fmla="*/ 495 w 1344"/>
              <a:gd name="T37" fmla="*/ 189 h 231"/>
              <a:gd name="T38" fmla="*/ 552 w 1344"/>
              <a:gd name="T39" fmla="*/ 59 h 231"/>
              <a:gd name="T40" fmla="*/ 620 w 1344"/>
              <a:gd name="T41" fmla="*/ 0 h 231"/>
              <a:gd name="T42" fmla="*/ 526 w 1344"/>
              <a:gd name="T43" fmla="*/ 192 h 231"/>
              <a:gd name="T44" fmla="*/ 584 w 1344"/>
              <a:gd name="T45" fmla="*/ 98 h 231"/>
              <a:gd name="T46" fmla="*/ 637 w 1344"/>
              <a:gd name="T47" fmla="*/ 178 h 231"/>
              <a:gd name="T48" fmla="*/ 729 w 1344"/>
              <a:gd name="T49" fmla="*/ 200 h 231"/>
              <a:gd name="T50" fmla="*/ 664 w 1344"/>
              <a:gd name="T51" fmla="*/ 144 h 231"/>
              <a:gd name="T52" fmla="*/ 659 w 1344"/>
              <a:gd name="T53" fmla="*/ 70 h 231"/>
              <a:gd name="T54" fmla="*/ 750 w 1344"/>
              <a:gd name="T55" fmla="*/ 80 h 231"/>
              <a:gd name="T56" fmla="*/ 700 w 1344"/>
              <a:gd name="T57" fmla="*/ 82 h 231"/>
              <a:gd name="T58" fmla="*/ 680 w 1344"/>
              <a:gd name="T59" fmla="*/ 120 h 231"/>
              <a:gd name="T60" fmla="*/ 765 w 1344"/>
              <a:gd name="T61" fmla="*/ 179 h 231"/>
              <a:gd name="T62" fmla="*/ 657 w 1344"/>
              <a:gd name="T63" fmla="*/ 217 h 231"/>
              <a:gd name="T64" fmla="*/ 808 w 1344"/>
              <a:gd name="T65" fmla="*/ 0 h 231"/>
              <a:gd name="T66" fmla="*/ 901 w 1344"/>
              <a:gd name="T67" fmla="*/ 86 h 231"/>
              <a:gd name="T68" fmla="*/ 880 w 1344"/>
              <a:gd name="T69" fmla="*/ 123 h 231"/>
              <a:gd name="T70" fmla="*/ 812 w 1344"/>
              <a:gd name="T71" fmla="*/ 107 h 231"/>
              <a:gd name="T72" fmla="*/ 1033 w 1344"/>
              <a:gd name="T73" fmla="*/ 206 h 231"/>
              <a:gd name="T74" fmla="*/ 923 w 1344"/>
              <a:gd name="T75" fmla="*/ 184 h 231"/>
              <a:gd name="T76" fmla="*/ 984 w 1344"/>
              <a:gd name="T77" fmla="*/ 132 h 231"/>
              <a:gd name="T78" fmla="*/ 993 w 1344"/>
              <a:gd name="T79" fmla="*/ 82 h 231"/>
              <a:gd name="T80" fmla="*/ 939 w 1344"/>
              <a:gd name="T81" fmla="*/ 81 h 231"/>
              <a:gd name="T82" fmla="*/ 1047 w 1344"/>
              <a:gd name="T83" fmla="*/ 76 h 231"/>
              <a:gd name="T84" fmla="*/ 1058 w 1344"/>
              <a:gd name="T85" fmla="*/ 207 h 231"/>
              <a:gd name="T86" fmla="*/ 1031 w 1344"/>
              <a:gd name="T87" fmla="*/ 144 h 231"/>
              <a:gd name="T88" fmla="*/ 951 w 1344"/>
              <a:gd name="T89" fmla="*/ 183 h 231"/>
              <a:gd name="T90" fmla="*/ 1026 w 1344"/>
              <a:gd name="T91" fmla="*/ 182 h 231"/>
              <a:gd name="T92" fmla="*/ 1083 w 1344"/>
              <a:gd name="T93" fmla="*/ 0 h 231"/>
              <a:gd name="T94" fmla="*/ 1204 w 1344"/>
              <a:gd name="T95" fmla="*/ 62 h 231"/>
              <a:gd name="T96" fmla="*/ 1127 w 1344"/>
              <a:gd name="T97" fmla="*/ 143 h 231"/>
              <a:gd name="T98" fmla="*/ 1316 w 1344"/>
              <a:gd name="T99" fmla="*/ 174 h 231"/>
              <a:gd name="T100" fmla="*/ 1222 w 1344"/>
              <a:gd name="T101" fmla="*/ 208 h 231"/>
              <a:gd name="T102" fmla="*/ 1324 w 1344"/>
              <a:gd name="T103" fmla="*/ 81 h 231"/>
              <a:gd name="T104" fmla="*/ 1244 w 1344"/>
              <a:gd name="T105" fmla="*/ 193 h 231"/>
              <a:gd name="T106" fmla="*/ 1231 w 1344"/>
              <a:gd name="T107" fmla="*/ 129 h 231"/>
              <a:gd name="T108" fmla="*/ 1244 w 1344"/>
              <a:gd name="T109" fmla="*/ 94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344" h="231">
                <a:moveTo>
                  <a:pt x="0" y="227"/>
                </a:moveTo>
                <a:lnTo>
                  <a:pt x="0" y="0"/>
                </a:lnTo>
                <a:lnTo>
                  <a:pt x="28" y="0"/>
                </a:lnTo>
                <a:lnTo>
                  <a:pt x="28" y="93"/>
                </a:lnTo>
                <a:lnTo>
                  <a:pt x="137" y="93"/>
                </a:lnTo>
                <a:lnTo>
                  <a:pt x="137" y="0"/>
                </a:lnTo>
                <a:lnTo>
                  <a:pt x="166" y="0"/>
                </a:lnTo>
                <a:lnTo>
                  <a:pt x="166" y="227"/>
                </a:lnTo>
                <a:lnTo>
                  <a:pt x="137" y="227"/>
                </a:lnTo>
                <a:lnTo>
                  <a:pt x="137" y="120"/>
                </a:lnTo>
                <a:lnTo>
                  <a:pt x="28" y="120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296" y="206"/>
                </a:moveTo>
                <a:cubicBezTo>
                  <a:pt x="286" y="215"/>
                  <a:pt x="277" y="221"/>
                  <a:pt x="268" y="225"/>
                </a:cubicBezTo>
                <a:cubicBezTo>
                  <a:pt x="259" y="229"/>
                  <a:pt x="249" y="231"/>
                  <a:pt x="239" y="231"/>
                </a:cubicBezTo>
                <a:cubicBezTo>
                  <a:pt x="222" y="231"/>
                  <a:pt x="209" y="226"/>
                  <a:pt x="200" y="217"/>
                </a:cubicBezTo>
                <a:cubicBezTo>
                  <a:pt x="191" y="209"/>
                  <a:pt x="186" y="197"/>
                  <a:pt x="186" y="184"/>
                </a:cubicBezTo>
                <a:cubicBezTo>
                  <a:pt x="186" y="176"/>
                  <a:pt x="188" y="168"/>
                  <a:pt x="192" y="161"/>
                </a:cubicBezTo>
                <a:cubicBezTo>
                  <a:pt x="195" y="155"/>
                  <a:pt x="199" y="150"/>
                  <a:pt x="205" y="146"/>
                </a:cubicBezTo>
                <a:cubicBezTo>
                  <a:pt x="211" y="141"/>
                  <a:pt x="217" y="138"/>
                  <a:pt x="224" y="136"/>
                </a:cubicBezTo>
                <a:cubicBezTo>
                  <a:pt x="229" y="135"/>
                  <a:pt x="237" y="134"/>
                  <a:pt x="247" y="132"/>
                </a:cubicBezTo>
                <a:cubicBezTo>
                  <a:pt x="268" y="130"/>
                  <a:pt x="283" y="126"/>
                  <a:pt x="293" y="123"/>
                </a:cubicBezTo>
                <a:cubicBezTo>
                  <a:pt x="293" y="119"/>
                  <a:pt x="293" y="116"/>
                  <a:pt x="293" y="115"/>
                </a:cubicBezTo>
                <a:cubicBezTo>
                  <a:pt x="293" y="104"/>
                  <a:pt x="291" y="96"/>
                  <a:pt x="286" y="91"/>
                </a:cubicBezTo>
                <a:cubicBezTo>
                  <a:pt x="279" y="85"/>
                  <a:pt x="270" y="82"/>
                  <a:pt x="256" y="82"/>
                </a:cubicBezTo>
                <a:cubicBezTo>
                  <a:pt x="244" y="82"/>
                  <a:pt x="235" y="84"/>
                  <a:pt x="229" y="89"/>
                </a:cubicBezTo>
                <a:cubicBezTo>
                  <a:pt x="223" y="93"/>
                  <a:pt x="219" y="102"/>
                  <a:pt x="216" y="113"/>
                </a:cubicBezTo>
                <a:lnTo>
                  <a:pt x="191" y="110"/>
                </a:lnTo>
                <a:cubicBezTo>
                  <a:pt x="193" y="98"/>
                  <a:pt x="197" y="88"/>
                  <a:pt x="202" y="81"/>
                </a:cubicBezTo>
                <a:cubicBezTo>
                  <a:pt x="208" y="74"/>
                  <a:pt x="215" y="69"/>
                  <a:pt x="225" y="65"/>
                </a:cubicBezTo>
                <a:cubicBezTo>
                  <a:pt x="235" y="61"/>
                  <a:pt x="247" y="59"/>
                  <a:pt x="260" y="59"/>
                </a:cubicBezTo>
                <a:cubicBezTo>
                  <a:pt x="273" y="59"/>
                  <a:pt x="284" y="60"/>
                  <a:pt x="292" y="64"/>
                </a:cubicBezTo>
                <a:cubicBezTo>
                  <a:pt x="300" y="67"/>
                  <a:pt x="307" y="71"/>
                  <a:pt x="310" y="76"/>
                </a:cubicBezTo>
                <a:cubicBezTo>
                  <a:pt x="314" y="81"/>
                  <a:pt x="317" y="88"/>
                  <a:pt x="319" y="95"/>
                </a:cubicBezTo>
                <a:cubicBezTo>
                  <a:pt x="319" y="100"/>
                  <a:pt x="320" y="109"/>
                  <a:pt x="320" y="121"/>
                </a:cubicBezTo>
                <a:lnTo>
                  <a:pt x="320" y="158"/>
                </a:lnTo>
                <a:cubicBezTo>
                  <a:pt x="320" y="184"/>
                  <a:pt x="320" y="200"/>
                  <a:pt x="321" y="207"/>
                </a:cubicBezTo>
                <a:cubicBezTo>
                  <a:pt x="322" y="214"/>
                  <a:pt x="325" y="221"/>
                  <a:pt x="328" y="227"/>
                </a:cubicBezTo>
                <a:lnTo>
                  <a:pt x="301" y="227"/>
                </a:lnTo>
                <a:cubicBezTo>
                  <a:pt x="298" y="221"/>
                  <a:pt x="296" y="214"/>
                  <a:pt x="296" y="206"/>
                </a:cubicBezTo>
                <a:close/>
                <a:moveTo>
                  <a:pt x="293" y="144"/>
                </a:moveTo>
                <a:cubicBezTo>
                  <a:pt x="284" y="149"/>
                  <a:pt x="270" y="152"/>
                  <a:pt x="251" y="155"/>
                </a:cubicBezTo>
                <a:cubicBezTo>
                  <a:pt x="240" y="157"/>
                  <a:pt x="233" y="158"/>
                  <a:pt x="228" y="161"/>
                </a:cubicBezTo>
                <a:cubicBezTo>
                  <a:pt x="224" y="163"/>
                  <a:pt x="220" y="166"/>
                  <a:pt x="218" y="170"/>
                </a:cubicBezTo>
                <a:cubicBezTo>
                  <a:pt x="215" y="173"/>
                  <a:pt x="214" y="178"/>
                  <a:pt x="214" y="183"/>
                </a:cubicBezTo>
                <a:cubicBezTo>
                  <a:pt x="214" y="190"/>
                  <a:pt x="217" y="196"/>
                  <a:pt x="222" y="201"/>
                </a:cubicBezTo>
                <a:cubicBezTo>
                  <a:pt x="227" y="206"/>
                  <a:pt x="235" y="209"/>
                  <a:pt x="245" y="209"/>
                </a:cubicBezTo>
                <a:cubicBezTo>
                  <a:pt x="255" y="209"/>
                  <a:pt x="264" y="206"/>
                  <a:pt x="272" y="202"/>
                </a:cubicBezTo>
                <a:cubicBezTo>
                  <a:pt x="280" y="197"/>
                  <a:pt x="285" y="191"/>
                  <a:pt x="289" y="182"/>
                </a:cubicBezTo>
                <a:cubicBezTo>
                  <a:pt x="292" y="176"/>
                  <a:pt x="293" y="167"/>
                  <a:pt x="293" y="155"/>
                </a:cubicBezTo>
                <a:lnTo>
                  <a:pt x="293" y="144"/>
                </a:lnTo>
                <a:close/>
                <a:moveTo>
                  <a:pt x="346" y="227"/>
                </a:moveTo>
                <a:lnTo>
                  <a:pt x="346" y="62"/>
                </a:lnTo>
                <a:lnTo>
                  <a:pt x="369" y="62"/>
                </a:lnTo>
                <a:lnTo>
                  <a:pt x="369" y="86"/>
                </a:lnTo>
                <a:cubicBezTo>
                  <a:pt x="381" y="68"/>
                  <a:pt x="397" y="59"/>
                  <a:pt x="418" y="59"/>
                </a:cubicBezTo>
                <a:cubicBezTo>
                  <a:pt x="427" y="59"/>
                  <a:pt x="436" y="61"/>
                  <a:pt x="444" y="64"/>
                </a:cubicBezTo>
                <a:cubicBezTo>
                  <a:pt x="451" y="68"/>
                  <a:pt x="457" y="72"/>
                  <a:pt x="461" y="78"/>
                </a:cubicBezTo>
                <a:cubicBezTo>
                  <a:pt x="465" y="84"/>
                  <a:pt x="468" y="91"/>
                  <a:pt x="469" y="99"/>
                </a:cubicBezTo>
                <a:cubicBezTo>
                  <a:pt x="470" y="104"/>
                  <a:pt x="471" y="113"/>
                  <a:pt x="471" y="126"/>
                </a:cubicBezTo>
                <a:lnTo>
                  <a:pt x="471" y="227"/>
                </a:lnTo>
                <a:lnTo>
                  <a:pt x="444" y="227"/>
                </a:lnTo>
                <a:lnTo>
                  <a:pt x="444" y="127"/>
                </a:lnTo>
                <a:cubicBezTo>
                  <a:pt x="444" y="116"/>
                  <a:pt x="444" y="107"/>
                  <a:pt x="441" y="101"/>
                </a:cubicBezTo>
                <a:cubicBezTo>
                  <a:pt x="439" y="96"/>
                  <a:pt x="436" y="91"/>
                  <a:pt x="431" y="88"/>
                </a:cubicBezTo>
                <a:cubicBezTo>
                  <a:pt x="426" y="85"/>
                  <a:pt x="420" y="83"/>
                  <a:pt x="413" y="83"/>
                </a:cubicBezTo>
                <a:cubicBezTo>
                  <a:pt x="402" y="83"/>
                  <a:pt x="392" y="87"/>
                  <a:pt x="384" y="94"/>
                </a:cubicBezTo>
                <a:cubicBezTo>
                  <a:pt x="376" y="102"/>
                  <a:pt x="372" y="116"/>
                  <a:pt x="372" y="137"/>
                </a:cubicBezTo>
                <a:lnTo>
                  <a:pt x="372" y="227"/>
                </a:lnTo>
                <a:lnTo>
                  <a:pt x="346" y="227"/>
                </a:lnTo>
                <a:close/>
                <a:moveTo>
                  <a:pt x="596" y="227"/>
                </a:moveTo>
                <a:lnTo>
                  <a:pt x="596" y="206"/>
                </a:lnTo>
                <a:cubicBezTo>
                  <a:pt x="586" y="222"/>
                  <a:pt x="572" y="231"/>
                  <a:pt x="553" y="231"/>
                </a:cubicBezTo>
                <a:cubicBezTo>
                  <a:pt x="541" y="231"/>
                  <a:pt x="529" y="227"/>
                  <a:pt x="519" y="220"/>
                </a:cubicBezTo>
                <a:cubicBezTo>
                  <a:pt x="509" y="212"/>
                  <a:pt x="501" y="202"/>
                  <a:pt x="495" y="189"/>
                </a:cubicBezTo>
                <a:cubicBezTo>
                  <a:pt x="490" y="177"/>
                  <a:pt x="487" y="162"/>
                  <a:pt x="487" y="145"/>
                </a:cubicBezTo>
                <a:cubicBezTo>
                  <a:pt x="487" y="128"/>
                  <a:pt x="490" y="114"/>
                  <a:pt x="495" y="100"/>
                </a:cubicBezTo>
                <a:cubicBezTo>
                  <a:pt x="500" y="87"/>
                  <a:pt x="507" y="77"/>
                  <a:pt x="518" y="69"/>
                </a:cubicBezTo>
                <a:cubicBezTo>
                  <a:pt x="528" y="62"/>
                  <a:pt x="539" y="59"/>
                  <a:pt x="552" y="59"/>
                </a:cubicBezTo>
                <a:cubicBezTo>
                  <a:pt x="561" y="59"/>
                  <a:pt x="569" y="61"/>
                  <a:pt x="576" y="65"/>
                </a:cubicBezTo>
                <a:cubicBezTo>
                  <a:pt x="584" y="69"/>
                  <a:pt x="590" y="75"/>
                  <a:pt x="594" y="81"/>
                </a:cubicBezTo>
                <a:lnTo>
                  <a:pt x="594" y="0"/>
                </a:lnTo>
                <a:lnTo>
                  <a:pt x="620" y="0"/>
                </a:lnTo>
                <a:lnTo>
                  <a:pt x="620" y="227"/>
                </a:lnTo>
                <a:lnTo>
                  <a:pt x="596" y="227"/>
                </a:lnTo>
                <a:close/>
                <a:moveTo>
                  <a:pt x="514" y="145"/>
                </a:moveTo>
                <a:cubicBezTo>
                  <a:pt x="514" y="166"/>
                  <a:pt x="518" y="182"/>
                  <a:pt x="526" y="192"/>
                </a:cubicBezTo>
                <a:cubicBezTo>
                  <a:pt x="534" y="202"/>
                  <a:pt x="544" y="208"/>
                  <a:pt x="555" y="208"/>
                </a:cubicBezTo>
                <a:cubicBezTo>
                  <a:pt x="567" y="208"/>
                  <a:pt x="576" y="203"/>
                  <a:pt x="584" y="193"/>
                </a:cubicBezTo>
                <a:cubicBezTo>
                  <a:pt x="592" y="183"/>
                  <a:pt x="596" y="168"/>
                  <a:pt x="596" y="147"/>
                </a:cubicBezTo>
                <a:cubicBezTo>
                  <a:pt x="596" y="125"/>
                  <a:pt x="592" y="108"/>
                  <a:pt x="584" y="98"/>
                </a:cubicBezTo>
                <a:cubicBezTo>
                  <a:pt x="576" y="87"/>
                  <a:pt x="566" y="82"/>
                  <a:pt x="554" y="82"/>
                </a:cubicBezTo>
                <a:cubicBezTo>
                  <a:pt x="543" y="82"/>
                  <a:pt x="533" y="87"/>
                  <a:pt x="525" y="97"/>
                </a:cubicBezTo>
                <a:cubicBezTo>
                  <a:pt x="517" y="107"/>
                  <a:pt x="514" y="123"/>
                  <a:pt x="514" y="145"/>
                </a:cubicBezTo>
                <a:close/>
                <a:moveTo>
                  <a:pt x="637" y="178"/>
                </a:moveTo>
                <a:lnTo>
                  <a:pt x="663" y="173"/>
                </a:lnTo>
                <a:cubicBezTo>
                  <a:pt x="664" y="184"/>
                  <a:pt x="668" y="193"/>
                  <a:pt x="675" y="199"/>
                </a:cubicBezTo>
                <a:cubicBezTo>
                  <a:pt x="682" y="205"/>
                  <a:pt x="691" y="208"/>
                  <a:pt x="703" y="208"/>
                </a:cubicBezTo>
                <a:cubicBezTo>
                  <a:pt x="715" y="208"/>
                  <a:pt x="723" y="205"/>
                  <a:pt x="729" y="200"/>
                </a:cubicBezTo>
                <a:cubicBezTo>
                  <a:pt x="735" y="195"/>
                  <a:pt x="738" y="189"/>
                  <a:pt x="738" y="181"/>
                </a:cubicBezTo>
                <a:cubicBezTo>
                  <a:pt x="738" y="175"/>
                  <a:pt x="735" y="170"/>
                  <a:pt x="730" y="167"/>
                </a:cubicBezTo>
                <a:cubicBezTo>
                  <a:pt x="727" y="164"/>
                  <a:pt x="718" y="161"/>
                  <a:pt x="704" y="157"/>
                </a:cubicBezTo>
                <a:cubicBezTo>
                  <a:pt x="685" y="152"/>
                  <a:pt x="671" y="148"/>
                  <a:pt x="664" y="144"/>
                </a:cubicBezTo>
                <a:cubicBezTo>
                  <a:pt x="657" y="140"/>
                  <a:pt x="651" y="135"/>
                  <a:pt x="647" y="128"/>
                </a:cubicBezTo>
                <a:cubicBezTo>
                  <a:pt x="643" y="122"/>
                  <a:pt x="642" y="114"/>
                  <a:pt x="642" y="106"/>
                </a:cubicBezTo>
                <a:cubicBezTo>
                  <a:pt x="642" y="99"/>
                  <a:pt x="643" y="92"/>
                  <a:pt x="646" y="86"/>
                </a:cubicBezTo>
                <a:cubicBezTo>
                  <a:pt x="649" y="80"/>
                  <a:pt x="654" y="74"/>
                  <a:pt x="659" y="70"/>
                </a:cubicBezTo>
                <a:cubicBezTo>
                  <a:pt x="663" y="67"/>
                  <a:pt x="669" y="64"/>
                  <a:pt x="676" y="62"/>
                </a:cubicBezTo>
                <a:cubicBezTo>
                  <a:pt x="683" y="60"/>
                  <a:pt x="690" y="59"/>
                  <a:pt x="698" y="59"/>
                </a:cubicBezTo>
                <a:cubicBezTo>
                  <a:pt x="710" y="59"/>
                  <a:pt x="721" y="61"/>
                  <a:pt x="730" y="64"/>
                </a:cubicBezTo>
                <a:cubicBezTo>
                  <a:pt x="739" y="68"/>
                  <a:pt x="745" y="73"/>
                  <a:pt x="750" y="80"/>
                </a:cubicBezTo>
                <a:cubicBezTo>
                  <a:pt x="754" y="86"/>
                  <a:pt x="757" y="94"/>
                  <a:pt x="759" y="105"/>
                </a:cubicBezTo>
                <a:lnTo>
                  <a:pt x="733" y="109"/>
                </a:lnTo>
                <a:cubicBezTo>
                  <a:pt x="732" y="100"/>
                  <a:pt x="729" y="94"/>
                  <a:pt x="723" y="89"/>
                </a:cubicBezTo>
                <a:cubicBezTo>
                  <a:pt x="718" y="84"/>
                  <a:pt x="710" y="82"/>
                  <a:pt x="700" y="82"/>
                </a:cubicBezTo>
                <a:cubicBezTo>
                  <a:pt x="688" y="82"/>
                  <a:pt x="679" y="84"/>
                  <a:pt x="674" y="88"/>
                </a:cubicBezTo>
                <a:cubicBezTo>
                  <a:pt x="669" y="92"/>
                  <a:pt x="667" y="97"/>
                  <a:pt x="667" y="103"/>
                </a:cubicBezTo>
                <a:cubicBezTo>
                  <a:pt x="667" y="106"/>
                  <a:pt x="668" y="110"/>
                  <a:pt x="670" y="113"/>
                </a:cubicBezTo>
                <a:cubicBezTo>
                  <a:pt x="672" y="116"/>
                  <a:pt x="675" y="118"/>
                  <a:pt x="680" y="120"/>
                </a:cubicBezTo>
                <a:cubicBezTo>
                  <a:pt x="682" y="121"/>
                  <a:pt x="690" y="123"/>
                  <a:pt x="703" y="127"/>
                </a:cubicBezTo>
                <a:cubicBezTo>
                  <a:pt x="721" y="132"/>
                  <a:pt x="734" y="137"/>
                  <a:pt x="741" y="140"/>
                </a:cubicBezTo>
                <a:cubicBezTo>
                  <a:pt x="748" y="143"/>
                  <a:pt x="754" y="148"/>
                  <a:pt x="758" y="155"/>
                </a:cubicBezTo>
                <a:cubicBezTo>
                  <a:pt x="763" y="161"/>
                  <a:pt x="765" y="169"/>
                  <a:pt x="765" y="179"/>
                </a:cubicBezTo>
                <a:cubicBezTo>
                  <a:pt x="765" y="188"/>
                  <a:pt x="762" y="197"/>
                  <a:pt x="757" y="205"/>
                </a:cubicBezTo>
                <a:cubicBezTo>
                  <a:pt x="752" y="213"/>
                  <a:pt x="745" y="219"/>
                  <a:pt x="735" y="224"/>
                </a:cubicBezTo>
                <a:cubicBezTo>
                  <a:pt x="726" y="228"/>
                  <a:pt x="715" y="231"/>
                  <a:pt x="703" y="231"/>
                </a:cubicBezTo>
                <a:cubicBezTo>
                  <a:pt x="683" y="231"/>
                  <a:pt x="668" y="226"/>
                  <a:pt x="657" y="217"/>
                </a:cubicBezTo>
                <a:cubicBezTo>
                  <a:pt x="647" y="208"/>
                  <a:pt x="640" y="195"/>
                  <a:pt x="637" y="178"/>
                </a:cubicBezTo>
                <a:close/>
                <a:moveTo>
                  <a:pt x="782" y="227"/>
                </a:moveTo>
                <a:lnTo>
                  <a:pt x="782" y="0"/>
                </a:lnTo>
                <a:lnTo>
                  <a:pt x="808" y="0"/>
                </a:lnTo>
                <a:lnTo>
                  <a:pt x="808" y="82"/>
                </a:lnTo>
                <a:cubicBezTo>
                  <a:pt x="820" y="66"/>
                  <a:pt x="835" y="59"/>
                  <a:pt x="853" y="59"/>
                </a:cubicBezTo>
                <a:cubicBezTo>
                  <a:pt x="865" y="59"/>
                  <a:pt x="874" y="61"/>
                  <a:pt x="883" y="66"/>
                </a:cubicBezTo>
                <a:cubicBezTo>
                  <a:pt x="891" y="71"/>
                  <a:pt x="897" y="77"/>
                  <a:pt x="901" y="86"/>
                </a:cubicBezTo>
                <a:cubicBezTo>
                  <a:pt x="904" y="94"/>
                  <a:pt x="906" y="107"/>
                  <a:pt x="906" y="123"/>
                </a:cubicBezTo>
                <a:lnTo>
                  <a:pt x="906" y="227"/>
                </a:lnTo>
                <a:lnTo>
                  <a:pt x="880" y="227"/>
                </a:lnTo>
                <a:lnTo>
                  <a:pt x="880" y="123"/>
                </a:lnTo>
                <a:cubicBezTo>
                  <a:pt x="880" y="109"/>
                  <a:pt x="877" y="99"/>
                  <a:pt x="872" y="92"/>
                </a:cubicBezTo>
                <a:cubicBezTo>
                  <a:pt x="866" y="86"/>
                  <a:pt x="858" y="83"/>
                  <a:pt x="848" y="83"/>
                </a:cubicBezTo>
                <a:cubicBezTo>
                  <a:pt x="840" y="83"/>
                  <a:pt x="833" y="85"/>
                  <a:pt x="826" y="89"/>
                </a:cubicBezTo>
                <a:cubicBezTo>
                  <a:pt x="820" y="94"/>
                  <a:pt x="815" y="99"/>
                  <a:pt x="812" y="107"/>
                </a:cubicBezTo>
                <a:cubicBezTo>
                  <a:pt x="809" y="114"/>
                  <a:pt x="808" y="124"/>
                  <a:pt x="808" y="137"/>
                </a:cubicBezTo>
                <a:lnTo>
                  <a:pt x="808" y="227"/>
                </a:lnTo>
                <a:lnTo>
                  <a:pt x="782" y="227"/>
                </a:lnTo>
                <a:close/>
                <a:moveTo>
                  <a:pt x="1033" y="206"/>
                </a:moveTo>
                <a:cubicBezTo>
                  <a:pt x="1023" y="215"/>
                  <a:pt x="1014" y="221"/>
                  <a:pt x="1005" y="225"/>
                </a:cubicBezTo>
                <a:cubicBezTo>
                  <a:pt x="996" y="229"/>
                  <a:pt x="986" y="231"/>
                  <a:pt x="976" y="231"/>
                </a:cubicBezTo>
                <a:cubicBezTo>
                  <a:pt x="959" y="231"/>
                  <a:pt x="946" y="226"/>
                  <a:pt x="937" y="217"/>
                </a:cubicBezTo>
                <a:cubicBezTo>
                  <a:pt x="928" y="209"/>
                  <a:pt x="923" y="197"/>
                  <a:pt x="923" y="184"/>
                </a:cubicBezTo>
                <a:cubicBezTo>
                  <a:pt x="923" y="176"/>
                  <a:pt x="925" y="168"/>
                  <a:pt x="929" y="161"/>
                </a:cubicBezTo>
                <a:cubicBezTo>
                  <a:pt x="932" y="155"/>
                  <a:pt x="937" y="150"/>
                  <a:pt x="942" y="146"/>
                </a:cubicBezTo>
                <a:cubicBezTo>
                  <a:pt x="948" y="141"/>
                  <a:pt x="954" y="138"/>
                  <a:pt x="961" y="136"/>
                </a:cubicBezTo>
                <a:cubicBezTo>
                  <a:pt x="966" y="135"/>
                  <a:pt x="974" y="134"/>
                  <a:pt x="984" y="132"/>
                </a:cubicBezTo>
                <a:cubicBezTo>
                  <a:pt x="1005" y="130"/>
                  <a:pt x="1020" y="126"/>
                  <a:pt x="1030" y="123"/>
                </a:cubicBezTo>
                <a:cubicBezTo>
                  <a:pt x="1030" y="119"/>
                  <a:pt x="1031" y="116"/>
                  <a:pt x="1031" y="115"/>
                </a:cubicBezTo>
                <a:cubicBezTo>
                  <a:pt x="1031" y="104"/>
                  <a:pt x="1028" y="96"/>
                  <a:pt x="1023" y="91"/>
                </a:cubicBezTo>
                <a:cubicBezTo>
                  <a:pt x="1016" y="85"/>
                  <a:pt x="1007" y="82"/>
                  <a:pt x="993" y="82"/>
                </a:cubicBezTo>
                <a:cubicBezTo>
                  <a:pt x="981" y="82"/>
                  <a:pt x="972" y="84"/>
                  <a:pt x="966" y="89"/>
                </a:cubicBezTo>
                <a:cubicBezTo>
                  <a:pt x="960" y="93"/>
                  <a:pt x="956" y="102"/>
                  <a:pt x="953" y="113"/>
                </a:cubicBezTo>
                <a:lnTo>
                  <a:pt x="928" y="110"/>
                </a:lnTo>
                <a:cubicBezTo>
                  <a:pt x="930" y="98"/>
                  <a:pt x="934" y="88"/>
                  <a:pt x="939" y="81"/>
                </a:cubicBezTo>
                <a:cubicBezTo>
                  <a:pt x="945" y="74"/>
                  <a:pt x="952" y="69"/>
                  <a:pt x="962" y="65"/>
                </a:cubicBezTo>
                <a:cubicBezTo>
                  <a:pt x="972" y="61"/>
                  <a:pt x="984" y="59"/>
                  <a:pt x="997" y="59"/>
                </a:cubicBezTo>
                <a:cubicBezTo>
                  <a:pt x="1010" y="59"/>
                  <a:pt x="1021" y="60"/>
                  <a:pt x="1029" y="64"/>
                </a:cubicBezTo>
                <a:cubicBezTo>
                  <a:pt x="1038" y="67"/>
                  <a:pt x="1044" y="71"/>
                  <a:pt x="1047" y="76"/>
                </a:cubicBezTo>
                <a:cubicBezTo>
                  <a:pt x="1051" y="81"/>
                  <a:pt x="1054" y="88"/>
                  <a:pt x="1056" y="95"/>
                </a:cubicBezTo>
                <a:cubicBezTo>
                  <a:pt x="1056" y="100"/>
                  <a:pt x="1057" y="109"/>
                  <a:pt x="1057" y="121"/>
                </a:cubicBezTo>
                <a:lnTo>
                  <a:pt x="1057" y="158"/>
                </a:lnTo>
                <a:cubicBezTo>
                  <a:pt x="1057" y="184"/>
                  <a:pt x="1057" y="200"/>
                  <a:pt x="1058" y="207"/>
                </a:cubicBezTo>
                <a:cubicBezTo>
                  <a:pt x="1060" y="214"/>
                  <a:pt x="1062" y="221"/>
                  <a:pt x="1065" y="227"/>
                </a:cubicBezTo>
                <a:lnTo>
                  <a:pt x="1038" y="227"/>
                </a:lnTo>
                <a:cubicBezTo>
                  <a:pt x="1035" y="221"/>
                  <a:pt x="1033" y="214"/>
                  <a:pt x="1033" y="206"/>
                </a:cubicBezTo>
                <a:close/>
                <a:moveTo>
                  <a:pt x="1031" y="144"/>
                </a:moveTo>
                <a:cubicBezTo>
                  <a:pt x="1021" y="149"/>
                  <a:pt x="1007" y="152"/>
                  <a:pt x="988" y="155"/>
                </a:cubicBezTo>
                <a:cubicBezTo>
                  <a:pt x="977" y="157"/>
                  <a:pt x="970" y="158"/>
                  <a:pt x="965" y="161"/>
                </a:cubicBezTo>
                <a:cubicBezTo>
                  <a:pt x="961" y="163"/>
                  <a:pt x="957" y="166"/>
                  <a:pt x="955" y="170"/>
                </a:cubicBezTo>
                <a:cubicBezTo>
                  <a:pt x="952" y="173"/>
                  <a:pt x="951" y="178"/>
                  <a:pt x="951" y="183"/>
                </a:cubicBezTo>
                <a:cubicBezTo>
                  <a:pt x="951" y="190"/>
                  <a:pt x="954" y="196"/>
                  <a:pt x="959" y="201"/>
                </a:cubicBezTo>
                <a:cubicBezTo>
                  <a:pt x="964" y="206"/>
                  <a:pt x="972" y="209"/>
                  <a:pt x="982" y="209"/>
                </a:cubicBezTo>
                <a:cubicBezTo>
                  <a:pt x="992" y="209"/>
                  <a:pt x="1001" y="206"/>
                  <a:pt x="1009" y="202"/>
                </a:cubicBezTo>
                <a:cubicBezTo>
                  <a:pt x="1017" y="197"/>
                  <a:pt x="1023" y="191"/>
                  <a:pt x="1026" y="182"/>
                </a:cubicBezTo>
                <a:cubicBezTo>
                  <a:pt x="1029" y="176"/>
                  <a:pt x="1030" y="167"/>
                  <a:pt x="1030" y="155"/>
                </a:cubicBezTo>
                <a:lnTo>
                  <a:pt x="1031" y="144"/>
                </a:lnTo>
                <a:close/>
                <a:moveTo>
                  <a:pt x="1083" y="227"/>
                </a:moveTo>
                <a:lnTo>
                  <a:pt x="1083" y="0"/>
                </a:lnTo>
                <a:lnTo>
                  <a:pt x="1109" y="0"/>
                </a:lnTo>
                <a:lnTo>
                  <a:pt x="1109" y="129"/>
                </a:lnTo>
                <a:lnTo>
                  <a:pt x="1171" y="62"/>
                </a:lnTo>
                <a:lnTo>
                  <a:pt x="1204" y="62"/>
                </a:lnTo>
                <a:lnTo>
                  <a:pt x="1146" y="123"/>
                </a:lnTo>
                <a:lnTo>
                  <a:pt x="1210" y="227"/>
                </a:lnTo>
                <a:lnTo>
                  <a:pt x="1178" y="227"/>
                </a:lnTo>
                <a:lnTo>
                  <a:pt x="1127" y="143"/>
                </a:lnTo>
                <a:lnTo>
                  <a:pt x="1109" y="162"/>
                </a:lnTo>
                <a:lnTo>
                  <a:pt x="1109" y="227"/>
                </a:lnTo>
                <a:lnTo>
                  <a:pt x="1083" y="227"/>
                </a:lnTo>
                <a:close/>
                <a:moveTo>
                  <a:pt x="1316" y="174"/>
                </a:moveTo>
                <a:lnTo>
                  <a:pt x="1343" y="178"/>
                </a:lnTo>
                <a:cubicBezTo>
                  <a:pt x="1339" y="194"/>
                  <a:pt x="1331" y="207"/>
                  <a:pt x="1319" y="217"/>
                </a:cubicBezTo>
                <a:cubicBezTo>
                  <a:pt x="1308" y="226"/>
                  <a:pt x="1293" y="231"/>
                  <a:pt x="1276" y="231"/>
                </a:cubicBezTo>
                <a:cubicBezTo>
                  <a:pt x="1253" y="231"/>
                  <a:pt x="1235" y="223"/>
                  <a:pt x="1222" y="208"/>
                </a:cubicBezTo>
                <a:cubicBezTo>
                  <a:pt x="1209" y="194"/>
                  <a:pt x="1203" y="173"/>
                  <a:pt x="1203" y="146"/>
                </a:cubicBezTo>
                <a:cubicBezTo>
                  <a:pt x="1203" y="118"/>
                  <a:pt x="1209" y="97"/>
                  <a:pt x="1223" y="82"/>
                </a:cubicBezTo>
                <a:cubicBezTo>
                  <a:pt x="1236" y="66"/>
                  <a:pt x="1253" y="59"/>
                  <a:pt x="1274" y="59"/>
                </a:cubicBezTo>
                <a:cubicBezTo>
                  <a:pt x="1295" y="59"/>
                  <a:pt x="1311" y="66"/>
                  <a:pt x="1324" y="81"/>
                </a:cubicBezTo>
                <a:cubicBezTo>
                  <a:pt x="1337" y="96"/>
                  <a:pt x="1344" y="117"/>
                  <a:pt x="1344" y="144"/>
                </a:cubicBezTo>
                <a:cubicBezTo>
                  <a:pt x="1344" y="146"/>
                  <a:pt x="1344" y="149"/>
                  <a:pt x="1344" y="152"/>
                </a:cubicBezTo>
                <a:lnTo>
                  <a:pt x="1229" y="152"/>
                </a:lnTo>
                <a:cubicBezTo>
                  <a:pt x="1230" y="170"/>
                  <a:pt x="1235" y="184"/>
                  <a:pt x="1244" y="193"/>
                </a:cubicBezTo>
                <a:cubicBezTo>
                  <a:pt x="1252" y="203"/>
                  <a:pt x="1263" y="208"/>
                  <a:pt x="1276" y="208"/>
                </a:cubicBezTo>
                <a:cubicBezTo>
                  <a:pt x="1285" y="208"/>
                  <a:pt x="1293" y="205"/>
                  <a:pt x="1300" y="200"/>
                </a:cubicBezTo>
                <a:cubicBezTo>
                  <a:pt x="1307" y="194"/>
                  <a:pt x="1312" y="186"/>
                  <a:pt x="1316" y="174"/>
                </a:cubicBezTo>
                <a:close/>
                <a:moveTo>
                  <a:pt x="1231" y="129"/>
                </a:moveTo>
                <a:lnTo>
                  <a:pt x="1316" y="129"/>
                </a:lnTo>
                <a:cubicBezTo>
                  <a:pt x="1315" y="115"/>
                  <a:pt x="1312" y="105"/>
                  <a:pt x="1306" y="98"/>
                </a:cubicBezTo>
                <a:cubicBezTo>
                  <a:pt x="1298" y="87"/>
                  <a:pt x="1287" y="82"/>
                  <a:pt x="1274" y="82"/>
                </a:cubicBezTo>
                <a:cubicBezTo>
                  <a:pt x="1262" y="82"/>
                  <a:pt x="1252" y="86"/>
                  <a:pt x="1244" y="94"/>
                </a:cubicBezTo>
                <a:cubicBezTo>
                  <a:pt x="1236" y="103"/>
                  <a:pt x="1232" y="115"/>
                  <a:pt x="1231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2" name="Freeform 82">
            <a:extLst>
              <a:ext uri="{FF2B5EF4-FFF2-40B4-BE49-F238E27FC236}">
                <a16:creationId xmlns:a16="http://schemas.microsoft.com/office/drawing/2014/main" id="{14549225-D389-42EC-9C97-1CBC97961C4B}"/>
              </a:ext>
            </a:extLst>
          </p:cNvPr>
          <p:cNvSpPr>
            <a:spLocks noEditPoints="1"/>
          </p:cNvSpPr>
          <p:nvPr/>
        </p:nvSpPr>
        <p:spPr bwMode="auto">
          <a:xfrm>
            <a:off x="3462338" y="5065713"/>
            <a:ext cx="525463" cy="104775"/>
          </a:xfrm>
          <a:custGeom>
            <a:avLst/>
            <a:gdLst>
              <a:gd name="T0" fmla="*/ 89 w 1459"/>
              <a:gd name="T1" fmla="*/ 208 h 294"/>
              <a:gd name="T2" fmla="*/ 116 w 1459"/>
              <a:gd name="T3" fmla="*/ 137 h 294"/>
              <a:gd name="T4" fmla="*/ 17 w 1459"/>
              <a:gd name="T5" fmla="*/ 30 h 294"/>
              <a:gd name="T6" fmla="*/ 162 w 1459"/>
              <a:gd name="T7" fmla="*/ 68 h 294"/>
              <a:gd name="T8" fmla="*/ 35 w 1459"/>
              <a:gd name="T9" fmla="*/ 61 h 294"/>
              <a:gd name="T10" fmla="*/ 168 w 1459"/>
              <a:gd name="T11" fmla="*/ 167 h 294"/>
              <a:gd name="T12" fmla="*/ 12 w 1459"/>
              <a:gd name="T13" fmla="*/ 199 h 294"/>
              <a:gd name="T14" fmla="*/ 208 w 1459"/>
              <a:gd name="T15" fmla="*/ 228 h 294"/>
              <a:gd name="T16" fmla="*/ 175 w 1459"/>
              <a:gd name="T17" fmla="*/ 66 h 294"/>
              <a:gd name="T18" fmla="*/ 246 w 1459"/>
              <a:gd name="T19" fmla="*/ 66 h 294"/>
              <a:gd name="T20" fmla="*/ 226 w 1459"/>
              <a:gd name="T21" fmla="*/ 205 h 294"/>
              <a:gd name="T22" fmla="*/ 366 w 1459"/>
              <a:gd name="T23" fmla="*/ 221 h 294"/>
              <a:gd name="T24" fmla="*/ 321 w 1459"/>
              <a:gd name="T25" fmla="*/ 63 h 294"/>
              <a:gd name="T26" fmla="*/ 290 w 1459"/>
              <a:gd name="T27" fmla="*/ 197 h 294"/>
              <a:gd name="T28" fmla="*/ 363 w 1459"/>
              <a:gd name="T29" fmla="*/ 133 h 294"/>
              <a:gd name="T30" fmla="*/ 435 w 1459"/>
              <a:gd name="T31" fmla="*/ 231 h 294"/>
              <a:gd name="T32" fmla="*/ 457 w 1459"/>
              <a:gd name="T33" fmla="*/ 163 h 294"/>
              <a:gd name="T34" fmla="*/ 547 w 1459"/>
              <a:gd name="T35" fmla="*/ 162 h 294"/>
              <a:gd name="T36" fmla="*/ 499 w 1459"/>
              <a:gd name="T37" fmla="*/ 132 h 294"/>
              <a:gd name="T38" fmla="*/ 679 w 1459"/>
              <a:gd name="T39" fmla="*/ 229 h 294"/>
              <a:gd name="T40" fmla="*/ 617 w 1459"/>
              <a:gd name="T41" fmla="*/ 150 h 294"/>
              <a:gd name="T42" fmla="*/ 698 w 1459"/>
              <a:gd name="T43" fmla="*/ 95 h 294"/>
              <a:gd name="T44" fmla="*/ 614 w 1459"/>
              <a:gd name="T45" fmla="*/ 85 h 294"/>
              <a:gd name="T46" fmla="*/ 730 w 1459"/>
              <a:gd name="T47" fmla="*/ 99 h 294"/>
              <a:gd name="T48" fmla="*/ 712 w 1459"/>
              <a:gd name="T49" fmla="*/ 231 h 294"/>
              <a:gd name="T50" fmla="*/ 629 w 1459"/>
              <a:gd name="T51" fmla="*/ 174 h 294"/>
              <a:gd name="T52" fmla="*/ 701 w 1459"/>
              <a:gd name="T53" fmla="*/ 186 h 294"/>
              <a:gd name="T54" fmla="*/ 781 w 1459"/>
              <a:gd name="T55" fmla="*/ 66 h 294"/>
              <a:gd name="T56" fmla="*/ 831 w 1459"/>
              <a:gd name="T57" fmla="*/ 97 h 294"/>
              <a:gd name="T58" fmla="*/ 783 w 1459"/>
              <a:gd name="T59" fmla="*/ 231 h 294"/>
              <a:gd name="T60" fmla="*/ 860 w 1459"/>
              <a:gd name="T61" fmla="*/ 224 h 294"/>
              <a:gd name="T62" fmla="*/ 893 w 1459"/>
              <a:gd name="T63" fmla="*/ 63 h 294"/>
              <a:gd name="T64" fmla="*/ 961 w 1459"/>
              <a:gd name="T65" fmla="*/ 231 h 294"/>
              <a:gd name="T66" fmla="*/ 926 w 1459"/>
              <a:gd name="T67" fmla="*/ 197 h 294"/>
              <a:gd name="T68" fmla="*/ 855 w 1459"/>
              <a:gd name="T69" fmla="*/ 149 h 294"/>
              <a:gd name="T70" fmla="*/ 1070 w 1459"/>
              <a:gd name="T71" fmla="*/ 204 h 294"/>
              <a:gd name="T72" fmla="*/ 988 w 1459"/>
              <a:gd name="T73" fmla="*/ 132 h 294"/>
              <a:gd name="T74" fmla="*/ 1039 w 1459"/>
              <a:gd name="T75" fmla="*/ 63 h 294"/>
              <a:gd name="T76" fmla="*/ 1064 w 1459"/>
              <a:gd name="T77" fmla="*/ 93 h 294"/>
              <a:gd name="T78" fmla="*/ 1021 w 1459"/>
              <a:gd name="T79" fmla="*/ 124 h 294"/>
              <a:gd name="T80" fmla="*/ 1098 w 1459"/>
              <a:gd name="T81" fmla="*/ 209 h 294"/>
              <a:gd name="T82" fmla="*/ 1123 w 1459"/>
              <a:gd name="T83" fmla="*/ 231 h 294"/>
              <a:gd name="T84" fmla="*/ 1224 w 1459"/>
              <a:gd name="T85" fmla="*/ 70 h 294"/>
              <a:gd name="T86" fmla="*/ 1221 w 1459"/>
              <a:gd name="T87" fmla="*/ 127 h 294"/>
              <a:gd name="T88" fmla="*/ 1149 w 1459"/>
              <a:gd name="T89" fmla="*/ 141 h 294"/>
              <a:gd name="T90" fmla="*/ 1300 w 1459"/>
              <a:gd name="T91" fmla="*/ 4 h 294"/>
              <a:gd name="T92" fmla="*/ 1300 w 1459"/>
              <a:gd name="T93" fmla="*/ 66 h 294"/>
              <a:gd name="T94" fmla="*/ 1349 w 1459"/>
              <a:gd name="T95" fmla="*/ 66 h 294"/>
              <a:gd name="T96" fmla="*/ 1451 w 1459"/>
              <a:gd name="T97" fmla="*/ 104 h 294"/>
              <a:gd name="T98" fmla="*/ 1368 w 1459"/>
              <a:gd name="T99" fmla="*/ 229 h 294"/>
              <a:gd name="T100" fmla="*/ 1361 w 1459"/>
              <a:gd name="T101" fmla="*/ 196 h 294"/>
              <a:gd name="T102" fmla="*/ 1391 w 1459"/>
              <a:gd name="T103" fmla="*/ 85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59" h="294">
                <a:moveTo>
                  <a:pt x="0" y="158"/>
                </a:moveTo>
                <a:lnTo>
                  <a:pt x="26" y="155"/>
                </a:lnTo>
                <a:cubicBezTo>
                  <a:pt x="27" y="167"/>
                  <a:pt x="30" y="176"/>
                  <a:pt x="35" y="184"/>
                </a:cubicBezTo>
                <a:cubicBezTo>
                  <a:pt x="40" y="191"/>
                  <a:pt x="47" y="197"/>
                  <a:pt x="56" y="201"/>
                </a:cubicBezTo>
                <a:cubicBezTo>
                  <a:pt x="66" y="206"/>
                  <a:pt x="77" y="208"/>
                  <a:pt x="89" y="208"/>
                </a:cubicBezTo>
                <a:cubicBezTo>
                  <a:pt x="99" y="208"/>
                  <a:pt x="109" y="206"/>
                  <a:pt x="117" y="203"/>
                </a:cubicBezTo>
                <a:cubicBezTo>
                  <a:pt x="125" y="200"/>
                  <a:pt x="131" y="195"/>
                  <a:pt x="135" y="189"/>
                </a:cubicBezTo>
                <a:cubicBezTo>
                  <a:pt x="139" y="183"/>
                  <a:pt x="141" y="176"/>
                  <a:pt x="141" y="169"/>
                </a:cubicBezTo>
                <a:cubicBezTo>
                  <a:pt x="141" y="162"/>
                  <a:pt x="139" y="156"/>
                  <a:pt x="136" y="151"/>
                </a:cubicBezTo>
                <a:cubicBezTo>
                  <a:pt x="132" y="146"/>
                  <a:pt x="125" y="141"/>
                  <a:pt x="116" y="137"/>
                </a:cubicBezTo>
                <a:cubicBezTo>
                  <a:pt x="111" y="135"/>
                  <a:pt x="98" y="131"/>
                  <a:pt x="79" y="126"/>
                </a:cubicBezTo>
                <a:cubicBezTo>
                  <a:pt x="59" y="121"/>
                  <a:pt x="46" y="117"/>
                  <a:pt x="38" y="112"/>
                </a:cubicBezTo>
                <a:cubicBezTo>
                  <a:pt x="28" y="106"/>
                  <a:pt x="20" y="99"/>
                  <a:pt x="15" y="91"/>
                </a:cubicBezTo>
                <a:cubicBezTo>
                  <a:pt x="10" y="83"/>
                  <a:pt x="8" y="73"/>
                  <a:pt x="8" y="63"/>
                </a:cubicBezTo>
                <a:cubicBezTo>
                  <a:pt x="8" y="51"/>
                  <a:pt x="11" y="40"/>
                  <a:pt x="17" y="30"/>
                </a:cubicBezTo>
                <a:cubicBezTo>
                  <a:pt x="23" y="20"/>
                  <a:pt x="32" y="13"/>
                  <a:pt x="44" y="8"/>
                </a:cubicBezTo>
                <a:cubicBezTo>
                  <a:pt x="55" y="2"/>
                  <a:pt x="68" y="0"/>
                  <a:pt x="82" y="0"/>
                </a:cubicBezTo>
                <a:cubicBezTo>
                  <a:pt x="98" y="0"/>
                  <a:pt x="112" y="3"/>
                  <a:pt x="124" y="8"/>
                </a:cubicBezTo>
                <a:cubicBezTo>
                  <a:pt x="136" y="13"/>
                  <a:pt x="145" y="21"/>
                  <a:pt x="152" y="32"/>
                </a:cubicBezTo>
                <a:cubicBezTo>
                  <a:pt x="158" y="43"/>
                  <a:pt x="161" y="55"/>
                  <a:pt x="162" y="68"/>
                </a:cubicBezTo>
                <a:lnTo>
                  <a:pt x="135" y="70"/>
                </a:lnTo>
                <a:cubicBezTo>
                  <a:pt x="134" y="56"/>
                  <a:pt x="129" y="45"/>
                  <a:pt x="120" y="38"/>
                </a:cubicBezTo>
                <a:cubicBezTo>
                  <a:pt x="112" y="30"/>
                  <a:pt x="100" y="27"/>
                  <a:pt x="83" y="27"/>
                </a:cubicBezTo>
                <a:cubicBezTo>
                  <a:pt x="67" y="27"/>
                  <a:pt x="54" y="30"/>
                  <a:pt x="46" y="37"/>
                </a:cubicBezTo>
                <a:cubicBezTo>
                  <a:pt x="39" y="43"/>
                  <a:pt x="35" y="51"/>
                  <a:pt x="35" y="61"/>
                </a:cubicBezTo>
                <a:cubicBezTo>
                  <a:pt x="35" y="69"/>
                  <a:pt x="38" y="76"/>
                  <a:pt x="43" y="81"/>
                </a:cubicBezTo>
                <a:cubicBezTo>
                  <a:pt x="48" y="86"/>
                  <a:pt x="62" y="92"/>
                  <a:pt x="85" y="97"/>
                </a:cubicBezTo>
                <a:cubicBezTo>
                  <a:pt x="108" y="103"/>
                  <a:pt x="124" y="107"/>
                  <a:pt x="132" y="112"/>
                </a:cubicBezTo>
                <a:cubicBezTo>
                  <a:pt x="144" y="118"/>
                  <a:pt x="154" y="125"/>
                  <a:pt x="159" y="135"/>
                </a:cubicBezTo>
                <a:cubicBezTo>
                  <a:pt x="165" y="144"/>
                  <a:pt x="168" y="155"/>
                  <a:pt x="168" y="167"/>
                </a:cubicBezTo>
                <a:cubicBezTo>
                  <a:pt x="168" y="179"/>
                  <a:pt x="165" y="190"/>
                  <a:pt x="159" y="201"/>
                </a:cubicBezTo>
                <a:cubicBezTo>
                  <a:pt x="152" y="212"/>
                  <a:pt x="143" y="220"/>
                  <a:pt x="131" y="226"/>
                </a:cubicBezTo>
                <a:cubicBezTo>
                  <a:pt x="119" y="232"/>
                  <a:pt x="105" y="235"/>
                  <a:pt x="90" y="235"/>
                </a:cubicBezTo>
                <a:cubicBezTo>
                  <a:pt x="71" y="235"/>
                  <a:pt x="55" y="232"/>
                  <a:pt x="42" y="226"/>
                </a:cubicBezTo>
                <a:cubicBezTo>
                  <a:pt x="29" y="220"/>
                  <a:pt x="19" y="211"/>
                  <a:pt x="12" y="199"/>
                </a:cubicBezTo>
                <a:cubicBezTo>
                  <a:pt x="4" y="187"/>
                  <a:pt x="0" y="173"/>
                  <a:pt x="0" y="158"/>
                </a:cubicBezTo>
                <a:close/>
                <a:moveTo>
                  <a:pt x="246" y="206"/>
                </a:moveTo>
                <a:lnTo>
                  <a:pt x="249" y="231"/>
                </a:lnTo>
                <a:cubicBezTo>
                  <a:pt x="242" y="232"/>
                  <a:pt x="236" y="233"/>
                  <a:pt x="230" y="233"/>
                </a:cubicBezTo>
                <a:cubicBezTo>
                  <a:pt x="220" y="233"/>
                  <a:pt x="213" y="232"/>
                  <a:pt x="208" y="228"/>
                </a:cubicBezTo>
                <a:cubicBezTo>
                  <a:pt x="203" y="225"/>
                  <a:pt x="199" y="221"/>
                  <a:pt x="197" y="216"/>
                </a:cubicBezTo>
                <a:cubicBezTo>
                  <a:pt x="195" y="211"/>
                  <a:pt x="194" y="200"/>
                  <a:pt x="194" y="183"/>
                </a:cubicBezTo>
                <a:lnTo>
                  <a:pt x="194" y="88"/>
                </a:lnTo>
                <a:lnTo>
                  <a:pt x="175" y="88"/>
                </a:lnTo>
                <a:lnTo>
                  <a:pt x="175" y="66"/>
                </a:lnTo>
                <a:lnTo>
                  <a:pt x="194" y="66"/>
                </a:lnTo>
                <a:lnTo>
                  <a:pt x="194" y="26"/>
                </a:lnTo>
                <a:lnTo>
                  <a:pt x="220" y="9"/>
                </a:lnTo>
                <a:lnTo>
                  <a:pt x="220" y="66"/>
                </a:lnTo>
                <a:lnTo>
                  <a:pt x="246" y="66"/>
                </a:lnTo>
                <a:lnTo>
                  <a:pt x="246" y="88"/>
                </a:lnTo>
                <a:lnTo>
                  <a:pt x="220" y="88"/>
                </a:lnTo>
                <a:lnTo>
                  <a:pt x="220" y="184"/>
                </a:lnTo>
                <a:cubicBezTo>
                  <a:pt x="220" y="192"/>
                  <a:pt x="220" y="197"/>
                  <a:pt x="221" y="200"/>
                </a:cubicBezTo>
                <a:cubicBezTo>
                  <a:pt x="222" y="202"/>
                  <a:pt x="224" y="204"/>
                  <a:pt x="226" y="205"/>
                </a:cubicBezTo>
                <a:cubicBezTo>
                  <a:pt x="228" y="207"/>
                  <a:pt x="231" y="207"/>
                  <a:pt x="234" y="207"/>
                </a:cubicBezTo>
                <a:cubicBezTo>
                  <a:pt x="237" y="207"/>
                  <a:pt x="241" y="207"/>
                  <a:pt x="246" y="206"/>
                </a:cubicBezTo>
                <a:close/>
                <a:moveTo>
                  <a:pt x="362" y="178"/>
                </a:moveTo>
                <a:lnTo>
                  <a:pt x="389" y="182"/>
                </a:lnTo>
                <a:cubicBezTo>
                  <a:pt x="385" y="198"/>
                  <a:pt x="377" y="211"/>
                  <a:pt x="366" y="221"/>
                </a:cubicBezTo>
                <a:cubicBezTo>
                  <a:pt x="354" y="230"/>
                  <a:pt x="340" y="235"/>
                  <a:pt x="322" y="235"/>
                </a:cubicBezTo>
                <a:cubicBezTo>
                  <a:pt x="300" y="235"/>
                  <a:pt x="282" y="227"/>
                  <a:pt x="269" y="212"/>
                </a:cubicBezTo>
                <a:cubicBezTo>
                  <a:pt x="256" y="198"/>
                  <a:pt x="249" y="177"/>
                  <a:pt x="249" y="150"/>
                </a:cubicBezTo>
                <a:cubicBezTo>
                  <a:pt x="249" y="122"/>
                  <a:pt x="256" y="101"/>
                  <a:pt x="269" y="86"/>
                </a:cubicBezTo>
                <a:cubicBezTo>
                  <a:pt x="282" y="70"/>
                  <a:pt x="299" y="63"/>
                  <a:pt x="321" y="63"/>
                </a:cubicBezTo>
                <a:cubicBezTo>
                  <a:pt x="341" y="63"/>
                  <a:pt x="358" y="70"/>
                  <a:pt x="371" y="85"/>
                </a:cubicBezTo>
                <a:cubicBezTo>
                  <a:pt x="384" y="100"/>
                  <a:pt x="390" y="121"/>
                  <a:pt x="390" y="148"/>
                </a:cubicBezTo>
                <a:cubicBezTo>
                  <a:pt x="390" y="150"/>
                  <a:pt x="390" y="153"/>
                  <a:pt x="390" y="156"/>
                </a:cubicBezTo>
                <a:lnTo>
                  <a:pt x="276" y="156"/>
                </a:lnTo>
                <a:cubicBezTo>
                  <a:pt x="277" y="174"/>
                  <a:pt x="281" y="188"/>
                  <a:pt x="290" y="197"/>
                </a:cubicBezTo>
                <a:cubicBezTo>
                  <a:pt x="299" y="207"/>
                  <a:pt x="309" y="212"/>
                  <a:pt x="322" y="212"/>
                </a:cubicBezTo>
                <a:cubicBezTo>
                  <a:pt x="332" y="212"/>
                  <a:pt x="340" y="209"/>
                  <a:pt x="346" y="204"/>
                </a:cubicBezTo>
                <a:cubicBezTo>
                  <a:pt x="353" y="198"/>
                  <a:pt x="358" y="190"/>
                  <a:pt x="362" y="178"/>
                </a:cubicBezTo>
                <a:close/>
                <a:moveTo>
                  <a:pt x="277" y="133"/>
                </a:moveTo>
                <a:lnTo>
                  <a:pt x="363" y="133"/>
                </a:lnTo>
                <a:cubicBezTo>
                  <a:pt x="362" y="119"/>
                  <a:pt x="358" y="109"/>
                  <a:pt x="353" y="102"/>
                </a:cubicBezTo>
                <a:cubicBezTo>
                  <a:pt x="345" y="91"/>
                  <a:pt x="334" y="86"/>
                  <a:pt x="321" y="86"/>
                </a:cubicBezTo>
                <a:cubicBezTo>
                  <a:pt x="309" y="86"/>
                  <a:pt x="299" y="90"/>
                  <a:pt x="291" y="98"/>
                </a:cubicBezTo>
                <a:cubicBezTo>
                  <a:pt x="283" y="107"/>
                  <a:pt x="278" y="119"/>
                  <a:pt x="277" y="133"/>
                </a:cubicBezTo>
                <a:close/>
                <a:moveTo>
                  <a:pt x="435" y="231"/>
                </a:moveTo>
                <a:lnTo>
                  <a:pt x="388" y="66"/>
                </a:lnTo>
                <a:lnTo>
                  <a:pt x="415" y="66"/>
                </a:lnTo>
                <a:lnTo>
                  <a:pt x="440" y="161"/>
                </a:lnTo>
                <a:lnTo>
                  <a:pt x="449" y="197"/>
                </a:lnTo>
                <a:cubicBezTo>
                  <a:pt x="449" y="195"/>
                  <a:pt x="452" y="184"/>
                  <a:pt x="457" y="163"/>
                </a:cubicBezTo>
                <a:lnTo>
                  <a:pt x="481" y="66"/>
                </a:lnTo>
                <a:lnTo>
                  <a:pt x="508" y="66"/>
                </a:lnTo>
                <a:lnTo>
                  <a:pt x="531" y="162"/>
                </a:lnTo>
                <a:lnTo>
                  <a:pt x="538" y="193"/>
                </a:lnTo>
                <a:lnTo>
                  <a:pt x="547" y="162"/>
                </a:lnTo>
                <a:lnTo>
                  <a:pt x="574" y="66"/>
                </a:lnTo>
                <a:lnTo>
                  <a:pt x="599" y="66"/>
                </a:lnTo>
                <a:lnTo>
                  <a:pt x="551" y="231"/>
                </a:lnTo>
                <a:lnTo>
                  <a:pt x="524" y="231"/>
                </a:lnTo>
                <a:lnTo>
                  <a:pt x="499" y="132"/>
                </a:lnTo>
                <a:lnTo>
                  <a:pt x="493" y="104"/>
                </a:lnTo>
                <a:lnTo>
                  <a:pt x="462" y="231"/>
                </a:lnTo>
                <a:lnTo>
                  <a:pt x="435" y="231"/>
                </a:lnTo>
                <a:close/>
                <a:moveTo>
                  <a:pt x="707" y="210"/>
                </a:moveTo>
                <a:cubicBezTo>
                  <a:pt x="697" y="219"/>
                  <a:pt x="688" y="225"/>
                  <a:pt x="679" y="229"/>
                </a:cubicBezTo>
                <a:cubicBezTo>
                  <a:pt x="670" y="233"/>
                  <a:pt x="661" y="235"/>
                  <a:pt x="650" y="235"/>
                </a:cubicBezTo>
                <a:cubicBezTo>
                  <a:pt x="634" y="235"/>
                  <a:pt x="621" y="230"/>
                  <a:pt x="612" y="221"/>
                </a:cubicBezTo>
                <a:cubicBezTo>
                  <a:pt x="602" y="213"/>
                  <a:pt x="598" y="201"/>
                  <a:pt x="598" y="188"/>
                </a:cubicBezTo>
                <a:cubicBezTo>
                  <a:pt x="598" y="180"/>
                  <a:pt x="600" y="172"/>
                  <a:pt x="603" y="165"/>
                </a:cubicBezTo>
                <a:cubicBezTo>
                  <a:pt x="607" y="159"/>
                  <a:pt x="611" y="154"/>
                  <a:pt x="617" y="150"/>
                </a:cubicBezTo>
                <a:cubicBezTo>
                  <a:pt x="622" y="145"/>
                  <a:pt x="628" y="142"/>
                  <a:pt x="635" y="140"/>
                </a:cubicBezTo>
                <a:cubicBezTo>
                  <a:pt x="640" y="139"/>
                  <a:pt x="648" y="138"/>
                  <a:pt x="658" y="136"/>
                </a:cubicBezTo>
                <a:cubicBezTo>
                  <a:pt x="679" y="134"/>
                  <a:pt x="695" y="130"/>
                  <a:pt x="705" y="127"/>
                </a:cubicBezTo>
                <a:cubicBezTo>
                  <a:pt x="705" y="123"/>
                  <a:pt x="705" y="120"/>
                  <a:pt x="705" y="119"/>
                </a:cubicBezTo>
                <a:cubicBezTo>
                  <a:pt x="705" y="108"/>
                  <a:pt x="703" y="100"/>
                  <a:pt x="698" y="95"/>
                </a:cubicBezTo>
                <a:cubicBezTo>
                  <a:pt x="691" y="89"/>
                  <a:pt x="681" y="86"/>
                  <a:pt x="668" y="86"/>
                </a:cubicBezTo>
                <a:cubicBezTo>
                  <a:pt x="656" y="86"/>
                  <a:pt x="647" y="88"/>
                  <a:pt x="641" y="93"/>
                </a:cubicBezTo>
                <a:cubicBezTo>
                  <a:pt x="635" y="97"/>
                  <a:pt x="631" y="106"/>
                  <a:pt x="628" y="117"/>
                </a:cubicBezTo>
                <a:lnTo>
                  <a:pt x="602" y="114"/>
                </a:lnTo>
                <a:cubicBezTo>
                  <a:pt x="605" y="102"/>
                  <a:pt x="608" y="92"/>
                  <a:pt x="614" y="85"/>
                </a:cubicBezTo>
                <a:cubicBezTo>
                  <a:pt x="619" y="78"/>
                  <a:pt x="627" y="73"/>
                  <a:pt x="637" y="69"/>
                </a:cubicBezTo>
                <a:cubicBezTo>
                  <a:pt x="647" y="65"/>
                  <a:pt x="659" y="63"/>
                  <a:pt x="672" y="63"/>
                </a:cubicBezTo>
                <a:cubicBezTo>
                  <a:pt x="685" y="63"/>
                  <a:pt x="696" y="64"/>
                  <a:pt x="704" y="68"/>
                </a:cubicBezTo>
                <a:cubicBezTo>
                  <a:pt x="712" y="71"/>
                  <a:pt x="718" y="75"/>
                  <a:pt x="722" y="80"/>
                </a:cubicBezTo>
                <a:cubicBezTo>
                  <a:pt x="726" y="85"/>
                  <a:pt x="728" y="92"/>
                  <a:pt x="730" y="99"/>
                </a:cubicBezTo>
                <a:cubicBezTo>
                  <a:pt x="731" y="104"/>
                  <a:pt x="731" y="113"/>
                  <a:pt x="731" y="125"/>
                </a:cubicBezTo>
                <a:lnTo>
                  <a:pt x="731" y="162"/>
                </a:lnTo>
                <a:cubicBezTo>
                  <a:pt x="731" y="188"/>
                  <a:pt x="732" y="204"/>
                  <a:pt x="733" y="211"/>
                </a:cubicBezTo>
                <a:cubicBezTo>
                  <a:pt x="734" y="218"/>
                  <a:pt x="736" y="225"/>
                  <a:pt x="739" y="231"/>
                </a:cubicBezTo>
                <a:lnTo>
                  <a:pt x="712" y="231"/>
                </a:lnTo>
                <a:cubicBezTo>
                  <a:pt x="710" y="225"/>
                  <a:pt x="708" y="218"/>
                  <a:pt x="707" y="210"/>
                </a:cubicBezTo>
                <a:close/>
                <a:moveTo>
                  <a:pt x="705" y="148"/>
                </a:moveTo>
                <a:cubicBezTo>
                  <a:pt x="696" y="153"/>
                  <a:pt x="681" y="156"/>
                  <a:pt x="662" y="159"/>
                </a:cubicBezTo>
                <a:cubicBezTo>
                  <a:pt x="652" y="161"/>
                  <a:pt x="644" y="162"/>
                  <a:pt x="640" y="165"/>
                </a:cubicBezTo>
                <a:cubicBezTo>
                  <a:pt x="635" y="167"/>
                  <a:pt x="632" y="170"/>
                  <a:pt x="629" y="174"/>
                </a:cubicBezTo>
                <a:cubicBezTo>
                  <a:pt x="627" y="177"/>
                  <a:pt x="626" y="182"/>
                  <a:pt x="626" y="187"/>
                </a:cubicBezTo>
                <a:cubicBezTo>
                  <a:pt x="626" y="194"/>
                  <a:pt x="628" y="200"/>
                  <a:pt x="634" y="205"/>
                </a:cubicBezTo>
                <a:cubicBezTo>
                  <a:pt x="639" y="210"/>
                  <a:pt x="647" y="213"/>
                  <a:pt x="657" y="213"/>
                </a:cubicBezTo>
                <a:cubicBezTo>
                  <a:pt x="667" y="213"/>
                  <a:pt x="676" y="210"/>
                  <a:pt x="683" y="206"/>
                </a:cubicBezTo>
                <a:cubicBezTo>
                  <a:pt x="691" y="201"/>
                  <a:pt x="697" y="195"/>
                  <a:pt x="701" y="186"/>
                </a:cubicBezTo>
                <a:cubicBezTo>
                  <a:pt x="703" y="180"/>
                  <a:pt x="705" y="171"/>
                  <a:pt x="705" y="159"/>
                </a:cubicBezTo>
                <a:lnTo>
                  <a:pt x="705" y="148"/>
                </a:lnTo>
                <a:close/>
                <a:moveTo>
                  <a:pt x="757" y="231"/>
                </a:moveTo>
                <a:lnTo>
                  <a:pt x="757" y="66"/>
                </a:lnTo>
                <a:lnTo>
                  <a:pt x="781" y="66"/>
                </a:lnTo>
                <a:lnTo>
                  <a:pt x="781" y="92"/>
                </a:lnTo>
                <a:cubicBezTo>
                  <a:pt x="787" y="80"/>
                  <a:pt x="792" y="72"/>
                  <a:pt x="797" y="68"/>
                </a:cubicBezTo>
                <a:cubicBezTo>
                  <a:pt x="802" y="65"/>
                  <a:pt x="808" y="63"/>
                  <a:pt x="814" y="63"/>
                </a:cubicBezTo>
                <a:cubicBezTo>
                  <a:pt x="823" y="63"/>
                  <a:pt x="832" y="66"/>
                  <a:pt x="841" y="72"/>
                </a:cubicBezTo>
                <a:lnTo>
                  <a:pt x="831" y="97"/>
                </a:lnTo>
                <a:cubicBezTo>
                  <a:pt x="825" y="94"/>
                  <a:pt x="819" y="92"/>
                  <a:pt x="812" y="92"/>
                </a:cubicBezTo>
                <a:cubicBezTo>
                  <a:pt x="807" y="92"/>
                  <a:pt x="802" y="94"/>
                  <a:pt x="797" y="97"/>
                </a:cubicBezTo>
                <a:cubicBezTo>
                  <a:pt x="793" y="101"/>
                  <a:pt x="790" y="106"/>
                  <a:pt x="788" y="112"/>
                </a:cubicBezTo>
                <a:cubicBezTo>
                  <a:pt x="785" y="122"/>
                  <a:pt x="783" y="133"/>
                  <a:pt x="783" y="145"/>
                </a:cubicBezTo>
                <a:lnTo>
                  <a:pt x="783" y="231"/>
                </a:lnTo>
                <a:lnTo>
                  <a:pt x="757" y="231"/>
                </a:lnTo>
                <a:close/>
                <a:moveTo>
                  <a:pt x="937" y="231"/>
                </a:moveTo>
                <a:lnTo>
                  <a:pt x="937" y="210"/>
                </a:lnTo>
                <a:cubicBezTo>
                  <a:pt x="927" y="226"/>
                  <a:pt x="913" y="235"/>
                  <a:pt x="894" y="235"/>
                </a:cubicBezTo>
                <a:cubicBezTo>
                  <a:pt x="882" y="235"/>
                  <a:pt x="871" y="231"/>
                  <a:pt x="860" y="224"/>
                </a:cubicBezTo>
                <a:cubicBezTo>
                  <a:pt x="850" y="216"/>
                  <a:pt x="842" y="206"/>
                  <a:pt x="837" y="193"/>
                </a:cubicBezTo>
                <a:cubicBezTo>
                  <a:pt x="831" y="181"/>
                  <a:pt x="828" y="166"/>
                  <a:pt x="828" y="149"/>
                </a:cubicBezTo>
                <a:cubicBezTo>
                  <a:pt x="828" y="132"/>
                  <a:pt x="831" y="118"/>
                  <a:pt x="836" y="104"/>
                </a:cubicBezTo>
                <a:cubicBezTo>
                  <a:pt x="841" y="91"/>
                  <a:pt x="849" y="81"/>
                  <a:pt x="859" y="73"/>
                </a:cubicBezTo>
                <a:cubicBezTo>
                  <a:pt x="869" y="66"/>
                  <a:pt x="880" y="63"/>
                  <a:pt x="893" y="63"/>
                </a:cubicBezTo>
                <a:cubicBezTo>
                  <a:pt x="902" y="63"/>
                  <a:pt x="910" y="65"/>
                  <a:pt x="918" y="69"/>
                </a:cubicBezTo>
                <a:cubicBezTo>
                  <a:pt x="925" y="73"/>
                  <a:pt x="931" y="79"/>
                  <a:pt x="935" y="85"/>
                </a:cubicBezTo>
                <a:lnTo>
                  <a:pt x="935" y="4"/>
                </a:lnTo>
                <a:lnTo>
                  <a:pt x="961" y="4"/>
                </a:lnTo>
                <a:lnTo>
                  <a:pt x="961" y="231"/>
                </a:lnTo>
                <a:lnTo>
                  <a:pt x="937" y="231"/>
                </a:lnTo>
                <a:close/>
                <a:moveTo>
                  <a:pt x="855" y="149"/>
                </a:moveTo>
                <a:cubicBezTo>
                  <a:pt x="855" y="170"/>
                  <a:pt x="859" y="186"/>
                  <a:pt x="867" y="196"/>
                </a:cubicBezTo>
                <a:cubicBezTo>
                  <a:pt x="875" y="206"/>
                  <a:pt x="885" y="212"/>
                  <a:pt x="897" y="212"/>
                </a:cubicBezTo>
                <a:cubicBezTo>
                  <a:pt x="908" y="212"/>
                  <a:pt x="918" y="207"/>
                  <a:pt x="926" y="197"/>
                </a:cubicBezTo>
                <a:cubicBezTo>
                  <a:pt x="934" y="187"/>
                  <a:pt x="938" y="172"/>
                  <a:pt x="938" y="151"/>
                </a:cubicBezTo>
                <a:cubicBezTo>
                  <a:pt x="938" y="129"/>
                  <a:pt x="934" y="112"/>
                  <a:pt x="925" y="102"/>
                </a:cubicBezTo>
                <a:cubicBezTo>
                  <a:pt x="917" y="91"/>
                  <a:pt x="907" y="86"/>
                  <a:pt x="895" y="86"/>
                </a:cubicBezTo>
                <a:cubicBezTo>
                  <a:pt x="884" y="86"/>
                  <a:pt x="874" y="91"/>
                  <a:pt x="866" y="101"/>
                </a:cubicBezTo>
                <a:cubicBezTo>
                  <a:pt x="859" y="111"/>
                  <a:pt x="855" y="127"/>
                  <a:pt x="855" y="149"/>
                </a:cubicBezTo>
                <a:close/>
                <a:moveTo>
                  <a:pt x="978" y="182"/>
                </a:moveTo>
                <a:lnTo>
                  <a:pt x="1004" y="177"/>
                </a:lnTo>
                <a:cubicBezTo>
                  <a:pt x="1005" y="188"/>
                  <a:pt x="1009" y="197"/>
                  <a:pt x="1016" y="203"/>
                </a:cubicBezTo>
                <a:cubicBezTo>
                  <a:pt x="1023" y="209"/>
                  <a:pt x="1032" y="212"/>
                  <a:pt x="1044" y="212"/>
                </a:cubicBezTo>
                <a:cubicBezTo>
                  <a:pt x="1056" y="212"/>
                  <a:pt x="1065" y="209"/>
                  <a:pt x="1070" y="204"/>
                </a:cubicBezTo>
                <a:cubicBezTo>
                  <a:pt x="1076" y="199"/>
                  <a:pt x="1079" y="193"/>
                  <a:pt x="1079" y="185"/>
                </a:cubicBezTo>
                <a:cubicBezTo>
                  <a:pt x="1079" y="179"/>
                  <a:pt x="1077" y="174"/>
                  <a:pt x="1071" y="171"/>
                </a:cubicBezTo>
                <a:cubicBezTo>
                  <a:pt x="1068" y="168"/>
                  <a:pt x="1059" y="165"/>
                  <a:pt x="1045" y="161"/>
                </a:cubicBezTo>
                <a:cubicBezTo>
                  <a:pt x="1026" y="156"/>
                  <a:pt x="1013" y="152"/>
                  <a:pt x="1005" y="148"/>
                </a:cubicBezTo>
                <a:cubicBezTo>
                  <a:pt x="998" y="144"/>
                  <a:pt x="992" y="139"/>
                  <a:pt x="988" y="132"/>
                </a:cubicBezTo>
                <a:cubicBezTo>
                  <a:pt x="985" y="126"/>
                  <a:pt x="983" y="118"/>
                  <a:pt x="983" y="110"/>
                </a:cubicBezTo>
                <a:cubicBezTo>
                  <a:pt x="983" y="103"/>
                  <a:pt x="984" y="96"/>
                  <a:pt x="987" y="90"/>
                </a:cubicBezTo>
                <a:cubicBezTo>
                  <a:pt x="991" y="84"/>
                  <a:pt x="995" y="78"/>
                  <a:pt x="1000" y="74"/>
                </a:cubicBezTo>
                <a:cubicBezTo>
                  <a:pt x="1004" y="71"/>
                  <a:pt x="1010" y="68"/>
                  <a:pt x="1017" y="66"/>
                </a:cubicBezTo>
                <a:cubicBezTo>
                  <a:pt x="1024" y="64"/>
                  <a:pt x="1031" y="63"/>
                  <a:pt x="1039" y="63"/>
                </a:cubicBezTo>
                <a:cubicBezTo>
                  <a:pt x="1051" y="63"/>
                  <a:pt x="1062" y="65"/>
                  <a:pt x="1071" y="68"/>
                </a:cubicBezTo>
                <a:cubicBezTo>
                  <a:pt x="1080" y="72"/>
                  <a:pt x="1087" y="77"/>
                  <a:pt x="1091" y="84"/>
                </a:cubicBezTo>
                <a:cubicBezTo>
                  <a:pt x="1095" y="90"/>
                  <a:pt x="1098" y="98"/>
                  <a:pt x="1100" y="109"/>
                </a:cubicBezTo>
                <a:lnTo>
                  <a:pt x="1074" y="113"/>
                </a:lnTo>
                <a:cubicBezTo>
                  <a:pt x="1073" y="104"/>
                  <a:pt x="1070" y="98"/>
                  <a:pt x="1064" y="93"/>
                </a:cubicBezTo>
                <a:cubicBezTo>
                  <a:pt x="1059" y="88"/>
                  <a:pt x="1051" y="86"/>
                  <a:pt x="1041" y="86"/>
                </a:cubicBezTo>
                <a:cubicBezTo>
                  <a:pt x="1029" y="86"/>
                  <a:pt x="1021" y="88"/>
                  <a:pt x="1015" y="92"/>
                </a:cubicBezTo>
                <a:cubicBezTo>
                  <a:pt x="1010" y="96"/>
                  <a:pt x="1008" y="101"/>
                  <a:pt x="1008" y="107"/>
                </a:cubicBezTo>
                <a:cubicBezTo>
                  <a:pt x="1008" y="110"/>
                  <a:pt x="1009" y="114"/>
                  <a:pt x="1011" y="117"/>
                </a:cubicBezTo>
                <a:cubicBezTo>
                  <a:pt x="1013" y="120"/>
                  <a:pt x="1016" y="122"/>
                  <a:pt x="1021" y="124"/>
                </a:cubicBezTo>
                <a:cubicBezTo>
                  <a:pt x="1024" y="125"/>
                  <a:pt x="1031" y="127"/>
                  <a:pt x="1044" y="131"/>
                </a:cubicBezTo>
                <a:cubicBezTo>
                  <a:pt x="1062" y="136"/>
                  <a:pt x="1075" y="141"/>
                  <a:pt x="1082" y="144"/>
                </a:cubicBezTo>
                <a:cubicBezTo>
                  <a:pt x="1090" y="147"/>
                  <a:pt x="1095" y="152"/>
                  <a:pt x="1099" y="159"/>
                </a:cubicBezTo>
                <a:cubicBezTo>
                  <a:pt x="1104" y="165"/>
                  <a:pt x="1106" y="173"/>
                  <a:pt x="1106" y="183"/>
                </a:cubicBezTo>
                <a:cubicBezTo>
                  <a:pt x="1106" y="192"/>
                  <a:pt x="1103" y="201"/>
                  <a:pt x="1098" y="209"/>
                </a:cubicBezTo>
                <a:cubicBezTo>
                  <a:pt x="1093" y="217"/>
                  <a:pt x="1086" y="223"/>
                  <a:pt x="1076" y="228"/>
                </a:cubicBezTo>
                <a:cubicBezTo>
                  <a:pt x="1067" y="232"/>
                  <a:pt x="1056" y="235"/>
                  <a:pt x="1044" y="235"/>
                </a:cubicBezTo>
                <a:cubicBezTo>
                  <a:pt x="1024" y="235"/>
                  <a:pt x="1009" y="230"/>
                  <a:pt x="998" y="221"/>
                </a:cubicBezTo>
                <a:cubicBezTo>
                  <a:pt x="988" y="212"/>
                  <a:pt x="981" y="199"/>
                  <a:pt x="978" y="182"/>
                </a:cubicBezTo>
                <a:close/>
                <a:moveTo>
                  <a:pt x="1123" y="231"/>
                </a:moveTo>
                <a:lnTo>
                  <a:pt x="1123" y="4"/>
                </a:lnTo>
                <a:lnTo>
                  <a:pt x="1149" y="4"/>
                </a:lnTo>
                <a:lnTo>
                  <a:pt x="1149" y="86"/>
                </a:lnTo>
                <a:cubicBezTo>
                  <a:pt x="1161" y="70"/>
                  <a:pt x="1176" y="63"/>
                  <a:pt x="1195" y="63"/>
                </a:cubicBezTo>
                <a:cubicBezTo>
                  <a:pt x="1206" y="63"/>
                  <a:pt x="1216" y="65"/>
                  <a:pt x="1224" y="70"/>
                </a:cubicBezTo>
                <a:cubicBezTo>
                  <a:pt x="1232" y="75"/>
                  <a:pt x="1238" y="81"/>
                  <a:pt x="1242" y="90"/>
                </a:cubicBezTo>
                <a:cubicBezTo>
                  <a:pt x="1246" y="98"/>
                  <a:pt x="1247" y="111"/>
                  <a:pt x="1247" y="127"/>
                </a:cubicBezTo>
                <a:lnTo>
                  <a:pt x="1247" y="231"/>
                </a:lnTo>
                <a:lnTo>
                  <a:pt x="1221" y="231"/>
                </a:lnTo>
                <a:lnTo>
                  <a:pt x="1221" y="127"/>
                </a:lnTo>
                <a:cubicBezTo>
                  <a:pt x="1221" y="113"/>
                  <a:pt x="1218" y="103"/>
                  <a:pt x="1213" y="96"/>
                </a:cubicBezTo>
                <a:cubicBezTo>
                  <a:pt x="1207" y="90"/>
                  <a:pt x="1199" y="87"/>
                  <a:pt x="1189" y="87"/>
                </a:cubicBezTo>
                <a:cubicBezTo>
                  <a:pt x="1181" y="87"/>
                  <a:pt x="1174" y="89"/>
                  <a:pt x="1168" y="93"/>
                </a:cubicBezTo>
                <a:cubicBezTo>
                  <a:pt x="1161" y="98"/>
                  <a:pt x="1156" y="103"/>
                  <a:pt x="1153" y="111"/>
                </a:cubicBezTo>
                <a:cubicBezTo>
                  <a:pt x="1150" y="118"/>
                  <a:pt x="1149" y="128"/>
                  <a:pt x="1149" y="141"/>
                </a:cubicBezTo>
                <a:lnTo>
                  <a:pt x="1149" y="231"/>
                </a:lnTo>
                <a:lnTo>
                  <a:pt x="1123" y="231"/>
                </a:lnTo>
                <a:close/>
                <a:moveTo>
                  <a:pt x="1273" y="35"/>
                </a:moveTo>
                <a:lnTo>
                  <a:pt x="1273" y="4"/>
                </a:lnTo>
                <a:lnTo>
                  <a:pt x="1300" y="4"/>
                </a:lnTo>
                <a:lnTo>
                  <a:pt x="1300" y="35"/>
                </a:lnTo>
                <a:lnTo>
                  <a:pt x="1273" y="35"/>
                </a:lnTo>
                <a:close/>
                <a:moveTo>
                  <a:pt x="1273" y="231"/>
                </a:moveTo>
                <a:lnTo>
                  <a:pt x="1273" y="66"/>
                </a:lnTo>
                <a:lnTo>
                  <a:pt x="1300" y="66"/>
                </a:lnTo>
                <a:lnTo>
                  <a:pt x="1300" y="231"/>
                </a:lnTo>
                <a:lnTo>
                  <a:pt x="1273" y="231"/>
                </a:lnTo>
                <a:close/>
                <a:moveTo>
                  <a:pt x="1325" y="294"/>
                </a:moveTo>
                <a:lnTo>
                  <a:pt x="1325" y="66"/>
                </a:lnTo>
                <a:lnTo>
                  <a:pt x="1349" y="66"/>
                </a:lnTo>
                <a:lnTo>
                  <a:pt x="1349" y="88"/>
                </a:lnTo>
                <a:cubicBezTo>
                  <a:pt x="1355" y="80"/>
                  <a:pt x="1361" y="73"/>
                  <a:pt x="1368" y="69"/>
                </a:cubicBezTo>
                <a:cubicBezTo>
                  <a:pt x="1375" y="65"/>
                  <a:pt x="1384" y="63"/>
                  <a:pt x="1394" y="63"/>
                </a:cubicBezTo>
                <a:cubicBezTo>
                  <a:pt x="1407" y="63"/>
                  <a:pt x="1418" y="66"/>
                  <a:pt x="1428" y="74"/>
                </a:cubicBezTo>
                <a:cubicBezTo>
                  <a:pt x="1438" y="81"/>
                  <a:pt x="1446" y="91"/>
                  <a:pt x="1451" y="104"/>
                </a:cubicBezTo>
                <a:cubicBezTo>
                  <a:pt x="1456" y="117"/>
                  <a:pt x="1459" y="132"/>
                  <a:pt x="1459" y="147"/>
                </a:cubicBezTo>
                <a:cubicBezTo>
                  <a:pt x="1459" y="164"/>
                  <a:pt x="1456" y="179"/>
                  <a:pt x="1450" y="193"/>
                </a:cubicBezTo>
                <a:cubicBezTo>
                  <a:pt x="1444" y="206"/>
                  <a:pt x="1436" y="217"/>
                  <a:pt x="1426" y="224"/>
                </a:cubicBezTo>
                <a:cubicBezTo>
                  <a:pt x="1415" y="231"/>
                  <a:pt x="1404" y="235"/>
                  <a:pt x="1392" y="235"/>
                </a:cubicBezTo>
                <a:cubicBezTo>
                  <a:pt x="1383" y="235"/>
                  <a:pt x="1375" y="233"/>
                  <a:pt x="1368" y="229"/>
                </a:cubicBezTo>
                <a:cubicBezTo>
                  <a:pt x="1362" y="225"/>
                  <a:pt x="1356" y="220"/>
                  <a:pt x="1351" y="214"/>
                </a:cubicBezTo>
                <a:lnTo>
                  <a:pt x="1351" y="294"/>
                </a:lnTo>
                <a:lnTo>
                  <a:pt x="1325" y="294"/>
                </a:lnTo>
                <a:close/>
                <a:moveTo>
                  <a:pt x="1349" y="150"/>
                </a:moveTo>
                <a:cubicBezTo>
                  <a:pt x="1349" y="171"/>
                  <a:pt x="1353" y="186"/>
                  <a:pt x="1361" y="196"/>
                </a:cubicBezTo>
                <a:cubicBezTo>
                  <a:pt x="1369" y="207"/>
                  <a:pt x="1379" y="212"/>
                  <a:pt x="1390" y="212"/>
                </a:cubicBezTo>
                <a:cubicBezTo>
                  <a:pt x="1402" y="212"/>
                  <a:pt x="1411" y="206"/>
                  <a:pt x="1420" y="196"/>
                </a:cubicBezTo>
                <a:cubicBezTo>
                  <a:pt x="1428" y="185"/>
                  <a:pt x="1432" y="169"/>
                  <a:pt x="1432" y="147"/>
                </a:cubicBezTo>
                <a:cubicBezTo>
                  <a:pt x="1432" y="126"/>
                  <a:pt x="1428" y="111"/>
                  <a:pt x="1420" y="100"/>
                </a:cubicBezTo>
                <a:cubicBezTo>
                  <a:pt x="1412" y="90"/>
                  <a:pt x="1402" y="85"/>
                  <a:pt x="1391" y="85"/>
                </a:cubicBezTo>
                <a:cubicBezTo>
                  <a:pt x="1380" y="85"/>
                  <a:pt x="1370" y="90"/>
                  <a:pt x="1362" y="101"/>
                </a:cubicBezTo>
                <a:cubicBezTo>
                  <a:pt x="1353" y="112"/>
                  <a:pt x="1349" y="128"/>
                  <a:pt x="1349" y="15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4" name="Freeform 84">
            <a:extLst>
              <a:ext uri="{FF2B5EF4-FFF2-40B4-BE49-F238E27FC236}">
                <a16:creationId xmlns:a16="http://schemas.microsoft.com/office/drawing/2014/main" id="{7BBC79B6-4C8E-4B48-838F-754054E792BE}"/>
              </a:ext>
            </a:extLst>
          </p:cNvPr>
          <p:cNvSpPr>
            <a:spLocks noEditPoints="1"/>
          </p:cNvSpPr>
          <p:nvPr/>
        </p:nvSpPr>
        <p:spPr bwMode="auto">
          <a:xfrm>
            <a:off x="5884863" y="6083301"/>
            <a:ext cx="276225" cy="220663"/>
          </a:xfrm>
          <a:custGeom>
            <a:avLst/>
            <a:gdLst>
              <a:gd name="T0" fmla="*/ 42 w 768"/>
              <a:gd name="T1" fmla="*/ 0 h 611"/>
              <a:gd name="T2" fmla="*/ 114 w 768"/>
              <a:gd name="T3" fmla="*/ 158 h 611"/>
              <a:gd name="T4" fmla="*/ 202 w 768"/>
              <a:gd name="T5" fmla="*/ 227 h 611"/>
              <a:gd name="T6" fmla="*/ 114 w 768"/>
              <a:gd name="T7" fmla="*/ 227 h 611"/>
              <a:gd name="T8" fmla="*/ 27 w 768"/>
              <a:gd name="T9" fmla="*/ 227 h 611"/>
              <a:gd name="T10" fmla="*/ 159 w 768"/>
              <a:gd name="T11" fmla="*/ 317 h 611"/>
              <a:gd name="T12" fmla="*/ 297 w 768"/>
              <a:gd name="T13" fmla="*/ 330 h 611"/>
              <a:gd name="T14" fmla="*/ 303 w 768"/>
              <a:gd name="T15" fmla="*/ 432 h 611"/>
              <a:gd name="T16" fmla="*/ 187 w 768"/>
              <a:gd name="T17" fmla="*/ 545 h 611"/>
              <a:gd name="T18" fmla="*/ 241 w 768"/>
              <a:gd name="T19" fmla="*/ 425 h 611"/>
              <a:gd name="T20" fmla="*/ 285 w 768"/>
              <a:gd name="T21" fmla="*/ 360 h 611"/>
              <a:gd name="T22" fmla="*/ 187 w 768"/>
              <a:gd name="T23" fmla="*/ 344 h 611"/>
              <a:gd name="T24" fmla="*/ 410 w 768"/>
              <a:gd name="T25" fmla="*/ 543 h 611"/>
              <a:gd name="T26" fmla="*/ 329 w 768"/>
              <a:gd name="T27" fmla="*/ 501 h 611"/>
              <a:gd name="T28" fmla="*/ 366 w 768"/>
              <a:gd name="T29" fmla="*/ 454 h 611"/>
              <a:gd name="T30" fmla="*/ 436 w 768"/>
              <a:gd name="T31" fmla="*/ 433 h 611"/>
              <a:gd name="T32" fmla="*/ 372 w 768"/>
              <a:gd name="T33" fmla="*/ 407 h 611"/>
              <a:gd name="T34" fmla="*/ 345 w 768"/>
              <a:gd name="T35" fmla="*/ 399 h 611"/>
              <a:gd name="T36" fmla="*/ 435 w 768"/>
              <a:gd name="T37" fmla="*/ 381 h 611"/>
              <a:gd name="T38" fmla="*/ 462 w 768"/>
              <a:gd name="T39" fmla="*/ 439 h 611"/>
              <a:gd name="T40" fmla="*/ 470 w 768"/>
              <a:gd name="T41" fmla="*/ 545 h 611"/>
              <a:gd name="T42" fmla="*/ 436 w 768"/>
              <a:gd name="T43" fmla="*/ 462 h 611"/>
              <a:gd name="T44" fmla="*/ 360 w 768"/>
              <a:gd name="T45" fmla="*/ 487 h 611"/>
              <a:gd name="T46" fmla="*/ 388 w 768"/>
              <a:gd name="T47" fmla="*/ 526 h 611"/>
              <a:gd name="T48" fmla="*/ 436 w 768"/>
              <a:gd name="T49" fmla="*/ 472 h 611"/>
              <a:gd name="T50" fmla="*/ 480 w 768"/>
              <a:gd name="T51" fmla="*/ 582 h 611"/>
              <a:gd name="T52" fmla="*/ 518 w 768"/>
              <a:gd name="T53" fmla="*/ 573 h 611"/>
              <a:gd name="T54" fmla="*/ 470 w 768"/>
              <a:gd name="T55" fmla="*/ 380 h 611"/>
              <a:gd name="T56" fmla="*/ 541 w 768"/>
              <a:gd name="T57" fmla="*/ 513 h 611"/>
              <a:gd name="T58" fmla="*/ 610 w 768"/>
              <a:gd name="T59" fmla="*/ 380 h 611"/>
              <a:gd name="T60" fmla="*/ 521 w 768"/>
              <a:gd name="T61" fmla="*/ 605 h 611"/>
              <a:gd name="T62" fmla="*/ 221 w 768"/>
              <a:gd name="T63" fmla="*/ 145 h 611"/>
              <a:gd name="T64" fmla="*/ 344 w 768"/>
              <a:gd name="T65" fmla="*/ 81 h 611"/>
              <a:gd name="T66" fmla="*/ 330 w 768"/>
              <a:gd name="T67" fmla="*/ 221 h 611"/>
              <a:gd name="T68" fmla="*/ 221 w 768"/>
              <a:gd name="T69" fmla="*/ 145 h 611"/>
              <a:gd name="T70" fmla="*/ 293 w 768"/>
              <a:gd name="T71" fmla="*/ 208 h 611"/>
              <a:gd name="T72" fmla="*/ 325 w 768"/>
              <a:gd name="T73" fmla="*/ 98 h 611"/>
              <a:gd name="T74" fmla="*/ 247 w 768"/>
              <a:gd name="T75" fmla="*/ 145 h 611"/>
              <a:gd name="T76" fmla="*/ 381 w 768"/>
              <a:gd name="T77" fmla="*/ 0 h 611"/>
              <a:gd name="T78" fmla="*/ 449 w 768"/>
              <a:gd name="T79" fmla="*/ 59 h 611"/>
              <a:gd name="T80" fmla="*/ 509 w 768"/>
              <a:gd name="T81" fmla="*/ 109 h 611"/>
              <a:gd name="T82" fmla="*/ 448 w 768"/>
              <a:gd name="T83" fmla="*/ 231 h 611"/>
              <a:gd name="T84" fmla="*/ 405 w 768"/>
              <a:gd name="T85" fmla="*/ 144 h 611"/>
              <a:gd name="T86" fmla="*/ 475 w 768"/>
              <a:gd name="T87" fmla="*/ 192 h 611"/>
              <a:gd name="T88" fmla="*/ 447 w 768"/>
              <a:gd name="T89" fmla="*/ 82 h 611"/>
              <a:gd name="T90" fmla="*/ 532 w 768"/>
              <a:gd name="T91" fmla="*/ 32 h 611"/>
              <a:gd name="T92" fmla="*/ 558 w 768"/>
              <a:gd name="T93" fmla="*/ 32 h 611"/>
              <a:gd name="T94" fmla="*/ 532 w 768"/>
              <a:gd name="T95" fmla="*/ 63 h 611"/>
              <a:gd name="T96" fmla="*/ 532 w 768"/>
              <a:gd name="T97" fmla="*/ 227 h 611"/>
              <a:gd name="T98" fmla="*/ 609 w 768"/>
              <a:gd name="T99" fmla="*/ 0 h 611"/>
              <a:gd name="T100" fmla="*/ 740 w 768"/>
              <a:gd name="T101" fmla="*/ 174 h 611"/>
              <a:gd name="T102" fmla="*/ 700 w 768"/>
              <a:gd name="T103" fmla="*/ 231 h 611"/>
              <a:gd name="T104" fmla="*/ 647 w 768"/>
              <a:gd name="T105" fmla="*/ 82 h 611"/>
              <a:gd name="T106" fmla="*/ 768 w 768"/>
              <a:gd name="T107" fmla="*/ 145 h 611"/>
              <a:gd name="T108" fmla="*/ 668 w 768"/>
              <a:gd name="T109" fmla="*/ 194 h 611"/>
              <a:gd name="T110" fmla="*/ 740 w 768"/>
              <a:gd name="T111" fmla="*/ 174 h 611"/>
              <a:gd name="T112" fmla="*/ 731 w 768"/>
              <a:gd name="T113" fmla="*/ 98 h 611"/>
              <a:gd name="T114" fmla="*/ 655 w 768"/>
              <a:gd name="T115" fmla="*/ 12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68" h="611">
                <a:moveTo>
                  <a:pt x="0" y="227"/>
                </a:moveTo>
                <a:lnTo>
                  <a:pt x="0" y="0"/>
                </a:lnTo>
                <a:lnTo>
                  <a:pt x="42" y="0"/>
                </a:lnTo>
                <a:lnTo>
                  <a:pt x="93" y="161"/>
                </a:lnTo>
                <a:cubicBezTo>
                  <a:pt x="97" y="176"/>
                  <a:pt x="100" y="187"/>
                  <a:pt x="103" y="195"/>
                </a:cubicBezTo>
                <a:cubicBezTo>
                  <a:pt x="105" y="186"/>
                  <a:pt x="109" y="174"/>
                  <a:pt x="114" y="158"/>
                </a:cubicBezTo>
                <a:lnTo>
                  <a:pt x="165" y="0"/>
                </a:lnTo>
                <a:lnTo>
                  <a:pt x="202" y="0"/>
                </a:lnTo>
                <a:lnTo>
                  <a:pt x="202" y="227"/>
                </a:lnTo>
                <a:lnTo>
                  <a:pt x="176" y="227"/>
                </a:lnTo>
                <a:lnTo>
                  <a:pt x="176" y="37"/>
                </a:lnTo>
                <a:lnTo>
                  <a:pt x="114" y="227"/>
                </a:lnTo>
                <a:lnTo>
                  <a:pt x="88" y="227"/>
                </a:lnTo>
                <a:lnTo>
                  <a:pt x="27" y="34"/>
                </a:lnTo>
                <a:lnTo>
                  <a:pt x="27" y="227"/>
                </a:lnTo>
                <a:lnTo>
                  <a:pt x="0" y="227"/>
                </a:lnTo>
                <a:close/>
                <a:moveTo>
                  <a:pt x="159" y="545"/>
                </a:moveTo>
                <a:lnTo>
                  <a:pt x="159" y="317"/>
                </a:lnTo>
                <a:lnTo>
                  <a:pt x="239" y="317"/>
                </a:lnTo>
                <a:cubicBezTo>
                  <a:pt x="253" y="317"/>
                  <a:pt x="263" y="318"/>
                  <a:pt x="271" y="320"/>
                </a:cubicBezTo>
                <a:cubicBezTo>
                  <a:pt x="281" y="321"/>
                  <a:pt x="290" y="325"/>
                  <a:pt x="297" y="330"/>
                </a:cubicBezTo>
                <a:cubicBezTo>
                  <a:pt x="304" y="335"/>
                  <a:pt x="310" y="343"/>
                  <a:pt x="314" y="352"/>
                </a:cubicBezTo>
                <a:cubicBezTo>
                  <a:pt x="318" y="361"/>
                  <a:pt x="320" y="372"/>
                  <a:pt x="320" y="383"/>
                </a:cubicBezTo>
                <a:cubicBezTo>
                  <a:pt x="320" y="402"/>
                  <a:pt x="315" y="419"/>
                  <a:pt x="303" y="432"/>
                </a:cubicBezTo>
                <a:cubicBezTo>
                  <a:pt x="292" y="445"/>
                  <a:pt x="271" y="452"/>
                  <a:pt x="241" y="452"/>
                </a:cubicBezTo>
                <a:lnTo>
                  <a:pt x="187" y="452"/>
                </a:lnTo>
                <a:lnTo>
                  <a:pt x="187" y="545"/>
                </a:lnTo>
                <a:lnTo>
                  <a:pt x="159" y="545"/>
                </a:lnTo>
                <a:close/>
                <a:moveTo>
                  <a:pt x="187" y="425"/>
                </a:moveTo>
                <a:lnTo>
                  <a:pt x="241" y="425"/>
                </a:lnTo>
                <a:cubicBezTo>
                  <a:pt x="260" y="425"/>
                  <a:pt x="272" y="422"/>
                  <a:pt x="280" y="415"/>
                </a:cubicBezTo>
                <a:cubicBezTo>
                  <a:pt x="288" y="407"/>
                  <a:pt x="291" y="397"/>
                  <a:pt x="291" y="384"/>
                </a:cubicBezTo>
                <a:cubicBezTo>
                  <a:pt x="291" y="375"/>
                  <a:pt x="289" y="366"/>
                  <a:pt x="285" y="360"/>
                </a:cubicBezTo>
                <a:cubicBezTo>
                  <a:pt x="280" y="353"/>
                  <a:pt x="274" y="348"/>
                  <a:pt x="267" y="346"/>
                </a:cubicBezTo>
                <a:cubicBezTo>
                  <a:pt x="262" y="345"/>
                  <a:pt x="254" y="344"/>
                  <a:pt x="241" y="344"/>
                </a:cubicBezTo>
                <a:lnTo>
                  <a:pt x="187" y="344"/>
                </a:lnTo>
                <a:lnTo>
                  <a:pt x="187" y="425"/>
                </a:lnTo>
                <a:close/>
                <a:moveTo>
                  <a:pt x="438" y="524"/>
                </a:moveTo>
                <a:cubicBezTo>
                  <a:pt x="428" y="533"/>
                  <a:pt x="419" y="539"/>
                  <a:pt x="410" y="543"/>
                </a:cubicBezTo>
                <a:cubicBezTo>
                  <a:pt x="401" y="546"/>
                  <a:pt x="392" y="548"/>
                  <a:pt x="381" y="548"/>
                </a:cubicBezTo>
                <a:cubicBezTo>
                  <a:pt x="365" y="548"/>
                  <a:pt x="352" y="544"/>
                  <a:pt x="342" y="535"/>
                </a:cubicBezTo>
                <a:cubicBezTo>
                  <a:pt x="333" y="526"/>
                  <a:pt x="329" y="515"/>
                  <a:pt x="329" y="501"/>
                </a:cubicBezTo>
                <a:cubicBezTo>
                  <a:pt x="329" y="493"/>
                  <a:pt x="331" y="486"/>
                  <a:pt x="334" y="479"/>
                </a:cubicBezTo>
                <a:cubicBezTo>
                  <a:pt x="337" y="473"/>
                  <a:pt x="342" y="467"/>
                  <a:pt x="347" y="463"/>
                </a:cubicBezTo>
                <a:cubicBezTo>
                  <a:pt x="353" y="459"/>
                  <a:pt x="359" y="456"/>
                  <a:pt x="366" y="454"/>
                </a:cubicBezTo>
                <a:cubicBezTo>
                  <a:pt x="371" y="453"/>
                  <a:pt x="379" y="451"/>
                  <a:pt x="389" y="450"/>
                </a:cubicBezTo>
                <a:cubicBezTo>
                  <a:pt x="410" y="447"/>
                  <a:pt x="426" y="444"/>
                  <a:pt x="436" y="440"/>
                </a:cubicBezTo>
                <a:cubicBezTo>
                  <a:pt x="436" y="437"/>
                  <a:pt x="436" y="434"/>
                  <a:pt x="436" y="433"/>
                </a:cubicBezTo>
                <a:cubicBezTo>
                  <a:pt x="436" y="422"/>
                  <a:pt x="433" y="414"/>
                  <a:pt x="429" y="409"/>
                </a:cubicBezTo>
                <a:cubicBezTo>
                  <a:pt x="422" y="403"/>
                  <a:pt x="412" y="400"/>
                  <a:pt x="399" y="400"/>
                </a:cubicBezTo>
                <a:cubicBezTo>
                  <a:pt x="387" y="400"/>
                  <a:pt x="378" y="402"/>
                  <a:pt x="372" y="407"/>
                </a:cubicBezTo>
                <a:cubicBezTo>
                  <a:pt x="366" y="411"/>
                  <a:pt x="362" y="419"/>
                  <a:pt x="359" y="431"/>
                </a:cubicBezTo>
                <a:lnTo>
                  <a:pt x="333" y="427"/>
                </a:lnTo>
                <a:cubicBezTo>
                  <a:pt x="336" y="416"/>
                  <a:pt x="339" y="406"/>
                  <a:pt x="345" y="399"/>
                </a:cubicBezTo>
                <a:cubicBezTo>
                  <a:pt x="350" y="392"/>
                  <a:pt x="358" y="386"/>
                  <a:pt x="368" y="382"/>
                </a:cubicBezTo>
                <a:cubicBezTo>
                  <a:pt x="378" y="378"/>
                  <a:pt x="390" y="377"/>
                  <a:pt x="403" y="377"/>
                </a:cubicBezTo>
                <a:cubicBezTo>
                  <a:pt x="416" y="377"/>
                  <a:pt x="427" y="378"/>
                  <a:pt x="435" y="381"/>
                </a:cubicBezTo>
                <a:cubicBezTo>
                  <a:pt x="443" y="385"/>
                  <a:pt x="449" y="389"/>
                  <a:pt x="453" y="394"/>
                </a:cubicBezTo>
                <a:cubicBezTo>
                  <a:pt x="457" y="399"/>
                  <a:pt x="459" y="405"/>
                  <a:pt x="461" y="413"/>
                </a:cubicBezTo>
                <a:cubicBezTo>
                  <a:pt x="462" y="418"/>
                  <a:pt x="462" y="426"/>
                  <a:pt x="462" y="439"/>
                </a:cubicBezTo>
                <a:lnTo>
                  <a:pt x="462" y="476"/>
                </a:lnTo>
                <a:cubicBezTo>
                  <a:pt x="462" y="502"/>
                  <a:pt x="463" y="518"/>
                  <a:pt x="464" y="525"/>
                </a:cubicBezTo>
                <a:cubicBezTo>
                  <a:pt x="465" y="532"/>
                  <a:pt x="467" y="538"/>
                  <a:pt x="470" y="545"/>
                </a:cubicBezTo>
                <a:lnTo>
                  <a:pt x="443" y="545"/>
                </a:lnTo>
                <a:cubicBezTo>
                  <a:pt x="440" y="539"/>
                  <a:pt x="439" y="532"/>
                  <a:pt x="438" y="524"/>
                </a:cubicBezTo>
                <a:close/>
                <a:moveTo>
                  <a:pt x="436" y="462"/>
                </a:moveTo>
                <a:cubicBezTo>
                  <a:pt x="426" y="466"/>
                  <a:pt x="412" y="470"/>
                  <a:pt x="393" y="473"/>
                </a:cubicBezTo>
                <a:cubicBezTo>
                  <a:pt x="383" y="474"/>
                  <a:pt x="375" y="476"/>
                  <a:pt x="371" y="478"/>
                </a:cubicBezTo>
                <a:cubicBezTo>
                  <a:pt x="366" y="480"/>
                  <a:pt x="363" y="483"/>
                  <a:pt x="360" y="487"/>
                </a:cubicBezTo>
                <a:cubicBezTo>
                  <a:pt x="358" y="491"/>
                  <a:pt x="357" y="496"/>
                  <a:pt x="357" y="501"/>
                </a:cubicBezTo>
                <a:cubicBezTo>
                  <a:pt x="357" y="508"/>
                  <a:pt x="359" y="514"/>
                  <a:pt x="365" y="519"/>
                </a:cubicBezTo>
                <a:cubicBezTo>
                  <a:pt x="370" y="524"/>
                  <a:pt x="378" y="526"/>
                  <a:pt x="388" y="526"/>
                </a:cubicBezTo>
                <a:cubicBezTo>
                  <a:pt x="398" y="526"/>
                  <a:pt x="407" y="524"/>
                  <a:pt x="414" y="519"/>
                </a:cubicBezTo>
                <a:cubicBezTo>
                  <a:pt x="422" y="515"/>
                  <a:pt x="428" y="508"/>
                  <a:pt x="432" y="500"/>
                </a:cubicBezTo>
                <a:cubicBezTo>
                  <a:pt x="434" y="494"/>
                  <a:pt x="436" y="485"/>
                  <a:pt x="436" y="472"/>
                </a:cubicBezTo>
                <a:lnTo>
                  <a:pt x="436" y="462"/>
                </a:lnTo>
                <a:close/>
                <a:moveTo>
                  <a:pt x="483" y="608"/>
                </a:moveTo>
                <a:lnTo>
                  <a:pt x="480" y="582"/>
                </a:lnTo>
                <a:cubicBezTo>
                  <a:pt x="486" y="584"/>
                  <a:pt x="491" y="585"/>
                  <a:pt x="495" y="585"/>
                </a:cubicBezTo>
                <a:cubicBezTo>
                  <a:pt x="501" y="585"/>
                  <a:pt x="506" y="584"/>
                  <a:pt x="509" y="582"/>
                </a:cubicBezTo>
                <a:cubicBezTo>
                  <a:pt x="512" y="580"/>
                  <a:pt x="515" y="577"/>
                  <a:pt x="518" y="573"/>
                </a:cubicBezTo>
                <a:cubicBezTo>
                  <a:pt x="519" y="570"/>
                  <a:pt x="522" y="563"/>
                  <a:pt x="526" y="552"/>
                </a:cubicBezTo>
                <a:cubicBezTo>
                  <a:pt x="526" y="551"/>
                  <a:pt x="527" y="548"/>
                  <a:pt x="528" y="545"/>
                </a:cubicBezTo>
                <a:lnTo>
                  <a:pt x="470" y="380"/>
                </a:lnTo>
                <a:lnTo>
                  <a:pt x="497" y="380"/>
                </a:lnTo>
                <a:lnTo>
                  <a:pt x="529" y="475"/>
                </a:lnTo>
                <a:cubicBezTo>
                  <a:pt x="534" y="487"/>
                  <a:pt x="537" y="500"/>
                  <a:pt x="541" y="513"/>
                </a:cubicBezTo>
                <a:cubicBezTo>
                  <a:pt x="544" y="501"/>
                  <a:pt x="547" y="488"/>
                  <a:pt x="551" y="476"/>
                </a:cubicBezTo>
                <a:lnTo>
                  <a:pt x="584" y="380"/>
                </a:lnTo>
                <a:lnTo>
                  <a:pt x="610" y="380"/>
                </a:lnTo>
                <a:lnTo>
                  <a:pt x="552" y="548"/>
                </a:lnTo>
                <a:cubicBezTo>
                  <a:pt x="546" y="566"/>
                  <a:pt x="541" y="578"/>
                  <a:pt x="537" y="585"/>
                </a:cubicBezTo>
                <a:cubicBezTo>
                  <a:pt x="533" y="594"/>
                  <a:pt x="527" y="601"/>
                  <a:pt x="521" y="605"/>
                </a:cubicBezTo>
                <a:cubicBezTo>
                  <a:pt x="515" y="609"/>
                  <a:pt x="508" y="611"/>
                  <a:pt x="500" y="611"/>
                </a:cubicBezTo>
                <a:cubicBezTo>
                  <a:pt x="495" y="611"/>
                  <a:pt x="489" y="610"/>
                  <a:pt x="483" y="608"/>
                </a:cubicBezTo>
                <a:close/>
                <a:moveTo>
                  <a:pt x="221" y="145"/>
                </a:moveTo>
                <a:cubicBezTo>
                  <a:pt x="221" y="114"/>
                  <a:pt x="228" y="92"/>
                  <a:pt x="244" y="77"/>
                </a:cubicBezTo>
                <a:cubicBezTo>
                  <a:pt x="257" y="65"/>
                  <a:pt x="274" y="59"/>
                  <a:pt x="293" y="59"/>
                </a:cubicBezTo>
                <a:cubicBezTo>
                  <a:pt x="314" y="59"/>
                  <a:pt x="331" y="66"/>
                  <a:pt x="344" y="81"/>
                </a:cubicBezTo>
                <a:cubicBezTo>
                  <a:pt x="358" y="96"/>
                  <a:pt x="364" y="116"/>
                  <a:pt x="364" y="143"/>
                </a:cubicBezTo>
                <a:cubicBezTo>
                  <a:pt x="364" y="164"/>
                  <a:pt x="361" y="180"/>
                  <a:pt x="356" y="192"/>
                </a:cubicBezTo>
                <a:cubicBezTo>
                  <a:pt x="350" y="205"/>
                  <a:pt x="341" y="214"/>
                  <a:pt x="330" y="221"/>
                </a:cubicBezTo>
                <a:cubicBezTo>
                  <a:pt x="318" y="227"/>
                  <a:pt x="306" y="231"/>
                  <a:pt x="293" y="231"/>
                </a:cubicBezTo>
                <a:cubicBezTo>
                  <a:pt x="271" y="231"/>
                  <a:pt x="254" y="223"/>
                  <a:pt x="240" y="209"/>
                </a:cubicBezTo>
                <a:cubicBezTo>
                  <a:pt x="227" y="194"/>
                  <a:pt x="221" y="173"/>
                  <a:pt x="221" y="145"/>
                </a:cubicBezTo>
                <a:close/>
                <a:moveTo>
                  <a:pt x="247" y="145"/>
                </a:moveTo>
                <a:cubicBezTo>
                  <a:pt x="247" y="166"/>
                  <a:pt x="252" y="182"/>
                  <a:pt x="260" y="192"/>
                </a:cubicBezTo>
                <a:cubicBezTo>
                  <a:pt x="269" y="203"/>
                  <a:pt x="280" y="208"/>
                  <a:pt x="293" y="208"/>
                </a:cubicBezTo>
                <a:cubicBezTo>
                  <a:pt x="306" y="208"/>
                  <a:pt x="316" y="203"/>
                  <a:pt x="325" y="192"/>
                </a:cubicBezTo>
                <a:cubicBezTo>
                  <a:pt x="333" y="182"/>
                  <a:pt x="338" y="166"/>
                  <a:pt x="338" y="144"/>
                </a:cubicBezTo>
                <a:cubicBezTo>
                  <a:pt x="338" y="124"/>
                  <a:pt x="333" y="108"/>
                  <a:pt x="325" y="98"/>
                </a:cubicBezTo>
                <a:cubicBezTo>
                  <a:pt x="316" y="87"/>
                  <a:pt x="305" y="82"/>
                  <a:pt x="293" y="82"/>
                </a:cubicBezTo>
                <a:cubicBezTo>
                  <a:pt x="280" y="82"/>
                  <a:pt x="269" y="87"/>
                  <a:pt x="260" y="98"/>
                </a:cubicBezTo>
                <a:cubicBezTo>
                  <a:pt x="252" y="108"/>
                  <a:pt x="247" y="124"/>
                  <a:pt x="247" y="145"/>
                </a:cubicBezTo>
                <a:close/>
                <a:moveTo>
                  <a:pt x="405" y="227"/>
                </a:moveTo>
                <a:lnTo>
                  <a:pt x="381" y="227"/>
                </a:lnTo>
                <a:lnTo>
                  <a:pt x="381" y="0"/>
                </a:lnTo>
                <a:lnTo>
                  <a:pt x="407" y="0"/>
                </a:lnTo>
                <a:lnTo>
                  <a:pt x="407" y="81"/>
                </a:lnTo>
                <a:cubicBezTo>
                  <a:pt x="418" y="66"/>
                  <a:pt x="432" y="59"/>
                  <a:pt x="449" y="59"/>
                </a:cubicBezTo>
                <a:cubicBezTo>
                  <a:pt x="458" y="59"/>
                  <a:pt x="467" y="61"/>
                  <a:pt x="476" y="65"/>
                </a:cubicBezTo>
                <a:cubicBezTo>
                  <a:pt x="484" y="69"/>
                  <a:pt x="491" y="75"/>
                  <a:pt x="497" y="82"/>
                </a:cubicBezTo>
                <a:cubicBezTo>
                  <a:pt x="502" y="90"/>
                  <a:pt x="506" y="99"/>
                  <a:pt x="509" y="109"/>
                </a:cubicBezTo>
                <a:cubicBezTo>
                  <a:pt x="512" y="119"/>
                  <a:pt x="514" y="131"/>
                  <a:pt x="514" y="142"/>
                </a:cubicBezTo>
                <a:cubicBezTo>
                  <a:pt x="514" y="171"/>
                  <a:pt x="507" y="192"/>
                  <a:pt x="494" y="208"/>
                </a:cubicBezTo>
                <a:cubicBezTo>
                  <a:pt x="481" y="223"/>
                  <a:pt x="466" y="231"/>
                  <a:pt x="448" y="231"/>
                </a:cubicBezTo>
                <a:cubicBezTo>
                  <a:pt x="430" y="231"/>
                  <a:pt x="415" y="223"/>
                  <a:pt x="405" y="207"/>
                </a:cubicBezTo>
                <a:lnTo>
                  <a:pt x="405" y="227"/>
                </a:lnTo>
                <a:close/>
                <a:moveTo>
                  <a:pt x="405" y="144"/>
                </a:moveTo>
                <a:cubicBezTo>
                  <a:pt x="405" y="163"/>
                  <a:pt x="407" y="178"/>
                  <a:pt x="412" y="186"/>
                </a:cubicBezTo>
                <a:cubicBezTo>
                  <a:pt x="420" y="201"/>
                  <a:pt x="432" y="208"/>
                  <a:pt x="445" y="208"/>
                </a:cubicBezTo>
                <a:cubicBezTo>
                  <a:pt x="457" y="208"/>
                  <a:pt x="467" y="203"/>
                  <a:pt x="475" y="192"/>
                </a:cubicBezTo>
                <a:cubicBezTo>
                  <a:pt x="483" y="181"/>
                  <a:pt x="487" y="166"/>
                  <a:pt x="487" y="145"/>
                </a:cubicBezTo>
                <a:cubicBezTo>
                  <a:pt x="487" y="123"/>
                  <a:pt x="483" y="107"/>
                  <a:pt x="475" y="97"/>
                </a:cubicBezTo>
                <a:cubicBezTo>
                  <a:pt x="467" y="87"/>
                  <a:pt x="458" y="82"/>
                  <a:pt x="447" y="82"/>
                </a:cubicBezTo>
                <a:cubicBezTo>
                  <a:pt x="435" y="82"/>
                  <a:pt x="425" y="87"/>
                  <a:pt x="417" y="98"/>
                </a:cubicBezTo>
                <a:cubicBezTo>
                  <a:pt x="409" y="108"/>
                  <a:pt x="405" y="124"/>
                  <a:pt x="405" y="144"/>
                </a:cubicBezTo>
                <a:close/>
                <a:moveTo>
                  <a:pt x="532" y="32"/>
                </a:moveTo>
                <a:lnTo>
                  <a:pt x="532" y="0"/>
                </a:lnTo>
                <a:lnTo>
                  <a:pt x="558" y="0"/>
                </a:lnTo>
                <a:lnTo>
                  <a:pt x="558" y="32"/>
                </a:lnTo>
                <a:lnTo>
                  <a:pt x="532" y="32"/>
                </a:lnTo>
                <a:close/>
                <a:moveTo>
                  <a:pt x="532" y="227"/>
                </a:moveTo>
                <a:lnTo>
                  <a:pt x="532" y="63"/>
                </a:lnTo>
                <a:lnTo>
                  <a:pt x="558" y="63"/>
                </a:lnTo>
                <a:lnTo>
                  <a:pt x="558" y="227"/>
                </a:lnTo>
                <a:lnTo>
                  <a:pt x="532" y="227"/>
                </a:lnTo>
                <a:close/>
                <a:moveTo>
                  <a:pt x="583" y="227"/>
                </a:moveTo>
                <a:lnTo>
                  <a:pt x="583" y="0"/>
                </a:lnTo>
                <a:lnTo>
                  <a:pt x="609" y="0"/>
                </a:lnTo>
                <a:lnTo>
                  <a:pt x="609" y="227"/>
                </a:lnTo>
                <a:lnTo>
                  <a:pt x="583" y="227"/>
                </a:lnTo>
                <a:close/>
                <a:moveTo>
                  <a:pt x="740" y="174"/>
                </a:moveTo>
                <a:lnTo>
                  <a:pt x="767" y="178"/>
                </a:lnTo>
                <a:cubicBezTo>
                  <a:pt x="763" y="195"/>
                  <a:pt x="755" y="208"/>
                  <a:pt x="744" y="217"/>
                </a:cubicBezTo>
                <a:cubicBezTo>
                  <a:pt x="732" y="226"/>
                  <a:pt x="718" y="231"/>
                  <a:pt x="700" y="231"/>
                </a:cubicBezTo>
                <a:cubicBezTo>
                  <a:pt x="678" y="231"/>
                  <a:pt x="660" y="223"/>
                  <a:pt x="647" y="209"/>
                </a:cubicBezTo>
                <a:cubicBezTo>
                  <a:pt x="634" y="194"/>
                  <a:pt x="627" y="173"/>
                  <a:pt x="627" y="146"/>
                </a:cubicBezTo>
                <a:cubicBezTo>
                  <a:pt x="627" y="119"/>
                  <a:pt x="634" y="97"/>
                  <a:pt x="647" y="82"/>
                </a:cubicBezTo>
                <a:cubicBezTo>
                  <a:pt x="660" y="67"/>
                  <a:pt x="677" y="59"/>
                  <a:pt x="699" y="59"/>
                </a:cubicBezTo>
                <a:cubicBezTo>
                  <a:pt x="719" y="59"/>
                  <a:pt x="736" y="66"/>
                  <a:pt x="749" y="81"/>
                </a:cubicBezTo>
                <a:cubicBezTo>
                  <a:pt x="762" y="96"/>
                  <a:pt x="768" y="117"/>
                  <a:pt x="768" y="145"/>
                </a:cubicBezTo>
                <a:cubicBezTo>
                  <a:pt x="768" y="146"/>
                  <a:pt x="768" y="149"/>
                  <a:pt x="768" y="152"/>
                </a:cubicBezTo>
                <a:lnTo>
                  <a:pt x="654" y="152"/>
                </a:lnTo>
                <a:cubicBezTo>
                  <a:pt x="655" y="170"/>
                  <a:pt x="659" y="184"/>
                  <a:pt x="668" y="194"/>
                </a:cubicBezTo>
                <a:cubicBezTo>
                  <a:pt x="677" y="203"/>
                  <a:pt x="687" y="208"/>
                  <a:pt x="700" y="208"/>
                </a:cubicBezTo>
                <a:cubicBezTo>
                  <a:pt x="710" y="208"/>
                  <a:pt x="718" y="205"/>
                  <a:pt x="724" y="200"/>
                </a:cubicBezTo>
                <a:cubicBezTo>
                  <a:pt x="731" y="194"/>
                  <a:pt x="737" y="186"/>
                  <a:pt x="740" y="174"/>
                </a:cubicBezTo>
                <a:close/>
                <a:moveTo>
                  <a:pt x="655" y="129"/>
                </a:moveTo>
                <a:lnTo>
                  <a:pt x="741" y="129"/>
                </a:lnTo>
                <a:cubicBezTo>
                  <a:pt x="740" y="115"/>
                  <a:pt x="736" y="105"/>
                  <a:pt x="731" y="98"/>
                </a:cubicBezTo>
                <a:cubicBezTo>
                  <a:pt x="723" y="87"/>
                  <a:pt x="712" y="82"/>
                  <a:pt x="699" y="82"/>
                </a:cubicBezTo>
                <a:cubicBezTo>
                  <a:pt x="687" y="82"/>
                  <a:pt x="677" y="86"/>
                  <a:pt x="669" y="95"/>
                </a:cubicBezTo>
                <a:cubicBezTo>
                  <a:pt x="661" y="103"/>
                  <a:pt x="656" y="115"/>
                  <a:pt x="655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5" name="Freeform 85">
            <a:extLst>
              <a:ext uri="{FF2B5EF4-FFF2-40B4-BE49-F238E27FC236}">
                <a16:creationId xmlns:a16="http://schemas.microsoft.com/office/drawing/2014/main" id="{A591B151-B534-4944-B16A-DC6960DACBA3}"/>
              </a:ext>
            </a:extLst>
          </p:cNvPr>
          <p:cNvSpPr>
            <a:spLocks noEditPoints="1"/>
          </p:cNvSpPr>
          <p:nvPr/>
        </p:nvSpPr>
        <p:spPr bwMode="auto">
          <a:xfrm>
            <a:off x="9656763" y="5067301"/>
            <a:ext cx="373063" cy="82550"/>
          </a:xfrm>
          <a:custGeom>
            <a:avLst/>
            <a:gdLst>
              <a:gd name="T0" fmla="*/ 94 w 1038"/>
              <a:gd name="T1" fmla="*/ 0 h 231"/>
              <a:gd name="T2" fmla="*/ 169 w 1038"/>
              <a:gd name="T3" fmla="*/ 62 h 231"/>
              <a:gd name="T4" fmla="*/ 127 w 1038"/>
              <a:gd name="T5" fmla="*/ 135 h 231"/>
              <a:gd name="T6" fmla="*/ 151 w 1038"/>
              <a:gd name="T7" fmla="*/ 227 h 231"/>
              <a:gd name="T8" fmla="*/ 89 w 1038"/>
              <a:gd name="T9" fmla="*/ 133 h 231"/>
              <a:gd name="T10" fmla="*/ 28 w 1038"/>
              <a:gd name="T11" fmla="*/ 126 h 231"/>
              <a:gd name="T12" fmla="*/ 28 w 1038"/>
              <a:gd name="T13" fmla="*/ 100 h 231"/>
              <a:gd name="T14" fmla="*/ 135 w 1038"/>
              <a:gd name="T15" fmla="*/ 82 h 231"/>
              <a:gd name="T16" fmla="*/ 95 w 1038"/>
              <a:gd name="T17" fmla="*/ 25 h 231"/>
              <a:gd name="T18" fmla="*/ 297 w 1038"/>
              <a:gd name="T19" fmla="*/ 174 h 231"/>
              <a:gd name="T20" fmla="*/ 256 w 1038"/>
              <a:gd name="T21" fmla="*/ 231 h 231"/>
              <a:gd name="T22" fmla="*/ 203 w 1038"/>
              <a:gd name="T23" fmla="*/ 82 h 231"/>
              <a:gd name="T24" fmla="*/ 324 w 1038"/>
              <a:gd name="T25" fmla="*/ 144 h 231"/>
              <a:gd name="T26" fmla="*/ 224 w 1038"/>
              <a:gd name="T27" fmla="*/ 193 h 231"/>
              <a:gd name="T28" fmla="*/ 297 w 1038"/>
              <a:gd name="T29" fmla="*/ 174 h 231"/>
              <a:gd name="T30" fmla="*/ 287 w 1038"/>
              <a:gd name="T31" fmla="*/ 98 h 231"/>
              <a:gd name="T32" fmla="*/ 211 w 1038"/>
              <a:gd name="T33" fmla="*/ 129 h 231"/>
              <a:gd name="T34" fmla="*/ 350 w 1038"/>
              <a:gd name="T35" fmla="*/ 62 h 231"/>
              <a:gd name="T36" fmla="*/ 391 w 1038"/>
              <a:gd name="T37" fmla="*/ 159 h 231"/>
              <a:gd name="T38" fmla="*/ 465 w 1038"/>
              <a:gd name="T39" fmla="*/ 158 h 231"/>
              <a:gd name="T40" fmla="*/ 508 w 1038"/>
              <a:gd name="T41" fmla="*/ 62 h 231"/>
              <a:gd name="T42" fmla="*/ 458 w 1038"/>
              <a:gd name="T43" fmla="*/ 227 h 231"/>
              <a:gd name="T44" fmla="*/ 397 w 1038"/>
              <a:gd name="T45" fmla="*/ 227 h 231"/>
              <a:gd name="T46" fmla="*/ 611 w 1038"/>
              <a:gd name="T47" fmla="*/ 225 h 231"/>
              <a:gd name="T48" fmla="*/ 530 w 1038"/>
              <a:gd name="T49" fmla="*/ 184 h 231"/>
              <a:gd name="T50" fmla="*/ 567 w 1038"/>
              <a:gd name="T51" fmla="*/ 136 h 231"/>
              <a:gd name="T52" fmla="*/ 637 w 1038"/>
              <a:gd name="T53" fmla="*/ 115 h 231"/>
              <a:gd name="T54" fmla="*/ 573 w 1038"/>
              <a:gd name="T55" fmla="*/ 89 h 231"/>
              <a:gd name="T56" fmla="*/ 546 w 1038"/>
              <a:gd name="T57" fmla="*/ 81 h 231"/>
              <a:gd name="T58" fmla="*/ 636 w 1038"/>
              <a:gd name="T59" fmla="*/ 64 h 231"/>
              <a:gd name="T60" fmla="*/ 663 w 1038"/>
              <a:gd name="T61" fmla="*/ 121 h 231"/>
              <a:gd name="T62" fmla="*/ 671 w 1038"/>
              <a:gd name="T63" fmla="*/ 227 h 231"/>
              <a:gd name="T64" fmla="*/ 637 w 1038"/>
              <a:gd name="T65" fmla="*/ 144 h 231"/>
              <a:gd name="T66" fmla="*/ 561 w 1038"/>
              <a:gd name="T67" fmla="*/ 170 h 231"/>
              <a:gd name="T68" fmla="*/ 589 w 1038"/>
              <a:gd name="T69" fmla="*/ 209 h 231"/>
              <a:gd name="T70" fmla="*/ 637 w 1038"/>
              <a:gd name="T71" fmla="*/ 155 h 231"/>
              <a:gd name="T72" fmla="*/ 689 w 1038"/>
              <a:gd name="T73" fmla="*/ 62 h 231"/>
              <a:gd name="T74" fmla="*/ 729 w 1038"/>
              <a:gd name="T75" fmla="*/ 64 h 231"/>
              <a:gd name="T76" fmla="*/ 764 w 1038"/>
              <a:gd name="T77" fmla="*/ 93 h 231"/>
              <a:gd name="T78" fmla="*/ 720 w 1038"/>
              <a:gd name="T79" fmla="*/ 108 h 231"/>
              <a:gd name="T80" fmla="*/ 689 w 1038"/>
              <a:gd name="T81" fmla="*/ 227 h 231"/>
              <a:gd name="T82" fmla="*/ 826 w 1038"/>
              <a:gd name="T83" fmla="*/ 231 h 231"/>
              <a:gd name="T84" fmla="*/ 761 w 1038"/>
              <a:gd name="T85" fmla="*/ 145 h 231"/>
              <a:gd name="T86" fmla="*/ 825 w 1038"/>
              <a:gd name="T87" fmla="*/ 59 h 231"/>
              <a:gd name="T88" fmla="*/ 868 w 1038"/>
              <a:gd name="T89" fmla="*/ 0 h 231"/>
              <a:gd name="T90" fmla="*/ 869 w 1038"/>
              <a:gd name="T91" fmla="*/ 227 h 231"/>
              <a:gd name="T92" fmla="*/ 829 w 1038"/>
              <a:gd name="T93" fmla="*/ 208 h 231"/>
              <a:gd name="T94" fmla="*/ 858 w 1038"/>
              <a:gd name="T95" fmla="*/ 98 h 231"/>
              <a:gd name="T96" fmla="*/ 787 w 1038"/>
              <a:gd name="T97" fmla="*/ 145 h 231"/>
              <a:gd name="T98" fmla="*/ 949 w 1038"/>
              <a:gd name="T99" fmla="*/ 199 h 231"/>
              <a:gd name="T100" fmla="*/ 1012 w 1038"/>
              <a:gd name="T101" fmla="*/ 181 h 231"/>
              <a:gd name="T102" fmla="*/ 938 w 1038"/>
              <a:gd name="T103" fmla="*/ 144 h 231"/>
              <a:gd name="T104" fmla="*/ 920 w 1038"/>
              <a:gd name="T105" fmla="*/ 86 h 231"/>
              <a:gd name="T106" fmla="*/ 972 w 1038"/>
              <a:gd name="T107" fmla="*/ 59 h 231"/>
              <a:gd name="T108" fmla="*/ 1033 w 1038"/>
              <a:gd name="T109" fmla="*/ 105 h 231"/>
              <a:gd name="T110" fmla="*/ 974 w 1038"/>
              <a:gd name="T111" fmla="*/ 82 h 231"/>
              <a:gd name="T112" fmla="*/ 944 w 1038"/>
              <a:gd name="T113" fmla="*/ 113 h 231"/>
              <a:gd name="T114" fmla="*/ 1015 w 1038"/>
              <a:gd name="T115" fmla="*/ 140 h 231"/>
              <a:gd name="T116" fmla="*/ 1031 w 1038"/>
              <a:gd name="T117" fmla="*/ 205 h 231"/>
              <a:gd name="T118" fmla="*/ 931 w 1038"/>
              <a:gd name="T119" fmla="*/ 217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38" h="231">
                <a:moveTo>
                  <a:pt x="0" y="227"/>
                </a:moveTo>
                <a:lnTo>
                  <a:pt x="0" y="0"/>
                </a:lnTo>
                <a:lnTo>
                  <a:pt x="94" y="0"/>
                </a:lnTo>
                <a:cubicBezTo>
                  <a:pt x="113" y="0"/>
                  <a:pt x="127" y="2"/>
                  <a:pt x="137" y="6"/>
                </a:cubicBezTo>
                <a:cubicBezTo>
                  <a:pt x="147" y="10"/>
                  <a:pt x="155" y="17"/>
                  <a:pt x="160" y="27"/>
                </a:cubicBezTo>
                <a:cubicBezTo>
                  <a:pt x="166" y="38"/>
                  <a:pt x="169" y="49"/>
                  <a:pt x="169" y="62"/>
                </a:cubicBezTo>
                <a:cubicBezTo>
                  <a:pt x="169" y="78"/>
                  <a:pt x="164" y="91"/>
                  <a:pt x="155" y="102"/>
                </a:cubicBezTo>
                <a:cubicBezTo>
                  <a:pt x="145" y="114"/>
                  <a:pt x="130" y="121"/>
                  <a:pt x="110" y="124"/>
                </a:cubicBezTo>
                <a:cubicBezTo>
                  <a:pt x="117" y="127"/>
                  <a:pt x="123" y="131"/>
                  <a:pt x="127" y="135"/>
                </a:cubicBezTo>
                <a:cubicBezTo>
                  <a:pt x="135" y="143"/>
                  <a:pt x="142" y="153"/>
                  <a:pt x="150" y="165"/>
                </a:cubicBezTo>
                <a:lnTo>
                  <a:pt x="186" y="227"/>
                </a:lnTo>
                <a:lnTo>
                  <a:pt x="151" y="227"/>
                </a:lnTo>
                <a:lnTo>
                  <a:pt x="123" y="180"/>
                </a:lnTo>
                <a:cubicBezTo>
                  <a:pt x="115" y="166"/>
                  <a:pt x="108" y="156"/>
                  <a:pt x="103" y="148"/>
                </a:cubicBezTo>
                <a:cubicBezTo>
                  <a:pt x="98" y="141"/>
                  <a:pt x="93" y="136"/>
                  <a:pt x="89" y="133"/>
                </a:cubicBezTo>
                <a:cubicBezTo>
                  <a:pt x="85" y="130"/>
                  <a:pt x="80" y="128"/>
                  <a:pt x="76" y="127"/>
                </a:cubicBezTo>
                <a:cubicBezTo>
                  <a:pt x="73" y="126"/>
                  <a:pt x="68" y="126"/>
                  <a:pt x="61" y="126"/>
                </a:cubicBezTo>
                <a:lnTo>
                  <a:pt x="28" y="126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28" y="100"/>
                </a:moveTo>
                <a:lnTo>
                  <a:pt x="88" y="100"/>
                </a:lnTo>
                <a:cubicBezTo>
                  <a:pt x="101" y="100"/>
                  <a:pt x="111" y="99"/>
                  <a:pt x="118" y="96"/>
                </a:cubicBezTo>
                <a:cubicBezTo>
                  <a:pt x="125" y="93"/>
                  <a:pt x="131" y="88"/>
                  <a:pt x="135" y="82"/>
                </a:cubicBezTo>
                <a:cubicBezTo>
                  <a:pt x="138" y="76"/>
                  <a:pt x="140" y="69"/>
                  <a:pt x="140" y="62"/>
                </a:cubicBezTo>
                <a:cubicBezTo>
                  <a:pt x="140" y="51"/>
                  <a:pt x="137" y="42"/>
                  <a:pt x="129" y="35"/>
                </a:cubicBezTo>
                <a:cubicBezTo>
                  <a:pt x="122" y="28"/>
                  <a:pt x="111" y="25"/>
                  <a:pt x="95" y="25"/>
                </a:cubicBezTo>
                <a:lnTo>
                  <a:pt x="28" y="25"/>
                </a:lnTo>
                <a:lnTo>
                  <a:pt x="28" y="100"/>
                </a:lnTo>
                <a:close/>
                <a:moveTo>
                  <a:pt x="297" y="174"/>
                </a:moveTo>
                <a:lnTo>
                  <a:pt x="323" y="178"/>
                </a:lnTo>
                <a:cubicBezTo>
                  <a:pt x="319" y="194"/>
                  <a:pt x="311" y="207"/>
                  <a:pt x="300" y="217"/>
                </a:cubicBezTo>
                <a:cubicBezTo>
                  <a:pt x="289" y="226"/>
                  <a:pt x="274" y="231"/>
                  <a:pt x="256" y="231"/>
                </a:cubicBezTo>
                <a:cubicBezTo>
                  <a:pt x="234" y="231"/>
                  <a:pt x="216" y="223"/>
                  <a:pt x="203" y="208"/>
                </a:cubicBezTo>
                <a:cubicBezTo>
                  <a:pt x="190" y="194"/>
                  <a:pt x="183" y="173"/>
                  <a:pt x="183" y="146"/>
                </a:cubicBezTo>
                <a:cubicBezTo>
                  <a:pt x="183" y="118"/>
                  <a:pt x="190" y="97"/>
                  <a:pt x="203" y="82"/>
                </a:cubicBezTo>
                <a:cubicBezTo>
                  <a:pt x="216" y="66"/>
                  <a:pt x="234" y="59"/>
                  <a:pt x="255" y="59"/>
                </a:cubicBezTo>
                <a:cubicBezTo>
                  <a:pt x="275" y="59"/>
                  <a:pt x="292" y="66"/>
                  <a:pt x="305" y="81"/>
                </a:cubicBezTo>
                <a:cubicBezTo>
                  <a:pt x="318" y="96"/>
                  <a:pt x="324" y="117"/>
                  <a:pt x="324" y="144"/>
                </a:cubicBezTo>
                <a:cubicBezTo>
                  <a:pt x="324" y="146"/>
                  <a:pt x="324" y="149"/>
                  <a:pt x="324" y="152"/>
                </a:cubicBezTo>
                <a:lnTo>
                  <a:pt x="210" y="152"/>
                </a:lnTo>
                <a:cubicBezTo>
                  <a:pt x="211" y="170"/>
                  <a:pt x="216" y="184"/>
                  <a:pt x="224" y="193"/>
                </a:cubicBezTo>
                <a:cubicBezTo>
                  <a:pt x="233" y="203"/>
                  <a:pt x="243" y="208"/>
                  <a:pt x="256" y="208"/>
                </a:cubicBezTo>
                <a:cubicBezTo>
                  <a:pt x="266" y="208"/>
                  <a:pt x="274" y="205"/>
                  <a:pt x="281" y="200"/>
                </a:cubicBezTo>
                <a:cubicBezTo>
                  <a:pt x="287" y="194"/>
                  <a:pt x="293" y="186"/>
                  <a:pt x="297" y="174"/>
                </a:cubicBezTo>
                <a:close/>
                <a:moveTo>
                  <a:pt x="211" y="129"/>
                </a:moveTo>
                <a:lnTo>
                  <a:pt x="297" y="129"/>
                </a:lnTo>
                <a:cubicBezTo>
                  <a:pt x="296" y="115"/>
                  <a:pt x="292" y="105"/>
                  <a:pt x="287" y="98"/>
                </a:cubicBezTo>
                <a:cubicBezTo>
                  <a:pt x="279" y="87"/>
                  <a:pt x="268" y="82"/>
                  <a:pt x="255" y="82"/>
                </a:cubicBezTo>
                <a:cubicBezTo>
                  <a:pt x="243" y="82"/>
                  <a:pt x="233" y="86"/>
                  <a:pt x="225" y="94"/>
                </a:cubicBezTo>
                <a:cubicBezTo>
                  <a:pt x="217" y="103"/>
                  <a:pt x="212" y="115"/>
                  <a:pt x="211" y="129"/>
                </a:cubicBezTo>
                <a:close/>
                <a:moveTo>
                  <a:pt x="369" y="227"/>
                </a:moveTo>
                <a:lnTo>
                  <a:pt x="323" y="62"/>
                </a:lnTo>
                <a:lnTo>
                  <a:pt x="350" y="62"/>
                </a:lnTo>
                <a:lnTo>
                  <a:pt x="374" y="157"/>
                </a:lnTo>
                <a:lnTo>
                  <a:pt x="383" y="193"/>
                </a:lnTo>
                <a:cubicBezTo>
                  <a:pt x="383" y="191"/>
                  <a:pt x="386" y="180"/>
                  <a:pt x="391" y="159"/>
                </a:cubicBezTo>
                <a:lnTo>
                  <a:pt x="415" y="62"/>
                </a:lnTo>
                <a:lnTo>
                  <a:pt x="442" y="62"/>
                </a:lnTo>
                <a:lnTo>
                  <a:pt x="465" y="158"/>
                </a:lnTo>
                <a:lnTo>
                  <a:pt x="473" y="189"/>
                </a:lnTo>
                <a:lnTo>
                  <a:pt x="481" y="158"/>
                </a:lnTo>
                <a:lnTo>
                  <a:pt x="508" y="62"/>
                </a:lnTo>
                <a:lnTo>
                  <a:pt x="533" y="62"/>
                </a:lnTo>
                <a:lnTo>
                  <a:pt x="485" y="227"/>
                </a:lnTo>
                <a:lnTo>
                  <a:pt x="458" y="227"/>
                </a:lnTo>
                <a:lnTo>
                  <a:pt x="434" y="128"/>
                </a:lnTo>
                <a:lnTo>
                  <a:pt x="428" y="100"/>
                </a:lnTo>
                <a:lnTo>
                  <a:pt x="397" y="227"/>
                </a:lnTo>
                <a:lnTo>
                  <a:pt x="369" y="227"/>
                </a:lnTo>
                <a:close/>
                <a:moveTo>
                  <a:pt x="639" y="206"/>
                </a:moveTo>
                <a:cubicBezTo>
                  <a:pt x="629" y="215"/>
                  <a:pt x="620" y="221"/>
                  <a:pt x="611" y="225"/>
                </a:cubicBezTo>
                <a:cubicBezTo>
                  <a:pt x="602" y="229"/>
                  <a:pt x="593" y="231"/>
                  <a:pt x="582" y="231"/>
                </a:cubicBezTo>
                <a:cubicBezTo>
                  <a:pt x="565" y="231"/>
                  <a:pt x="552" y="226"/>
                  <a:pt x="543" y="217"/>
                </a:cubicBezTo>
                <a:cubicBezTo>
                  <a:pt x="534" y="209"/>
                  <a:pt x="530" y="197"/>
                  <a:pt x="530" y="184"/>
                </a:cubicBezTo>
                <a:cubicBezTo>
                  <a:pt x="530" y="176"/>
                  <a:pt x="531" y="168"/>
                  <a:pt x="535" y="161"/>
                </a:cubicBezTo>
                <a:cubicBezTo>
                  <a:pt x="538" y="155"/>
                  <a:pt x="543" y="150"/>
                  <a:pt x="548" y="146"/>
                </a:cubicBezTo>
                <a:cubicBezTo>
                  <a:pt x="554" y="141"/>
                  <a:pt x="560" y="138"/>
                  <a:pt x="567" y="136"/>
                </a:cubicBezTo>
                <a:cubicBezTo>
                  <a:pt x="572" y="135"/>
                  <a:pt x="580" y="134"/>
                  <a:pt x="590" y="132"/>
                </a:cubicBezTo>
                <a:cubicBezTo>
                  <a:pt x="611" y="130"/>
                  <a:pt x="627" y="126"/>
                  <a:pt x="637" y="123"/>
                </a:cubicBezTo>
                <a:cubicBezTo>
                  <a:pt x="637" y="119"/>
                  <a:pt x="637" y="116"/>
                  <a:pt x="637" y="115"/>
                </a:cubicBezTo>
                <a:cubicBezTo>
                  <a:pt x="637" y="104"/>
                  <a:pt x="634" y="96"/>
                  <a:pt x="629" y="91"/>
                </a:cubicBezTo>
                <a:cubicBezTo>
                  <a:pt x="623" y="85"/>
                  <a:pt x="613" y="82"/>
                  <a:pt x="600" y="82"/>
                </a:cubicBezTo>
                <a:cubicBezTo>
                  <a:pt x="587" y="82"/>
                  <a:pt x="578" y="84"/>
                  <a:pt x="573" y="89"/>
                </a:cubicBezTo>
                <a:cubicBezTo>
                  <a:pt x="567" y="93"/>
                  <a:pt x="562" y="102"/>
                  <a:pt x="560" y="113"/>
                </a:cubicBezTo>
                <a:lnTo>
                  <a:pt x="534" y="110"/>
                </a:lnTo>
                <a:cubicBezTo>
                  <a:pt x="537" y="98"/>
                  <a:pt x="540" y="88"/>
                  <a:pt x="546" y="81"/>
                </a:cubicBezTo>
                <a:cubicBezTo>
                  <a:pt x="551" y="74"/>
                  <a:pt x="559" y="69"/>
                  <a:pt x="569" y="65"/>
                </a:cubicBezTo>
                <a:cubicBezTo>
                  <a:pt x="579" y="61"/>
                  <a:pt x="590" y="59"/>
                  <a:pt x="604" y="59"/>
                </a:cubicBezTo>
                <a:cubicBezTo>
                  <a:pt x="617" y="59"/>
                  <a:pt x="627" y="60"/>
                  <a:pt x="636" y="64"/>
                </a:cubicBezTo>
                <a:cubicBezTo>
                  <a:pt x="644" y="67"/>
                  <a:pt x="650" y="71"/>
                  <a:pt x="654" y="76"/>
                </a:cubicBezTo>
                <a:cubicBezTo>
                  <a:pt x="658" y="81"/>
                  <a:pt x="660" y="88"/>
                  <a:pt x="662" y="95"/>
                </a:cubicBezTo>
                <a:cubicBezTo>
                  <a:pt x="663" y="100"/>
                  <a:pt x="663" y="109"/>
                  <a:pt x="663" y="121"/>
                </a:cubicBezTo>
                <a:lnTo>
                  <a:pt x="663" y="158"/>
                </a:lnTo>
                <a:cubicBezTo>
                  <a:pt x="663" y="184"/>
                  <a:pt x="664" y="200"/>
                  <a:pt x="665" y="207"/>
                </a:cubicBezTo>
                <a:cubicBezTo>
                  <a:pt x="666" y="214"/>
                  <a:pt x="668" y="221"/>
                  <a:pt x="671" y="227"/>
                </a:cubicBezTo>
                <a:lnTo>
                  <a:pt x="644" y="227"/>
                </a:lnTo>
                <a:cubicBezTo>
                  <a:pt x="641" y="221"/>
                  <a:pt x="640" y="214"/>
                  <a:pt x="639" y="206"/>
                </a:cubicBezTo>
                <a:close/>
                <a:moveTo>
                  <a:pt x="637" y="144"/>
                </a:moveTo>
                <a:cubicBezTo>
                  <a:pt x="627" y="149"/>
                  <a:pt x="613" y="152"/>
                  <a:pt x="594" y="155"/>
                </a:cubicBezTo>
                <a:cubicBezTo>
                  <a:pt x="583" y="157"/>
                  <a:pt x="576" y="158"/>
                  <a:pt x="571" y="161"/>
                </a:cubicBezTo>
                <a:cubicBezTo>
                  <a:pt x="567" y="163"/>
                  <a:pt x="564" y="166"/>
                  <a:pt x="561" y="170"/>
                </a:cubicBezTo>
                <a:cubicBezTo>
                  <a:pt x="559" y="173"/>
                  <a:pt x="558" y="178"/>
                  <a:pt x="558" y="183"/>
                </a:cubicBezTo>
                <a:cubicBezTo>
                  <a:pt x="558" y="190"/>
                  <a:pt x="560" y="196"/>
                  <a:pt x="565" y="201"/>
                </a:cubicBezTo>
                <a:cubicBezTo>
                  <a:pt x="571" y="206"/>
                  <a:pt x="578" y="209"/>
                  <a:pt x="589" y="209"/>
                </a:cubicBezTo>
                <a:cubicBezTo>
                  <a:pt x="599" y="209"/>
                  <a:pt x="607" y="206"/>
                  <a:pt x="615" y="202"/>
                </a:cubicBezTo>
                <a:cubicBezTo>
                  <a:pt x="623" y="197"/>
                  <a:pt x="629" y="191"/>
                  <a:pt x="633" y="182"/>
                </a:cubicBezTo>
                <a:cubicBezTo>
                  <a:pt x="635" y="176"/>
                  <a:pt x="637" y="167"/>
                  <a:pt x="637" y="155"/>
                </a:cubicBezTo>
                <a:lnTo>
                  <a:pt x="637" y="144"/>
                </a:lnTo>
                <a:close/>
                <a:moveTo>
                  <a:pt x="689" y="227"/>
                </a:moveTo>
                <a:lnTo>
                  <a:pt x="689" y="62"/>
                </a:lnTo>
                <a:lnTo>
                  <a:pt x="713" y="62"/>
                </a:lnTo>
                <a:lnTo>
                  <a:pt x="713" y="88"/>
                </a:lnTo>
                <a:cubicBezTo>
                  <a:pt x="719" y="76"/>
                  <a:pt x="724" y="68"/>
                  <a:pt x="729" y="64"/>
                </a:cubicBezTo>
                <a:cubicBezTo>
                  <a:pt x="734" y="61"/>
                  <a:pt x="740" y="59"/>
                  <a:pt x="746" y="59"/>
                </a:cubicBezTo>
                <a:cubicBezTo>
                  <a:pt x="755" y="59"/>
                  <a:pt x="764" y="62"/>
                  <a:pt x="773" y="68"/>
                </a:cubicBezTo>
                <a:lnTo>
                  <a:pt x="764" y="93"/>
                </a:lnTo>
                <a:cubicBezTo>
                  <a:pt x="757" y="90"/>
                  <a:pt x="751" y="88"/>
                  <a:pt x="745" y="88"/>
                </a:cubicBezTo>
                <a:cubicBezTo>
                  <a:pt x="739" y="88"/>
                  <a:pt x="734" y="90"/>
                  <a:pt x="729" y="93"/>
                </a:cubicBezTo>
                <a:cubicBezTo>
                  <a:pt x="725" y="97"/>
                  <a:pt x="722" y="102"/>
                  <a:pt x="720" y="108"/>
                </a:cubicBezTo>
                <a:cubicBezTo>
                  <a:pt x="717" y="118"/>
                  <a:pt x="715" y="129"/>
                  <a:pt x="715" y="141"/>
                </a:cubicBezTo>
                <a:lnTo>
                  <a:pt x="715" y="227"/>
                </a:lnTo>
                <a:lnTo>
                  <a:pt x="689" y="227"/>
                </a:lnTo>
                <a:close/>
                <a:moveTo>
                  <a:pt x="869" y="227"/>
                </a:moveTo>
                <a:lnTo>
                  <a:pt x="869" y="206"/>
                </a:lnTo>
                <a:cubicBezTo>
                  <a:pt x="860" y="222"/>
                  <a:pt x="845" y="231"/>
                  <a:pt x="826" y="231"/>
                </a:cubicBezTo>
                <a:cubicBezTo>
                  <a:pt x="814" y="231"/>
                  <a:pt x="803" y="227"/>
                  <a:pt x="793" y="220"/>
                </a:cubicBezTo>
                <a:cubicBezTo>
                  <a:pt x="783" y="212"/>
                  <a:pt x="775" y="202"/>
                  <a:pt x="769" y="189"/>
                </a:cubicBezTo>
                <a:cubicBezTo>
                  <a:pt x="763" y="177"/>
                  <a:pt x="761" y="162"/>
                  <a:pt x="761" y="145"/>
                </a:cubicBezTo>
                <a:cubicBezTo>
                  <a:pt x="761" y="128"/>
                  <a:pt x="763" y="114"/>
                  <a:pt x="768" y="100"/>
                </a:cubicBezTo>
                <a:cubicBezTo>
                  <a:pt x="773" y="87"/>
                  <a:pt x="781" y="77"/>
                  <a:pt x="791" y="69"/>
                </a:cubicBezTo>
                <a:cubicBezTo>
                  <a:pt x="801" y="62"/>
                  <a:pt x="813" y="59"/>
                  <a:pt x="825" y="59"/>
                </a:cubicBezTo>
                <a:cubicBezTo>
                  <a:pt x="835" y="59"/>
                  <a:pt x="843" y="61"/>
                  <a:pt x="850" y="65"/>
                </a:cubicBezTo>
                <a:cubicBezTo>
                  <a:pt x="857" y="69"/>
                  <a:pt x="863" y="75"/>
                  <a:pt x="868" y="81"/>
                </a:cubicBezTo>
                <a:lnTo>
                  <a:pt x="868" y="0"/>
                </a:lnTo>
                <a:lnTo>
                  <a:pt x="894" y="0"/>
                </a:lnTo>
                <a:lnTo>
                  <a:pt x="894" y="227"/>
                </a:lnTo>
                <a:lnTo>
                  <a:pt x="869" y="227"/>
                </a:lnTo>
                <a:close/>
                <a:moveTo>
                  <a:pt x="787" y="145"/>
                </a:moveTo>
                <a:cubicBezTo>
                  <a:pt x="787" y="166"/>
                  <a:pt x="791" y="182"/>
                  <a:pt x="800" y="192"/>
                </a:cubicBezTo>
                <a:cubicBezTo>
                  <a:pt x="808" y="202"/>
                  <a:pt x="818" y="208"/>
                  <a:pt x="829" y="208"/>
                </a:cubicBezTo>
                <a:cubicBezTo>
                  <a:pt x="840" y="208"/>
                  <a:pt x="850" y="203"/>
                  <a:pt x="858" y="193"/>
                </a:cubicBezTo>
                <a:cubicBezTo>
                  <a:pt x="866" y="183"/>
                  <a:pt x="870" y="168"/>
                  <a:pt x="870" y="147"/>
                </a:cubicBezTo>
                <a:cubicBezTo>
                  <a:pt x="870" y="125"/>
                  <a:pt x="866" y="108"/>
                  <a:pt x="858" y="98"/>
                </a:cubicBezTo>
                <a:cubicBezTo>
                  <a:pt x="850" y="87"/>
                  <a:pt x="840" y="82"/>
                  <a:pt x="828" y="82"/>
                </a:cubicBezTo>
                <a:cubicBezTo>
                  <a:pt x="816" y="82"/>
                  <a:pt x="807" y="87"/>
                  <a:pt x="799" y="97"/>
                </a:cubicBezTo>
                <a:cubicBezTo>
                  <a:pt x="791" y="107"/>
                  <a:pt x="787" y="123"/>
                  <a:pt x="787" y="145"/>
                </a:cubicBezTo>
                <a:close/>
                <a:moveTo>
                  <a:pt x="911" y="178"/>
                </a:moveTo>
                <a:lnTo>
                  <a:pt x="937" y="173"/>
                </a:lnTo>
                <a:cubicBezTo>
                  <a:pt x="938" y="184"/>
                  <a:pt x="942" y="193"/>
                  <a:pt x="949" y="199"/>
                </a:cubicBezTo>
                <a:cubicBezTo>
                  <a:pt x="955" y="205"/>
                  <a:pt x="965" y="208"/>
                  <a:pt x="977" y="208"/>
                </a:cubicBezTo>
                <a:cubicBezTo>
                  <a:pt x="988" y="208"/>
                  <a:pt x="997" y="205"/>
                  <a:pt x="1003" y="200"/>
                </a:cubicBezTo>
                <a:cubicBezTo>
                  <a:pt x="1009" y="195"/>
                  <a:pt x="1012" y="189"/>
                  <a:pt x="1012" y="181"/>
                </a:cubicBezTo>
                <a:cubicBezTo>
                  <a:pt x="1012" y="175"/>
                  <a:pt x="1009" y="170"/>
                  <a:pt x="1004" y="167"/>
                </a:cubicBezTo>
                <a:cubicBezTo>
                  <a:pt x="1000" y="164"/>
                  <a:pt x="992" y="161"/>
                  <a:pt x="977" y="157"/>
                </a:cubicBezTo>
                <a:cubicBezTo>
                  <a:pt x="958" y="152"/>
                  <a:pt x="945" y="148"/>
                  <a:pt x="938" y="144"/>
                </a:cubicBezTo>
                <a:cubicBezTo>
                  <a:pt x="931" y="140"/>
                  <a:pt x="925" y="135"/>
                  <a:pt x="921" y="128"/>
                </a:cubicBezTo>
                <a:cubicBezTo>
                  <a:pt x="917" y="122"/>
                  <a:pt x="915" y="114"/>
                  <a:pt x="915" y="106"/>
                </a:cubicBezTo>
                <a:cubicBezTo>
                  <a:pt x="915" y="99"/>
                  <a:pt x="917" y="92"/>
                  <a:pt x="920" y="86"/>
                </a:cubicBezTo>
                <a:cubicBezTo>
                  <a:pt x="923" y="80"/>
                  <a:pt x="928" y="74"/>
                  <a:pt x="933" y="70"/>
                </a:cubicBezTo>
                <a:cubicBezTo>
                  <a:pt x="937" y="67"/>
                  <a:pt x="942" y="64"/>
                  <a:pt x="949" y="62"/>
                </a:cubicBezTo>
                <a:cubicBezTo>
                  <a:pt x="956" y="60"/>
                  <a:pt x="964" y="59"/>
                  <a:pt x="972" y="59"/>
                </a:cubicBezTo>
                <a:cubicBezTo>
                  <a:pt x="984" y="59"/>
                  <a:pt x="994" y="61"/>
                  <a:pt x="1003" y="64"/>
                </a:cubicBezTo>
                <a:cubicBezTo>
                  <a:pt x="1013" y="68"/>
                  <a:pt x="1019" y="73"/>
                  <a:pt x="1024" y="80"/>
                </a:cubicBezTo>
                <a:cubicBezTo>
                  <a:pt x="1028" y="86"/>
                  <a:pt x="1031" y="94"/>
                  <a:pt x="1033" y="105"/>
                </a:cubicBezTo>
                <a:lnTo>
                  <a:pt x="1007" y="109"/>
                </a:lnTo>
                <a:cubicBezTo>
                  <a:pt x="1006" y="100"/>
                  <a:pt x="1003" y="94"/>
                  <a:pt x="997" y="89"/>
                </a:cubicBezTo>
                <a:cubicBezTo>
                  <a:pt x="992" y="84"/>
                  <a:pt x="984" y="82"/>
                  <a:pt x="974" y="82"/>
                </a:cubicBezTo>
                <a:cubicBezTo>
                  <a:pt x="962" y="82"/>
                  <a:pt x="953" y="84"/>
                  <a:pt x="948" y="88"/>
                </a:cubicBezTo>
                <a:cubicBezTo>
                  <a:pt x="943" y="92"/>
                  <a:pt x="941" y="97"/>
                  <a:pt x="941" y="103"/>
                </a:cubicBezTo>
                <a:cubicBezTo>
                  <a:pt x="941" y="106"/>
                  <a:pt x="942" y="110"/>
                  <a:pt x="944" y="113"/>
                </a:cubicBezTo>
                <a:cubicBezTo>
                  <a:pt x="946" y="116"/>
                  <a:pt x="949" y="118"/>
                  <a:pt x="954" y="120"/>
                </a:cubicBezTo>
                <a:cubicBezTo>
                  <a:pt x="956" y="121"/>
                  <a:pt x="964" y="123"/>
                  <a:pt x="977" y="127"/>
                </a:cubicBezTo>
                <a:cubicBezTo>
                  <a:pt x="995" y="132"/>
                  <a:pt x="1008" y="137"/>
                  <a:pt x="1015" y="140"/>
                </a:cubicBezTo>
                <a:cubicBezTo>
                  <a:pt x="1022" y="143"/>
                  <a:pt x="1028" y="148"/>
                  <a:pt x="1032" y="155"/>
                </a:cubicBezTo>
                <a:cubicBezTo>
                  <a:pt x="1036" y="161"/>
                  <a:pt x="1038" y="169"/>
                  <a:pt x="1038" y="179"/>
                </a:cubicBezTo>
                <a:cubicBezTo>
                  <a:pt x="1038" y="188"/>
                  <a:pt x="1036" y="197"/>
                  <a:pt x="1031" y="205"/>
                </a:cubicBezTo>
                <a:cubicBezTo>
                  <a:pt x="1026" y="213"/>
                  <a:pt x="1019" y="219"/>
                  <a:pt x="1009" y="224"/>
                </a:cubicBezTo>
                <a:cubicBezTo>
                  <a:pt x="999" y="228"/>
                  <a:pt x="989" y="231"/>
                  <a:pt x="977" y="231"/>
                </a:cubicBezTo>
                <a:cubicBezTo>
                  <a:pt x="957" y="231"/>
                  <a:pt x="941" y="226"/>
                  <a:pt x="931" y="217"/>
                </a:cubicBezTo>
                <a:cubicBezTo>
                  <a:pt x="921" y="208"/>
                  <a:pt x="914" y="195"/>
                  <a:pt x="911" y="1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6" name="Freeform 86">
            <a:extLst>
              <a:ext uri="{FF2B5EF4-FFF2-40B4-BE49-F238E27FC236}">
                <a16:creationId xmlns:a16="http://schemas.microsoft.com/office/drawing/2014/main" id="{A7159FDB-368A-4111-BAC6-194564B15F9B}"/>
              </a:ext>
            </a:extLst>
          </p:cNvPr>
          <p:cNvSpPr>
            <a:spLocks noEditPoints="1"/>
          </p:cNvSpPr>
          <p:nvPr/>
        </p:nvSpPr>
        <p:spPr bwMode="auto">
          <a:xfrm>
            <a:off x="3446463" y="6081713"/>
            <a:ext cx="566738" cy="220663"/>
          </a:xfrm>
          <a:custGeom>
            <a:avLst/>
            <a:gdLst>
              <a:gd name="T0" fmla="*/ 382 w 1574"/>
              <a:gd name="T1" fmla="*/ 177 h 612"/>
              <a:gd name="T2" fmla="*/ 554 w 1574"/>
              <a:gd name="T3" fmla="*/ 66 h 612"/>
              <a:gd name="T4" fmla="*/ 399 w 1574"/>
              <a:gd name="T5" fmla="*/ 116 h 612"/>
              <a:gd name="T6" fmla="*/ 0 w 1574"/>
              <a:gd name="T7" fmla="*/ 549 h 612"/>
              <a:gd name="T8" fmla="*/ 175 w 1574"/>
              <a:gd name="T9" fmla="*/ 434 h 612"/>
              <a:gd name="T10" fmla="*/ 0 w 1574"/>
              <a:gd name="T11" fmla="*/ 549 h 612"/>
              <a:gd name="T12" fmla="*/ 146 w 1574"/>
              <a:gd name="T13" fmla="*/ 433 h 612"/>
              <a:gd name="T14" fmla="*/ 302 w 1574"/>
              <a:gd name="T15" fmla="*/ 495 h 612"/>
              <a:gd name="T16" fmla="*/ 208 w 1574"/>
              <a:gd name="T17" fmla="*/ 403 h 612"/>
              <a:gd name="T18" fmla="*/ 229 w 1574"/>
              <a:gd name="T19" fmla="*/ 515 h 612"/>
              <a:gd name="T20" fmla="*/ 292 w 1574"/>
              <a:gd name="T21" fmla="*/ 420 h 612"/>
              <a:gd name="T22" fmla="*/ 358 w 1574"/>
              <a:gd name="T23" fmla="*/ 384 h 612"/>
              <a:gd name="T24" fmla="*/ 413 w 1574"/>
              <a:gd name="T25" fmla="*/ 549 h 612"/>
              <a:gd name="T26" fmla="*/ 487 w 1574"/>
              <a:gd name="T27" fmla="*/ 530 h 612"/>
              <a:gd name="T28" fmla="*/ 608 w 1574"/>
              <a:gd name="T29" fmla="*/ 474 h 612"/>
              <a:gd name="T30" fmla="*/ 495 w 1574"/>
              <a:gd name="T31" fmla="*/ 451 h 612"/>
              <a:gd name="T32" fmla="*/ 626 w 1574"/>
              <a:gd name="T33" fmla="*/ 549 h 612"/>
              <a:gd name="T34" fmla="*/ 693 w 1574"/>
              <a:gd name="T35" fmla="*/ 399 h 612"/>
              <a:gd name="T36" fmla="*/ 741 w 1574"/>
              <a:gd name="T37" fmla="*/ 552 h 612"/>
              <a:gd name="T38" fmla="*/ 773 w 1574"/>
              <a:gd name="T39" fmla="*/ 514 h 612"/>
              <a:gd name="T40" fmla="*/ 829 w 1574"/>
              <a:gd name="T41" fmla="*/ 612 h 612"/>
              <a:gd name="T42" fmla="*/ 932 w 1574"/>
              <a:gd name="T43" fmla="*/ 391 h 612"/>
              <a:gd name="T44" fmla="*/ 872 w 1574"/>
              <a:gd name="T45" fmla="*/ 546 h 612"/>
              <a:gd name="T46" fmla="*/ 894 w 1574"/>
              <a:gd name="T47" fmla="*/ 529 h 612"/>
              <a:gd name="T48" fmla="*/ 853 w 1574"/>
              <a:gd name="T49" fmla="*/ 467 h 612"/>
              <a:gd name="T50" fmla="*/ 1050 w 1574"/>
              <a:gd name="T51" fmla="*/ 381 h 612"/>
              <a:gd name="T52" fmla="*/ 1188 w 1574"/>
              <a:gd name="T53" fmla="*/ 549 h 612"/>
              <a:gd name="T54" fmla="*/ 1108 w 1574"/>
              <a:gd name="T55" fmla="*/ 416 h 612"/>
              <a:gd name="T56" fmla="*/ 1044 w 1574"/>
              <a:gd name="T57" fmla="*/ 405 h 612"/>
              <a:gd name="T58" fmla="*/ 1317 w 1574"/>
              <a:gd name="T59" fmla="*/ 495 h 612"/>
              <a:gd name="T60" fmla="*/ 1224 w 1574"/>
              <a:gd name="T61" fmla="*/ 403 h 612"/>
              <a:gd name="T62" fmla="*/ 1245 w 1574"/>
              <a:gd name="T63" fmla="*/ 515 h 612"/>
              <a:gd name="T64" fmla="*/ 1308 w 1574"/>
              <a:gd name="T65" fmla="*/ 420 h 612"/>
              <a:gd name="T66" fmla="*/ 1387 w 1574"/>
              <a:gd name="T67" fmla="*/ 384 h 612"/>
              <a:gd name="T68" fmla="*/ 1488 w 1574"/>
              <a:gd name="T69" fmla="*/ 448 h 612"/>
              <a:gd name="T70" fmla="*/ 1430 w 1574"/>
              <a:gd name="T71" fmla="*/ 405 h 612"/>
              <a:gd name="T72" fmla="*/ 1574 w 1574"/>
              <a:gd name="T73" fmla="*/ 549 h 612"/>
              <a:gd name="T74" fmla="*/ 1499 w 1574"/>
              <a:gd name="T75" fmla="*/ 406 h 612"/>
              <a:gd name="T76" fmla="*/ 1571 w 1574"/>
              <a:gd name="T77" fmla="*/ 384 h 612"/>
              <a:gd name="T78" fmla="*/ 1559 w 1574"/>
              <a:gd name="T79" fmla="*/ 525 h 612"/>
              <a:gd name="T80" fmla="*/ 709 w 1574"/>
              <a:gd name="T81" fmla="*/ 147 h 612"/>
              <a:gd name="T82" fmla="*/ 592 w 1574"/>
              <a:gd name="T83" fmla="*/ 149 h 612"/>
              <a:gd name="T84" fmla="*/ 637 w 1574"/>
              <a:gd name="T85" fmla="*/ 86 h 612"/>
              <a:gd name="T86" fmla="*/ 748 w 1574"/>
              <a:gd name="T87" fmla="*/ 224 h 612"/>
              <a:gd name="T88" fmla="*/ 805 w 1574"/>
              <a:gd name="T89" fmla="*/ 69 h 612"/>
              <a:gd name="T90" fmla="*/ 743 w 1574"/>
              <a:gd name="T91" fmla="*/ 149 h 612"/>
              <a:gd name="T92" fmla="*/ 783 w 1574"/>
              <a:gd name="T93" fmla="*/ 86 h 612"/>
              <a:gd name="T94" fmla="*/ 902 w 1574"/>
              <a:gd name="T95" fmla="*/ 36 h 612"/>
              <a:gd name="T96" fmla="*/ 876 w 1574"/>
              <a:gd name="T97" fmla="*/ 231 h 612"/>
              <a:gd name="T98" fmla="*/ 1026 w 1574"/>
              <a:gd name="T99" fmla="*/ 68 h 612"/>
              <a:gd name="T100" fmla="*/ 1027 w 1574"/>
              <a:gd name="T101" fmla="*/ 131 h 612"/>
              <a:gd name="T102" fmla="*/ 954 w 1574"/>
              <a:gd name="T103" fmla="*/ 231 h 612"/>
              <a:gd name="T104" fmla="*/ 1163 w 1574"/>
              <a:gd name="T105" fmla="*/ 267 h 612"/>
              <a:gd name="T106" fmla="*/ 1077 w 1574"/>
              <a:gd name="T107" fmla="*/ 105 h 612"/>
              <a:gd name="T108" fmla="*/ 1204 w 1574"/>
              <a:gd name="T109" fmla="*/ 209 h 612"/>
              <a:gd name="T110" fmla="*/ 1096 w 1574"/>
              <a:gd name="T111" fmla="*/ 146 h 612"/>
              <a:gd name="T112" fmla="*/ 1137 w 1574"/>
              <a:gd name="T113" fmla="*/ 86 h 6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74" h="612">
                <a:moveTo>
                  <a:pt x="529" y="152"/>
                </a:moveTo>
                <a:lnTo>
                  <a:pt x="557" y="159"/>
                </a:lnTo>
                <a:cubicBezTo>
                  <a:pt x="551" y="184"/>
                  <a:pt x="541" y="203"/>
                  <a:pt x="526" y="216"/>
                </a:cubicBezTo>
                <a:cubicBezTo>
                  <a:pt x="510" y="229"/>
                  <a:pt x="492" y="235"/>
                  <a:pt x="470" y="235"/>
                </a:cubicBezTo>
                <a:cubicBezTo>
                  <a:pt x="447" y="235"/>
                  <a:pt x="428" y="230"/>
                  <a:pt x="414" y="220"/>
                </a:cubicBezTo>
                <a:cubicBezTo>
                  <a:pt x="400" y="210"/>
                  <a:pt x="389" y="196"/>
                  <a:pt x="382" y="177"/>
                </a:cubicBezTo>
                <a:cubicBezTo>
                  <a:pt x="374" y="158"/>
                  <a:pt x="370" y="138"/>
                  <a:pt x="370" y="116"/>
                </a:cubicBezTo>
                <a:cubicBezTo>
                  <a:pt x="370" y="92"/>
                  <a:pt x="375" y="72"/>
                  <a:pt x="383" y="54"/>
                </a:cubicBezTo>
                <a:cubicBezTo>
                  <a:pt x="391" y="36"/>
                  <a:pt x="403" y="23"/>
                  <a:pt x="419" y="14"/>
                </a:cubicBezTo>
                <a:cubicBezTo>
                  <a:pt x="434" y="5"/>
                  <a:pt x="452" y="0"/>
                  <a:pt x="470" y="0"/>
                </a:cubicBezTo>
                <a:cubicBezTo>
                  <a:pt x="491" y="0"/>
                  <a:pt x="509" y="6"/>
                  <a:pt x="524" y="18"/>
                </a:cubicBezTo>
                <a:cubicBezTo>
                  <a:pt x="538" y="29"/>
                  <a:pt x="548" y="45"/>
                  <a:pt x="554" y="66"/>
                </a:cubicBezTo>
                <a:lnTo>
                  <a:pt x="526" y="73"/>
                </a:lnTo>
                <a:cubicBezTo>
                  <a:pt x="521" y="57"/>
                  <a:pt x="514" y="45"/>
                  <a:pt x="505" y="37"/>
                </a:cubicBezTo>
                <a:cubicBezTo>
                  <a:pt x="496" y="30"/>
                  <a:pt x="484" y="26"/>
                  <a:pt x="470" y="26"/>
                </a:cubicBezTo>
                <a:cubicBezTo>
                  <a:pt x="454" y="26"/>
                  <a:pt x="440" y="30"/>
                  <a:pt x="429" y="38"/>
                </a:cubicBezTo>
                <a:cubicBezTo>
                  <a:pt x="418" y="47"/>
                  <a:pt x="410" y="58"/>
                  <a:pt x="406" y="72"/>
                </a:cubicBezTo>
                <a:cubicBezTo>
                  <a:pt x="402" y="86"/>
                  <a:pt x="399" y="101"/>
                  <a:pt x="399" y="116"/>
                </a:cubicBezTo>
                <a:cubicBezTo>
                  <a:pt x="399" y="135"/>
                  <a:pt x="402" y="152"/>
                  <a:pt x="407" y="166"/>
                </a:cubicBezTo>
                <a:cubicBezTo>
                  <a:pt x="412" y="181"/>
                  <a:pt x="421" y="192"/>
                  <a:pt x="432" y="199"/>
                </a:cubicBezTo>
                <a:cubicBezTo>
                  <a:pt x="443" y="206"/>
                  <a:pt x="455" y="209"/>
                  <a:pt x="467" y="209"/>
                </a:cubicBezTo>
                <a:cubicBezTo>
                  <a:pt x="483" y="209"/>
                  <a:pt x="496" y="205"/>
                  <a:pt x="507" y="195"/>
                </a:cubicBezTo>
                <a:cubicBezTo>
                  <a:pt x="518" y="185"/>
                  <a:pt x="525" y="171"/>
                  <a:pt x="529" y="152"/>
                </a:cubicBezTo>
                <a:close/>
                <a:moveTo>
                  <a:pt x="0" y="549"/>
                </a:moveTo>
                <a:lnTo>
                  <a:pt x="0" y="321"/>
                </a:lnTo>
                <a:lnTo>
                  <a:pt x="73" y="321"/>
                </a:lnTo>
                <a:cubicBezTo>
                  <a:pt x="90" y="321"/>
                  <a:pt x="102" y="323"/>
                  <a:pt x="111" y="325"/>
                </a:cubicBezTo>
                <a:cubicBezTo>
                  <a:pt x="123" y="328"/>
                  <a:pt x="134" y="333"/>
                  <a:pt x="142" y="341"/>
                </a:cubicBezTo>
                <a:cubicBezTo>
                  <a:pt x="153" y="351"/>
                  <a:pt x="162" y="364"/>
                  <a:pt x="167" y="380"/>
                </a:cubicBezTo>
                <a:cubicBezTo>
                  <a:pt x="173" y="396"/>
                  <a:pt x="175" y="414"/>
                  <a:pt x="175" y="434"/>
                </a:cubicBezTo>
                <a:cubicBezTo>
                  <a:pt x="175" y="451"/>
                  <a:pt x="174" y="466"/>
                  <a:pt x="170" y="480"/>
                </a:cubicBezTo>
                <a:cubicBezTo>
                  <a:pt x="166" y="493"/>
                  <a:pt x="161" y="504"/>
                  <a:pt x="155" y="513"/>
                </a:cubicBezTo>
                <a:cubicBezTo>
                  <a:pt x="150" y="522"/>
                  <a:pt x="143" y="529"/>
                  <a:pt x="136" y="534"/>
                </a:cubicBezTo>
                <a:cubicBezTo>
                  <a:pt x="129" y="539"/>
                  <a:pt x="121" y="542"/>
                  <a:pt x="111" y="545"/>
                </a:cubicBezTo>
                <a:cubicBezTo>
                  <a:pt x="101" y="548"/>
                  <a:pt x="90" y="549"/>
                  <a:pt x="77" y="549"/>
                </a:cubicBezTo>
                <a:lnTo>
                  <a:pt x="0" y="549"/>
                </a:lnTo>
                <a:close/>
                <a:moveTo>
                  <a:pt x="28" y="522"/>
                </a:moveTo>
                <a:lnTo>
                  <a:pt x="74" y="522"/>
                </a:lnTo>
                <a:cubicBezTo>
                  <a:pt x="88" y="522"/>
                  <a:pt x="99" y="521"/>
                  <a:pt x="106" y="518"/>
                </a:cubicBezTo>
                <a:cubicBezTo>
                  <a:pt x="114" y="515"/>
                  <a:pt x="121" y="511"/>
                  <a:pt x="125" y="506"/>
                </a:cubicBezTo>
                <a:cubicBezTo>
                  <a:pt x="132" y="499"/>
                  <a:pt x="137" y="489"/>
                  <a:pt x="141" y="477"/>
                </a:cubicBezTo>
                <a:cubicBezTo>
                  <a:pt x="145" y="465"/>
                  <a:pt x="146" y="451"/>
                  <a:pt x="146" y="433"/>
                </a:cubicBezTo>
                <a:cubicBezTo>
                  <a:pt x="146" y="410"/>
                  <a:pt x="143" y="391"/>
                  <a:pt x="136" y="379"/>
                </a:cubicBezTo>
                <a:cubicBezTo>
                  <a:pt x="128" y="366"/>
                  <a:pt x="120" y="357"/>
                  <a:pt x="109" y="353"/>
                </a:cubicBezTo>
                <a:cubicBezTo>
                  <a:pt x="102" y="350"/>
                  <a:pt x="90" y="348"/>
                  <a:pt x="73" y="348"/>
                </a:cubicBezTo>
                <a:lnTo>
                  <a:pt x="28" y="348"/>
                </a:lnTo>
                <a:lnTo>
                  <a:pt x="28" y="522"/>
                </a:lnTo>
                <a:close/>
                <a:moveTo>
                  <a:pt x="302" y="495"/>
                </a:moveTo>
                <a:lnTo>
                  <a:pt x="329" y="499"/>
                </a:lnTo>
                <a:cubicBezTo>
                  <a:pt x="324" y="516"/>
                  <a:pt x="317" y="529"/>
                  <a:pt x="305" y="538"/>
                </a:cubicBezTo>
                <a:cubicBezTo>
                  <a:pt x="294" y="548"/>
                  <a:pt x="279" y="552"/>
                  <a:pt x="261" y="552"/>
                </a:cubicBezTo>
                <a:cubicBezTo>
                  <a:pt x="239" y="552"/>
                  <a:pt x="221" y="545"/>
                  <a:pt x="208" y="530"/>
                </a:cubicBezTo>
                <a:cubicBezTo>
                  <a:pt x="195" y="515"/>
                  <a:pt x="188" y="495"/>
                  <a:pt x="188" y="468"/>
                </a:cubicBezTo>
                <a:cubicBezTo>
                  <a:pt x="188" y="440"/>
                  <a:pt x="195" y="419"/>
                  <a:pt x="208" y="403"/>
                </a:cubicBezTo>
                <a:cubicBezTo>
                  <a:pt x="222" y="388"/>
                  <a:pt x="239" y="381"/>
                  <a:pt x="260" y="381"/>
                </a:cubicBezTo>
                <a:cubicBezTo>
                  <a:pt x="280" y="381"/>
                  <a:pt x="297" y="388"/>
                  <a:pt x="310" y="403"/>
                </a:cubicBezTo>
                <a:cubicBezTo>
                  <a:pt x="323" y="418"/>
                  <a:pt x="329" y="439"/>
                  <a:pt x="329" y="466"/>
                </a:cubicBezTo>
                <a:cubicBezTo>
                  <a:pt x="329" y="468"/>
                  <a:pt x="329" y="470"/>
                  <a:pt x="329" y="474"/>
                </a:cubicBezTo>
                <a:lnTo>
                  <a:pt x="215" y="474"/>
                </a:lnTo>
                <a:cubicBezTo>
                  <a:pt x="216" y="492"/>
                  <a:pt x="221" y="505"/>
                  <a:pt x="229" y="515"/>
                </a:cubicBezTo>
                <a:cubicBezTo>
                  <a:pt x="238" y="525"/>
                  <a:pt x="249" y="529"/>
                  <a:pt x="261" y="529"/>
                </a:cubicBezTo>
                <a:cubicBezTo>
                  <a:pt x="271" y="529"/>
                  <a:pt x="279" y="527"/>
                  <a:pt x="286" y="521"/>
                </a:cubicBezTo>
                <a:cubicBezTo>
                  <a:pt x="292" y="516"/>
                  <a:pt x="298" y="507"/>
                  <a:pt x="302" y="495"/>
                </a:cubicBezTo>
                <a:close/>
                <a:moveTo>
                  <a:pt x="216" y="451"/>
                </a:moveTo>
                <a:lnTo>
                  <a:pt x="302" y="451"/>
                </a:lnTo>
                <a:cubicBezTo>
                  <a:pt x="301" y="437"/>
                  <a:pt x="298" y="426"/>
                  <a:pt x="292" y="420"/>
                </a:cubicBezTo>
                <a:cubicBezTo>
                  <a:pt x="284" y="409"/>
                  <a:pt x="273" y="403"/>
                  <a:pt x="260" y="403"/>
                </a:cubicBezTo>
                <a:cubicBezTo>
                  <a:pt x="248" y="403"/>
                  <a:pt x="238" y="408"/>
                  <a:pt x="230" y="416"/>
                </a:cubicBezTo>
                <a:cubicBezTo>
                  <a:pt x="222" y="425"/>
                  <a:pt x="217" y="436"/>
                  <a:pt x="216" y="451"/>
                </a:cubicBezTo>
                <a:close/>
                <a:moveTo>
                  <a:pt x="388" y="549"/>
                </a:moveTo>
                <a:lnTo>
                  <a:pt x="330" y="384"/>
                </a:lnTo>
                <a:lnTo>
                  <a:pt x="358" y="384"/>
                </a:lnTo>
                <a:lnTo>
                  <a:pt x="391" y="483"/>
                </a:lnTo>
                <a:cubicBezTo>
                  <a:pt x="394" y="493"/>
                  <a:pt x="398" y="504"/>
                  <a:pt x="401" y="516"/>
                </a:cubicBezTo>
                <a:cubicBezTo>
                  <a:pt x="403" y="507"/>
                  <a:pt x="406" y="497"/>
                  <a:pt x="411" y="485"/>
                </a:cubicBezTo>
                <a:lnTo>
                  <a:pt x="445" y="384"/>
                </a:lnTo>
                <a:lnTo>
                  <a:pt x="471" y="384"/>
                </a:lnTo>
                <a:lnTo>
                  <a:pt x="413" y="549"/>
                </a:lnTo>
                <a:lnTo>
                  <a:pt x="388" y="549"/>
                </a:lnTo>
                <a:close/>
                <a:moveTo>
                  <a:pt x="581" y="495"/>
                </a:moveTo>
                <a:lnTo>
                  <a:pt x="608" y="499"/>
                </a:lnTo>
                <a:cubicBezTo>
                  <a:pt x="603" y="516"/>
                  <a:pt x="596" y="529"/>
                  <a:pt x="584" y="538"/>
                </a:cubicBezTo>
                <a:cubicBezTo>
                  <a:pt x="573" y="548"/>
                  <a:pt x="558" y="552"/>
                  <a:pt x="540" y="552"/>
                </a:cubicBezTo>
                <a:cubicBezTo>
                  <a:pt x="518" y="552"/>
                  <a:pt x="500" y="545"/>
                  <a:pt x="487" y="530"/>
                </a:cubicBezTo>
                <a:cubicBezTo>
                  <a:pt x="474" y="515"/>
                  <a:pt x="467" y="495"/>
                  <a:pt x="467" y="468"/>
                </a:cubicBezTo>
                <a:cubicBezTo>
                  <a:pt x="467" y="440"/>
                  <a:pt x="474" y="419"/>
                  <a:pt x="487" y="403"/>
                </a:cubicBezTo>
                <a:cubicBezTo>
                  <a:pt x="500" y="388"/>
                  <a:pt x="518" y="381"/>
                  <a:pt x="539" y="381"/>
                </a:cubicBezTo>
                <a:cubicBezTo>
                  <a:pt x="559" y="381"/>
                  <a:pt x="576" y="388"/>
                  <a:pt x="589" y="403"/>
                </a:cubicBezTo>
                <a:cubicBezTo>
                  <a:pt x="602" y="418"/>
                  <a:pt x="608" y="439"/>
                  <a:pt x="608" y="466"/>
                </a:cubicBezTo>
                <a:cubicBezTo>
                  <a:pt x="608" y="468"/>
                  <a:pt x="608" y="470"/>
                  <a:pt x="608" y="474"/>
                </a:cubicBezTo>
                <a:lnTo>
                  <a:pt x="494" y="474"/>
                </a:lnTo>
                <a:cubicBezTo>
                  <a:pt x="495" y="492"/>
                  <a:pt x="500" y="505"/>
                  <a:pt x="508" y="515"/>
                </a:cubicBezTo>
                <a:cubicBezTo>
                  <a:pt x="517" y="525"/>
                  <a:pt x="527" y="529"/>
                  <a:pt x="540" y="529"/>
                </a:cubicBezTo>
                <a:cubicBezTo>
                  <a:pt x="550" y="529"/>
                  <a:pt x="558" y="527"/>
                  <a:pt x="565" y="521"/>
                </a:cubicBezTo>
                <a:cubicBezTo>
                  <a:pt x="571" y="516"/>
                  <a:pt x="577" y="507"/>
                  <a:pt x="581" y="495"/>
                </a:cubicBezTo>
                <a:close/>
                <a:moveTo>
                  <a:pt x="495" y="451"/>
                </a:moveTo>
                <a:lnTo>
                  <a:pt x="581" y="451"/>
                </a:lnTo>
                <a:cubicBezTo>
                  <a:pt x="580" y="437"/>
                  <a:pt x="576" y="426"/>
                  <a:pt x="571" y="420"/>
                </a:cubicBezTo>
                <a:cubicBezTo>
                  <a:pt x="563" y="409"/>
                  <a:pt x="552" y="403"/>
                  <a:pt x="539" y="403"/>
                </a:cubicBezTo>
                <a:cubicBezTo>
                  <a:pt x="527" y="403"/>
                  <a:pt x="517" y="408"/>
                  <a:pt x="509" y="416"/>
                </a:cubicBezTo>
                <a:cubicBezTo>
                  <a:pt x="501" y="425"/>
                  <a:pt x="496" y="436"/>
                  <a:pt x="495" y="451"/>
                </a:cubicBezTo>
                <a:close/>
                <a:moveTo>
                  <a:pt x="626" y="549"/>
                </a:moveTo>
                <a:lnTo>
                  <a:pt x="626" y="321"/>
                </a:lnTo>
                <a:lnTo>
                  <a:pt x="652" y="321"/>
                </a:lnTo>
                <a:lnTo>
                  <a:pt x="652" y="549"/>
                </a:lnTo>
                <a:lnTo>
                  <a:pt x="626" y="549"/>
                </a:lnTo>
                <a:close/>
                <a:moveTo>
                  <a:pt x="669" y="466"/>
                </a:moveTo>
                <a:cubicBezTo>
                  <a:pt x="669" y="436"/>
                  <a:pt x="677" y="413"/>
                  <a:pt x="693" y="399"/>
                </a:cubicBezTo>
                <a:cubicBezTo>
                  <a:pt x="706" y="387"/>
                  <a:pt x="722" y="381"/>
                  <a:pt x="741" y="381"/>
                </a:cubicBezTo>
                <a:cubicBezTo>
                  <a:pt x="762" y="381"/>
                  <a:pt x="779" y="388"/>
                  <a:pt x="793" y="403"/>
                </a:cubicBezTo>
                <a:cubicBezTo>
                  <a:pt x="806" y="418"/>
                  <a:pt x="813" y="438"/>
                  <a:pt x="813" y="464"/>
                </a:cubicBezTo>
                <a:cubicBezTo>
                  <a:pt x="813" y="485"/>
                  <a:pt x="810" y="502"/>
                  <a:pt x="804" y="514"/>
                </a:cubicBezTo>
                <a:cubicBezTo>
                  <a:pt x="798" y="526"/>
                  <a:pt x="789" y="536"/>
                  <a:pt x="778" y="542"/>
                </a:cubicBezTo>
                <a:cubicBezTo>
                  <a:pt x="767" y="549"/>
                  <a:pt x="754" y="552"/>
                  <a:pt x="741" y="552"/>
                </a:cubicBezTo>
                <a:cubicBezTo>
                  <a:pt x="719" y="552"/>
                  <a:pt x="702" y="545"/>
                  <a:pt x="689" y="530"/>
                </a:cubicBezTo>
                <a:cubicBezTo>
                  <a:pt x="675" y="515"/>
                  <a:pt x="669" y="494"/>
                  <a:pt x="669" y="466"/>
                </a:cubicBezTo>
                <a:close/>
                <a:moveTo>
                  <a:pt x="695" y="466"/>
                </a:moveTo>
                <a:cubicBezTo>
                  <a:pt x="695" y="488"/>
                  <a:pt x="700" y="503"/>
                  <a:pt x="708" y="514"/>
                </a:cubicBezTo>
                <a:cubicBezTo>
                  <a:pt x="717" y="524"/>
                  <a:pt x="728" y="529"/>
                  <a:pt x="741" y="529"/>
                </a:cubicBezTo>
                <a:cubicBezTo>
                  <a:pt x="754" y="529"/>
                  <a:pt x="764" y="524"/>
                  <a:pt x="773" y="514"/>
                </a:cubicBezTo>
                <a:cubicBezTo>
                  <a:pt x="782" y="503"/>
                  <a:pt x="786" y="487"/>
                  <a:pt x="786" y="466"/>
                </a:cubicBezTo>
                <a:cubicBezTo>
                  <a:pt x="786" y="445"/>
                  <a:pt x="782" y="430"/>
                  <a:pt x="773" y="419"/>
                </a:cubicBezTo>
                <a:cubicBezTo>
                  <a:pt x="764" y="409"/>
                  <a:pt x="754" y="404"/>
                  <a:pt x="741" y="404"/>
                </a:cubicBezTo>
                <a:cubicBezTo>
                  <a:pt x="728" y="404"/>
                  <a:pt x="717" y="409"/>
                  <a:pt x="708" y="419"/>
                </a:cubicBezTo>
                <a:cubicBezTo>
                  <a:pt x="700" y="430"/>
                  <a:pt x="695" y="445"/>
                  <a:pt x="695" y="466"/>
                </a:cubicBezTo>
                <a:close/>
                <a:moveTo>
                  <a:pt x="829" y="612"/>
                </a:moveTo>
                <a:lnTo>
                  <a:pt x="829" y="384"/>
                </a:lnTo>
                <a:lnTo>
                  <a:pt x="853" y="384"/>
                </a:lnTo>
                <a:lnTo>
                  <a:pt x="853" y="406"/>
                </a:lnTo>
                <a:cubicBezTo>
                  <a:pt x="859" y="397"/>
                  <a:pt x="865" y="391"/>
                  <a:pt x="872" y="387"/>
                </a:cubicBezTo>
                <a:cubicBezTo>
                  <a:pt x="879" y="383"/>
                  <a:pt x="887" y="381"/>
                  <a:pt x="897" y="381"/>
                </a:cubicBezTo>
                <a:cubicBezTo>
                  <a:pt x="911" y="381"/>
                  <a:pt x="922" y="384"/>
                  <a:pt x="932" y="391"/>
                </a:cubicBezTo>
                <a:cubicBezTo>
                  <a:pt x="942" y="399"/>
                  <a:pt x="950" y="409"/>
                  <a:pt x="955" y="422"/>
                </a:cubicBezTo>
                <a:cubicBezTo>
                  <a:pt x="960" y="435"/>
                  <a:pt x="962" y="449"/>
                  <a:pt x="962" y="465"/>
                </a:cubicBezTo>
                <a:cubicBezTo>
                  <a:pt x="962" y="482"/>
                  <a:pt x="960" y="497"/>
                  <a:pt x="954" y="511"/>
                </a:cubicBezTo>
                <a:cubicBezTo>
                  <a:pt x="948" y="524"/>
                  <a:pt x="940" y="534"/>
                  <a:pt x="929" y="542"/>
                </a:cubicBezTo>
                <a:cubicBezTo>
                  <a:pt x="919" y="549"/>
                  <a:pt x="907" y="552"/>
                  <a:pt x="896" y="552"/>
                </a:cubicBezTo>
                <a:cubicBezTo>
                  <a:pt x="887" y="552"/>
                  <a:pt x="879" y="550"/>
                  <a:pt x="872" y="546"/>
                </a:cubicBezTo>
                <a:cubicBezTo>
                  <a:pt x="865" y="542"/>
                  <a:pt x="860" y="538"/>
                  <a:pt x="855" y="532"/>
                </a:cubicBezTo>
                <a:lnTo>
                  <a:pt x="855" y="612"/>
                </a:lnTo>
                <a:lnTo>
                  <a:pt x="829" y="612"/>
                </a:lnTo>
                <a:close/>
                <a:moveTo>
                  <a:pt x="853" y="467"/>
                </a:moveTo>
                <a:cubicBezTo>
                  <a:pt x="853" y="489"/>
                  <a:pt x="857" y="504"/>
                  <a:pt x="865" y="514"/>
                </a:cubicBezTo>
                <a:cubicBezTo>
                  <a:pt x="873" y="524"/>
                  <a:pt x="883" y="529"/>
                  <a:pt x="894" y="529"/>
                </a:cubicBezTo>
                <a:cubicBezTo>
                  <a:pt x="905" y="529"/>
                  <a:pt x="915" y="524"/>
                  <a:pt x="923" y="514"/>
                </a:cubicBezTo>
                <a:cubicBezTo>
                  <a:pt x="932" y="503"/>
                  <a:pt x="936" y="487"/>
                  <a:pt x="936" y="465"/>
                </a:cubicBezTo>
                <a:cubicBezTo>
                  <a:pt x="936" y="444"/>
                  <a:pt x="932" y="428"/>
                  <a:pt x="924" y="418"/>
                </a:cubicBezTo>
                <a:cubicBezTo>
                  <a:pt x="916" y="408"/>
                  <a:pt x="906" y="402"/>
                  <a:pt x="895" y="402"/>
                </a:cubicBezTo>
                <a:cubicBezTo>
                  <a:pt x="884" y="402"/>
                  <a:pt x="874" y="408"/>
                  <a:pt x="866" y="419"/>
                </a:cubicBezTo>
                <a:cubicBezTo>
                  <a:pt x="857" y="430"/>
                  <a:pt x="853" y="446"/>
                  <a:pt x="853" y="467"/>
                </a:cubicBezTo>
                <a:close/>
                <a:moveTo>
                  <a:pt x="980" y="549"/>
                </a:moveTo>
                <a:lnTo>
                  <a:pt x="980" y="384"/>
                </a:lnTo>
                <a:lnTo>
                  <a:pt x="1003" y="384"/>
                </a:lnTo>
                <a:lnTo>
                  <a:pt x="1003" y="407"/>
                </a:lnTo>
                <a:cubicBezTo>
                  <a:pt x="1008" y="399"/>
                  <a:pt x="1015" y="393"/>
                  <a:pt x="1023" y="388"/>
                </a:cubicBezTo>
                <a:cubicBezTo>
                  <a:pt x="1031" y="383"/>
                  <a:pt x="1040" y="381"/>
                  <a:pt x="1050" y="381"/>
                </a:cubicBezTo>
                <a:cubicBezTo>
                  <a:pt x="1061" y="381"/>
                  <a:pt x="1071" y="383"/>
                  <a:pt x="1078" y="388"/>
                </a:cubicBezTo>
                <a:cubicBezTo>
                  <a:pt x="1085" y="393"/>
                  <a:pt x="1090" y="400"/>
                  <a:pt x="1093" y="409"/>
                </a:cubicBezTo>
                <a:cubicBezTo>
                  <a:pt x="1105" y="390"/>
                  <a:pt x="1121" y="381"/>
                  <a:pt x="1141" y="381"/>
                </a:cubicBezTo>
                <a:cubicBezTo>
                  <a:pt x="1156" y="381"/>
                  <a:pt x="1168" y="385"/>
                  <a:pt x="1176" y="394"/>
                </a:cubicBezTo>
                <a:cubicBezTo>
                  <a:pt x="1184" y="403"/>
                  <a:pt x="1188" y="417"/>
                  <a:pt x="1188" y="436"/>
                </a:cubicBezTo>
                <a:lnTo>
                  <a:pt x="1188" y="549"/>
                </a:lnTo>
                <a:lnTo>
                  <a:pt x="1162" y="549"/>
                </a:lnTo>
                <a:lnTo>
                  <a:pt x="1162" y="445"/>
                </a:lnTo>
                <a:cubicBezTo>
                  <a:pt x="1162" y="434"/>
                  <a:pt x="1161" y="426"/>
                  <a:pt x="1160" y="421"/>
                </a:cubicBezTo>
                <a:cubicBezTo>
                  <a:pt x="1158" y="416"/>
                  <a:pt x="1155" y="412"/>
                  <a:pt x="1150" y="409"/>
                </a:cubicBezTo>
                <a:cubicBezTo>
                  <a:pt x="1146" y="406"/>
                  <a:pt x="1141" y="405"/>
                  <a:pt x="1135" y="405"/>
                </a:cubicBezTo>
                <a:cubicBezTo>
                  <a:pt x="1124" y="405"/>
                  <a:pt x="1115" y="409"/>
                  <a:pt x="1108" y="416"/>
                </a:cubicBezTo>
                <a:cubicBezTo>
                  <a:pt x="1101" y="424"/>
                  <a:pt x="1097" y="436"/>
                  <a:pt x="1097" y="453"/>
                </a:cubicBezTo>
                <a:lnTo>
                  <a:pt x="1097" y="549"/>
                </a:lnTo>
                <a:lnTo>
                  <a:pt x="1071" y="549"/>
                </a:lnTo>
                <a:lnTo>
                  <a:pt x="1071" y="442"/>
                </a:lnTo>
                <a:cubicBezTo>
                  <a:pt x="1071" y="429"/>
                  <a:pt x="1069" y="420"/>
                  <a:pt x="1065" y="414"/>
                </a:cubicBezTo>
                <a:cubicBezTo>
                  <a:pt x="1061" y="408"/>
                  <a:pt x="1054" y="405"/>
                  <a:pt x="1044" y="405"/>
                </a:cubicBezTo>
                <a:cubicBezTo>
                  <a:pt x="1037" y="405"/>
                  <a:pt x="1030" y="407"/>
                  <a:pt x="1024" y="411"/>
                </a:cubicBezTo>
                <a:cubicBezTo>
                  <a:pt x="1018" y="415"/>
                  <a:pt x="1013" y="421"/>
                  <a:pt x="1010" y="429"/>
                </a:cubicBezTo>
                <a:cubicBezTo>
                  <a:pt x="1007" y="437"/>
                  <a:pt x="1006" y="448"/>
                  <a:pt x="1006" y="463"/>
                </a:cubicBezTo>
                <a:lnTo>
                  <a:pt x="1006" y="549"/>
                </a:lnTo>
                <a:lnTo>
                  <a:pt x="980" y="549"/>
                </a:lnTo>
                <a:close/>
                <a:moveTo>
                  <a:pt x="1317" y="495"/>
                </a:moveTo>
                <a:lnTo>
                  <a:pt x="1344" y="499"/>
                </a:lnTo>
                <a:cubicBezTo>
                  <a:pt x="1340" y="516"/>
                  <a:pt x="1332" y="529"/>
                  <a:pt x="1321" y="538"/>
                </a:cubicBezTo>
                <a:cubicBezTo>
                  <a:pt x="1309" y="548"/>
                  <a:pt x="1295" y="552"/>
                  <a:pt x="1277" y="552"/>
                </a:cubicBezTo>
                <a:cubicBezTo>
                  <a:pt x="1255" y="552"/>
                  <a:pt x="1237" y="545"/>
                  <a:pt x="1224" y="530"/>
                </a:cubicBezTo>
                <a:cubicBezTo>
                  <a:pt x="1211" y="515"/>
                  <a:pt x="1204" y="495"/>
                  <a:pt x="1204" y="468"/>
                </a:cubicBezTo>
                <a:cubicBezTo>
                  <a:pt x="1204" y="440"/>
                  <a:pt x="1211" y="419"/>
                  <a:pt x="1224" y="403"/>
                </a:cubicBezTo>
                <a:cubicBezTo>
                  <a:pt x="1237" y="388"/>
                  <a:pt x="1254" y="381"/>
                  <a:pt x="1276" y="381"/>
                </a:cubicBezTo>
                <a:cubicBezTo>
                  <a:pt x="1296" y="381"/>
                  <a:pt x="1313" y="388"/>
                  <a:pt x="1326" y="403"/>
                </a:cubicBezTo>
                <a:cubicBezTo>
                  <a:pt x="1339" y="418"/>
                  <a:pt x="1345" y="439"/>
                  <a:pt x="1345" y="466"/>
                </a:cubicBezTo>
                <a:cubicBezTo>
                  <a:pt x="1345" y="468"/>
                  <a:pt x="1345" y="470"/>
                  <a:pt x="1345" y="474"/>
                </a:cubicBezTo>
                <a:lnTo>
                  <a:pt x="1231" y="474"/>
                </a:lnTo>
                <a:cubicBezTo>
                  <a:pt x="1232" y="492"/>
                  <a:pt x="1236" y="505"/>
                  <a:pt x="1245" y="515"/>
                </a:cubicBezTo>
                <a:cubicBezTo>
                  <a:pt x="1254" y="525"/>
                  <a:pt x="1264" y="529"/>
                  <a:pt x="1277" y="529"/>
                </a:cubicBezTo>
                <a:cubicBezTo>
                  <a:pt x="1287" y="529"/>
                  <a:pt x="1295" y="527"/>
                  <a:pt x="1301" y="521"/>
                </a:cubicBezTo>
                <a:cubicBezTo>
                  <a:pt x="1308" y="516"/>
                  <a:pt x="1313" y="507"/>
                  <a:pt x="1317" y="495"/>
                </a:cubicBezTo>
                <a:close/>
                <a:moveTo>
                  <a:pt x="1232" y="451"/>
                </a:moveTo>
                <a:lnTo>
                  <a:pt x="1318" y="451"/>
                </a:lnTo>
                <a:cubicBezTo>
                  <a:pt x="1317" y="437"/>
                  <a:pt x="1313" y="426"/>
                  <a:pt x="1308" y="420"/>
                </a:cubicBezTo>
                <a:cubicBezTo>
                  <a:pt x="1300" y="409"/>
                  <a:pt x="1289" y="403"/>
                  <a:pt x="1276" y="403"/>
                </a:cubicBezTo>
                <a:cubicBezTo>
                  <a:pt x="1264" y="403"/>
                  <a:pt x="1254" y="408"/>
                  <a:pt x="1246" y="416"/>
                </a:cubicBezTo>
                <a:cubicBezTo>
                  <a:pt x="1238" y="425"/>
                  <a:pt x="1233" y="436"/>
                  <a:pt x="1232" y="451"/>
                </a:cubicBezTo>
                <a:close/>
                <a:moveTo>
                  <a:pt x="1363" y="549"/>
                </a:moveTo>
                <a:lnTo>
                  <a:pt x="1363" y="384"/>
                </a:lnTo>
                <a:lnTo>
                  <a:pt x="1387" y="384"/>
                </a:lnTo>
                <a:lnTo>
                  <a:pt x="1387" y="407"/>
                </a:lnTo>
                <a:cubicBezTo>
                  <a:pt x="1398" y="389"/>
                  <a:pt x="1414" y="381"/>
                  <a:pt x="1436" y="381"/>
                </a:cubicBezTo>
                <a:cubicBezTo>
                  <a:pt x="1445" y="381"/>
                  <a:pt x="1453" y="382"/>
                  <a:pt x="1461" y="386"/>
                </a:cubicBezTo>
                <a:cubicBezTo>
                  <a:pt x="1469" y="389"/>
                  <a:pt x="1475" y="394"/>
                  <a:pt x="1478" y="400"/>
                </a:cubicBezTo>
                <a:cubicBezTo>
                  <a:pt x="1482" y="406"/>
                  <a:pt x="1485" y="413"/>
                  <a:pt x="1487" y="420"/>
                </a:cubicBezTo>
                <a:cubicBezTo>
                  <a:pt x="1487" y="426"/>
                  <a:pt x="1488" y="435"/>
                  <a:pt x="1488" y="448"/>
                </a:cubicBezTo>
                <a:lnTo>
                  <a:pt x="1488" y="549"/>
                </a:lnTo>
                <a:lnTo>
                  <a:pt x="1462" y="549"/>
                </a:lnTo>
                <a:lnTo>
                  <a:pt x="1462" y="449"/>
                </a:lnTo>
                <a:cubicBezTo>
                  <a:pt x="1462" y="437"/>
                  <a:pt x="1461" y="429"/>
                  <a:pt x="1459" y="423"/>
                </a:cubicBezTo>
                <a:cubicBezTo>
                  <a:pt x="1457" y="418"/>
                  <a:pt x="1453" y="413"/>
                  <a:pt x="1448" y="410"/>
                </a:cubicBezTo>
                <a:cubicBezTo>
                  <a:pt x="1443" y="406"/>
                  <a:pt x="1437" y="405"/>
                  <a:pt x="1430" y="405"/>
                </a:cubicBezTo>
                <a:cubicBezTo>
                  <a:pt x="1419" y="405"/>
                  <a:pt x="1410" y="408"/>
                  <a:pt x="1401" y="416"/>
                </a:cubicBezTo>
                <a:cubicBezTo>
                  <a:pt x="1393" y="423"/>
                  <a:pt x="1389" y="438"/>
                  <a:pt x="1389" y="459"/>
                </a:cubicBezTo>
                <a:lnTo>
                  <a:pt x="1389" y="549"/>
                </a:lnTo>
                <a:lnTo>
                  <a:pt x="1363" y="549"/>
                </a:lnTo>
                <a:close/>
                <a:moveTo>
                  <a:pt x="1571" y="524"/>
                </a:moveTo>
                <a:lnTo>
                  <a:pt x="1574" y="549"/>
                </a:lnTo>
                <a:cubicBezTo>
                  <a:pt x="1567" y="550"/>
                  <a:pt x="1560" y="551"/>
                  <a:pt x="1555" y="551"/>
                </a:cubicBezTo>
                <a:cubicBezTo>
                  <a:pt x="1545" y="551"/>
                  <a:pt x="1538" y="549"/>
                  <a:pt x="1533" y="546"/>
                </a:cubicBezTo>
                <a:cubicBezTo>
                  <a:pt x="1528" y="543"/>
                  <a:pt x="1524" y="539"/>
                  <a:pt x="1522" y="534"/>
                </a:cubicBezTo>
                <a:cubicBezTo>
                  <a:pt x="1520" y="528"/>
                  <a:pt x="1519" y="517"/>
                  <a:pt x="1519" y="501"/>
                </a:cubicBezTo>
                <a:lnTo>
                  <a:pt x="1519" y="406"/>
                </a:lnTo>
                <a:lnTo>
                  <a:pt x="1499" y="406"/>
                </a:lnTo>
                <a:lnTo>
                  <a:pt x="1499" y="384"/>
                </a:lnTo>
                <a:lnTo>
                  <a:pt x="1519" y="384"/>
                </a:lnTo>
                <a:lnTo>
                  <a:pt x="1519" y="343"/>
                </a:lnTo>
                <a:lnTo>
                  <a:pt x="1545" y="326"/>
                </a:lnTo>
                <a:lnTo>
                  <a:pt x="1545" y="384"/>
                </a:lnTo>
                <a:lnTo>
                  <a:pt x="1571" y="384"/>
                </a:lnTo>
                <a:lnTo>
                  <a:pt x="1571" y="406"/>
                </a:lnTo>
                <a:lnTo>
                  <a:pt x="1545" y="406"/>
                </a:lnTo>
                <a:lnTo>
                  <a:pt x="1545" y="502"/>
                </a:lnTo>
                <a:cubicBezTo>
                  <a:pt x="1545" y="510"/>
                  <a:pt x="1545" y="515"/>
                  <a:pt x="1546" y="518"/>
                </a:cubicBezTo>
                <a:cubicBezTo>
                  <a:pt x="1547" y="520"/>
                  <a:pt x="1548" y="522"/>
                  <a:pt x="1550" y="523"/>
                </a:cubicBezTo>
                <a:cubicBezTo>
                  <a:pt x="1553" y="524"/>
                  <a:pt x="1555" y="525"/>
                  <a:pt x="1559" y="525"/>
                </a:cubicBezTo>
                <a:cubicBezTo>
                  <a:pt x="1562" y="525"/>
                  <a:pt x="1566" y="525"/>
                  <a:pt x="1571" y="524"/>
                </a:cubicBezTo>
                <a:close/>
                <a:moveTo>
                  <a:pt x="565" y="149"/>
                </a:moveTo>
                <a:cubicBezTo>
                  <a:pt x="565" y="118"/>
                  <a:pt x="573" y="96"/>
                  <a:pt x="589" y="81"/>
                </a:cubicBezTo>
                <a:cubicBezTo>
                  <a:pt x="602" y="69"/>
                  <a:pt x="618" y="63"/>
                  <a:pt x="637" y="63"/>
                </a:cubicBezTo>
                <a:cubicBezTo>
                  <a:pt x="658" y="63"/>
                  <a:pt x="675" y="70"/>
                  <a:pt x="689" y="85"/>
                </a:cubicBezTo>
                <a:cubicBezTo>
                  <a:pt x="702" y="100"/>
                  <a:pt x="709" y="120"/>
                  <a:pt x="709" y="147"/>
                </a:cubicBezTo>
                <a:cubicBezTo>
                  <a:pt x="709" y="168"/>
                  <a:pt x="706" y="184"/>
                  <a:pt x="700" y="196"/>
                </a:cubicBezTo>
                <a:cubicBezTo>
                  <a:pt x="694" y="209"/>
                  <a:pt x="686" y="218"/>
                  <a:pt x="674" y="225"/>
                </a:cubicBezTo>
                <a:cubicBezTo>
                  <a:pt x="663" y="231"/>
                  <a:pt x="651" y="235"/>
                  <a:pt x="637" y="235"/>
                </a:cubicBezTo>
                <a:cubicBezTo>
                  <a:pt x="616" y="235"/>
                  <a:pt x="598" y="227"/>
                  <a:pt x="585" y="213"/>
                </a:cubicBezTo>
                <a:cubicBezTo>
                  <a:pt x="572" y="198"/>
                  <a:pt x="565" y="177"/>
                  <a:pt x="565" y="149"/>
                </a:cubicBezTo>
                <a:close/>
                <a:moveTo>
                  <a:pt x="592" y="149"/>
                </a:moveTo>
                <a:cubicBezTo>
                  <a:pt x="592" y="170"/>
                  <a:pt x="596" y="186"/>
                  <a:pt x="605" y="196"/>
                </a:cubicBezTo>
                <a:cubicBezTo>
                  <a:pt x="613" y="207"/>
                  <a:pt x="624" y="212"/>
                  <a:pt x="637" y="212"/>
                </a:cubicBezTo>
                <a:cubicBezTo>
                  <a:pt x="650" y="212"/>
                  <a:pt x="661" y="207"/>
                  <a:pt x="669" y="196"/>
                </a:cubicBezTo>
                <a:cubicBezTo>
                  <a:pt x="678" y="186"/>
                  <a:pt x="682" y="170"/>
                  <a:pt x="682" y="148"/>
                </a:cubicBezTo>
                <a:cubicBezTo>
                  <a:pt x="682" y="128"/>
                  <a:pt x="678" y="112"/>
                  <a:pt x="669" y="102"/>
                </a:cubicBezTo>
                <a:cubicBezTo>
                  <a:pt x="661" y="91"/>
                  <a:pt x="650" y="86"/>
                  <a:pt x="637" y="86"/>
                </a:cubicBezTo>
                <a:cubicBezTo>
                  <a:pt x="624" y="86"/>
                  <a:pt x="613" y="91"/>
                  <a:pt x="605" y="102"/>
                </a:cubicBezTo>
                <a:cubicBezTo>
                  <a:pt x="596" y="112"/>
                  <a:pt x="592" y="128"/>
                  <a:pt x="592" y="149"/>
                </a:cubicBezTo>
                <a:close/>
                <a:moveTo>
                  <a:pt x="825" y="231"/>
                </a:moveTo>
                <a:lnTo>
                  <a:pt x="825" y="210"/>
                </a:lnTo>
                <a:cubicBezTo>
                  <a:pt x="815" y="227"/>
                  <a:pt x="801" y="235"/>
                  <a:pt x="782" y="235"/>
                </a:cubicBezTo>
                <a:cubicBezTo>
                  <a:pt x="770" y="235"/>
                  <a:pt x="758" y="231"/>
                  <a:pt x="748" y="224"/>
                </a:cubicBezTo>
                <a:cubicBezTo>
                  <a:pt x="738" y="217"/>
                  <a:pt x="730" y="207"/>
                  <a:pt x="724" y="194"/>
                </a:cubicBezTo>
                <a:cubicBezTo>
                  <a:pt x="719" y="181"/>
                  <a:pt x="716" y="166"/>
                  <a:pt x="716" y="149"/>
                </a:cubicBezTo>
                <a:cubicBezTo>
                  <a:pt x="716" y="133"/>
                  <a:pt x="718" y="118"/>
                  <a:pt x="724" y="104"/>
                </a:cubicBezTo>
                <a:cubicBezTo>
                  <a:pt x="729" y="91"/>
                  <a:pt x="736" y="81"/>
                  <a:pt x="747" y="74"/>
                </a:cubicBezTo>
                <a:cubicBezTo>
                  <a:pt x="757" y="67"/>
                  <a:pt x="768" y="63"/>
                  <a:pt x="781" y="63"/>
                </a:cubicBezTo>
                <a:cubicBezTo>
                  <a:pt x="790" y="63"/>
                  <a:pt x="798" y="65"/>
                  <a:pt x="805" y="69"/>
                </a:cubicBezTo>
                <a:cubicBezTo>
                  <a:pt x="813" y="73"/>
                  <a:pt x="818" y="79"/>
                  <a:pt x="823" y="86"/>
                </a:cubicBezTo>
                <a:lnTo>
                  <a:pt x="823" y="4"/>
                </a:lnTo>
                <a:lnTo>
                  <a:pt x="849" y="4"/>
                </a:lnTo>
                <a:lnTo>
                  <a:pt x="849" y="231"/>
                </a:lnTo>
                <a:lnTo>
                  <a:pt x="825" y="231"/>
                </a:lnTo>
                <a:close/>
                <a:moveTo>
                  <a:pt x="743" y="149"/>
                </a:moveTo>
                <a:cubicBezTo>
                  <a:pt x="743" y="170"/>
                  <a:pt x="747" y="186"/>
                  <a:pt x="755" y="196"/>
                </a:cubicBezTo>
                <a:cubicBezTo>
                  <a:pt x="763" y="207"/>
                  <a:pt x="773" y="212"/>
                  <a:pt x="784" y="212"/>
                </a:cubicBezTo>
                <a:cubicBezTo>
                  <a:pt x="796" y="212"/>
                  <a:pt x="805" y="207"/>
                  <a:pt x="813" y="197"/>
                </a:cubicBezTo>
                <a:cubicBezTo>
                  <a:pt x="821" y="187"/>
                  <a:pt x="825" y="172"/>
                  <a:pt x="825" y="151"/>
                </a:cubicBezTo>
                <a:cubicBezTo>
                  <a:pt x="825" y="129"/>
                  <a:pt x="821" y="112"/>
                  <a:pt x="813" y="102"/>
                </a:cubicBezTo>
                <a:cubicBezTo>
                  <a:pt x="805" y="91"/>
                  <a:pt x="795" y="86"/>
                  <a:pt x="783" y="86"/>
                </a:cubicBezTo>
                <a:cubicBezTo>
                  <a:pt x="772" y="86"/>
                  <a:pt x="762" y="91"/>
                  <a:pt x="754" y="101"/>
                </a:cubicBezTo>
                <a:cubicBezTo>
                  <a:pt x="746" y="111"/>
                  <a:pt x="743" y="127"/>
                  <a:pt x="743" y="149"/>
                </a:cubicBezTo>
                <a:close/>
                <a:moveTo>
                  <a:pt x="876" y="36"/>
                </a:moveTo>
                <a:lnTo>
                  <a:pt x="876" y="4"/>
                </a:lnTo>
                <a:lnTo>
                  <a:pt x="902" y="4"/>
                </a:lnTo>
                <a:lnTo>
                  <a:pt x="902" y="36"/>
                </a:lnTo>
                <a:lnTo>
                  <a:pt x="876" y="36"/>
                </a:lnTo>
                <a:close/>
                <a:moveTo>
                  <a:pt x="876" y="231"/>
                </a:moveTo>
                <a:lnTo>
                  <a:pt x="876" y="67"/>
                </a:lnTo>
                <a:lnTo>
                  <a:pt x="902" y="67"/>
                </a:lnTo>
                <a:lnTo>
                  <a:pt x="902" y="231"/>
                </a:lnTo>
                <a:lnTo>
                  <a:pt x="876" y="231"/>
                </a:lnTo>
                <a:close/>
                <a:moveTo>
                  <a:pt x="928" y="231"/>
                </a:moveTo>
                <a:lnTo>
                  <a:pt x="928" y="67"/>
                </a:lnTo>
                <a:lnTo>
                  <a:pt x="952" y="67"/>
                </a:lnTo>
                <a:lnTo>
                  <a:pt x="952" y="90"/>
                </a:lnTo>
                <a:cubicBezTo>
                  <a:pt x="963" y="72"/>
                  <a:pt x="979" y="63"/>
                  <a:pt x="1000" y="63"/>
                </a:cubicBezTo>
                <a:cubicBezTo>
                  <a:pt x="1010" y="63"/>
                  <a:pt x="1018" y="65"/>
                  <a:pt x="1026" y="68"/>
                </a:cubicBezTo>
                <a:cubicBezTo>
                  <a:pt x="1034" y="72"/>
                  <a:pt x="1040" y="77"/>
                  <a:pt x="1043" y="82"/>
                </a:cubicBezTo>
                <a:cubicBezTo>
                  <a:pt x="1047" y="88"/>
                  <a:pt x="1050" y="95"/>
                  <a:pt x="1051" y="103"/>
                </a:cubicBezTo>
                <a:cubicBezTo>
                  <a:pt x="1052" y="108"/>
                  <a:pt x="1053" y="117"/>
                  <a:pt x="1053" y="130"/>
                </a:cubicBezTo>
                <a:lnTo>
                  <a:pt x="1053" y="231"/>
                </a:lnTo>
                <a:lnTo>
                  <a:pt x="1027" y="231"/>
                </a:lnTo>
                <a:lnTo>
                  <a:pt x="1027" y="131"/>
                </a:lnTo>
                <a:cubicBezTo>
                  <a:pt x="1027" y="120"/>
                  <a:pt x="1026" y="111"/>
                  <a:pt x="1024" y="106"/>
                </a:cubicBezTo>
                <a:cubicBezTo>
                  <a:pt x="1022" y="100"/>
                  <a:pt x="1018" y="96"/>
                  <a:pt x="1013" y="92"/>
                </a:cubicBezTo>
                <a:cubicBezTo>
                  <a:pt x="1008" y="89"/>
                  <a:pt x="1002" y="87"/>
                  <a:pt x="995" y="87"/>
                </a:cubicBezTo>
                <a:cubicBezTo>
                  <a:pt x="984" y="87"/>
                  <a:pt x="974" y="91"/>
                  <a:pt x="966" y="98"/>
                </a:cubicBezTo>
                <a:cubicBezTo>
                  <a:pt x="958" y="106"/>
                  <a:pt x="954" y="120"/>
                  <a:pt x="954" y="141"/>
                </a:cubicBezTo>
                <a:lnTo>
                  <a:pt x="954" y="231"/>
                </a:lnTo>
                <a:lnTo>
                  <a:pt x="928" y="231"/>
                </a:lnTo>
                <a:close/>
                <a:moveTo>
                  <a:pt x="1074" y="245"/>
                </a:moveTo>
                <a:lnTo>
                  <a:pt x="1099" y="249"/>
                </a:lnTo>
                <a:cubicBezTo>
                  <a:pt x="1101" y="257"/>
                  <a:pt x="1103" y="263"/>
                  <a:pt x="1108" y="267"/>
                </a:cubicBezTo>
                <a:cubicBezTo>
                  <a:pt x="1115" y="272"/>
                  <a:pt x="1124" y="275"/>
                  <a:pt x="1135" y="275"/>
                </a:cubicBezTo>
                <a:cubicBezTo>
                  <a:pt x="1147" y="275"/>
                  <a:pt x="1156" y="272"/>
                  <a:pt x="1163" y="267"/>
                </a:cubicBezTo>
                <a:cubicBezTo>
                  <a:pt x="1169" y="262"/>
                  <a:pt x="1174" y="255"/>
                  <a:pt x="1176" y="245"/>
                </a:cubicBezTo>
                <a:cubicBezTo>
                  <a:pt x="1177" y="240"/>
                  <a:pt x="1178" y="228"/>
                  <a:pt x="1178" y="210"/>
                </a:cubicBezTo>
                <a:cubicBezTo>
                  <a:pt x="1166" y="224"/>
                  <a:pt x="1152" y="231"/>
                  <a:pt x="1135" y="231"/>
                </a:cubicBezTo>
                <a:cubicBezTo>
                  <a:pt x="1114" y="231"/>
                  <a:pt x="1098" y="223"/>
                  <a:pt x="1086" y="207"/>
                </a:cubicBezTo>
                <a:cubicBezTo>
                  <a:pt x="1075" y="190"/>
                  <a:pt x="1069" y="171"/>
                  <a:pt x="1069" y="148"/>
                </a:cubicBezTo>
                <a:cubicBezTo>
                  <a:pt x="1069" y="132"/>
                  <a:pt x="1072" y="118"/>
                  <a:pt x="1077" y="105"/>
                </a:cubicBezTo>
                <a:cubicBezTo>
                  <a:pt x="1082" y="91"/>
                  <a:pt x="1090" y="81"/>
                  <a:pt x="1100" y="74"/>
                </a:cubicBezTo>
                <a:cubicBezTo>
                  <a:pt x="1110" y="67"/>
                  <a:pt x="1122" y="63"/>
                  <a:pt x="1135" y="63"/>
                </a:cubicBezTo>
                <a:cubicBezTo>
                  <a:pt x="1154" y="63"/>
                  <a:pt x="1168" y="71"/>
                  <a:pt x="1180" y="87"/>
                </a:cubicBezTo>
                <a:lnTo>
                  <a:pt x="1180" y="67"/>
                </a:lnTo>
                <a:lnTo>
                  <a:pt x="1204" y="67"/>
                </a:lnTo>
                <a:lnTo>
                  <a:pt x="1204" y="209"/>
                </a:lnTo>
                <a:cubicBezTo>
                  <a:pt x="1204" y="234"/>
                  <a:pt x="1202" y="253"/>
                  <a:pt x="1197" y="263"/>
                </a:cubicBezTo>
                <a:cubicBezTo>
                  <a:pt x="1192" y="274"/>
                  <a:pt x="1184" y="282"/>
                  <a:pt x="1174" y="289"/>
                </a:cubicBezTo>
                <a:cubicBezTo>
                  <a:pt x="1163" y="295"/>
                  <a:pt x="1150" y="298"/>
                  <a:pt x="1135" y="298"/>
                </a:cubicBezTo>
                <a:cubicBezTo>
                  <a:pt x="1117" y="298"/>
                  <a:pt x="1102" y="294"/>
                  <a:pt x="1091" y="285"/>
                </a:cubicBezTo>
                <a:cubicBezTo>
                  <a:pt x="1079" y="276"/>
                  <a:pt x="1074" y="263"/>
                  <a:pt x="1074" y="245"/>
                </a:cubicBezTo>
                <a:close/>
                <a:moveTo>
                  <a:pt x="1096" y="146"/>
                </a:moveTo>
                <a:cubicBezTo>
                  <a:pt x="1096" y="168"/>
                  <a:pt x="1100" y="183"/>
                  <a:pt x="1108" y="193"/>
                </a:cubicBezTo>
                <a:cubicBezTo>
                  <a:pt x="1116" y="203"/>
                  <a:pt x="1126" y="208"/>
                  <a:pt x="1138" y="208"/>
                </a:cubicBezTo>
                <a:cubicBezTo>
                  <a:pt x="1150" y="208"/>
                  <a:pt x="1160" y="203"/>
                  <a:pt x="1168" y="193"/>
                </a:cubicBezTo>
                <a:cubicBezTo>
                  <a:pt x="1176" y="184"/>
                  <a:pt x="1180" y="168"/>
                  <a:pt x="1180" y="147"/>
                </a:cubicBezTo>
                <a:cubicBezTo>
                  <a:pt x="1180" y="127"/>
                  <a:pt x="1176" y="112"/>
                  <a:pt x="1167" y="101"/>
                </a:cubicBezTo>
                <a:cubicBezTo>
                  <a:pt x="1159" y="91"/>
                  <a:pt x="1149" y="86"/>
                  <a:pt x="1137" y="86"/>
                </a:cubicBezTo>
                <a:cubicBezTo>
                  <a:pt x="1126" y="86"/>
                  <a:pt x="1116" y="91"/>
                  <a:pt x="1108" y="101"/>
                </a:cubicBezTo>
                <a:cubicBezTo>
                  <a:pt x="1100" y="111"/>
                  <a:pt x="1096" y="126"/>
                  <a:pt x="1096" y="1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7" name="Freeform 87">
            <a:extLst>
              <a:ext uri="{FF2B5EF4-FFF2-40B4-BE49-F238E27FC236}">
                <a16:creationId xmlns:a16="http://schemas.microsoft.com/office/drawing/2014/main" id="{BC7758AC-3E77-48B8-A1BC-57A10BDAF610}"/>
              </a:ext>
            </a:extLst>
          </p:cNvPr>
          <p:cNvSpPr>
            <a:spLocks noEditPoints="1"/>
          </p:cNvSpPr>
          <p:nvPr/>
        </p:nvSpPr>
        <p:spPr bwMode="auto">
          <a:xfrm>
            <a:off x="5030788" y="4048126"/>
            <a:ext cx="439738" cy="198438"/>
          </a:xfrm>
          <a:custGeom>
            <a:avLst/>
            <a:gdLst>
              <a:gd name="T0" fmla="*/ 186 w 1222"/>
              <a:gd name="T1" fmla="*/ 189 h 552"/>
              <a:gd name="T2" fmla="*/ 59 w 1222"/>
              <a:gd name="T3" fmla="*/ 62 h 552"/>
              <a:gd name="T4" fmla="*/ 186 w 1222"/>
              <a:gd name="T5" fmla="*/ 70 h 552"/>
              <a:gd name="T6" fmla="*/ 183 w 1222"/>
              <a:gd name="T7" fmla="*/ 111 h 552"/>
              <a:gd name="T8" fmla="*/ 63 w 1222"/>
              <a:gd name="T9" fmla="*/ 199 h 552"/>
              <a:gd name="T10" fmla="*/ 11 w 1222"/>
              <a:gd name="T11" fmla="*/ 494 h 552"/>
              <a:gd name="T12" fmla="*/ 156 w 1222"/>
              <a:gd name="T13" fmla="*/ 390 h 552"/>
              <a:gd name="T14" fmla="*/ 61 w 1222"/>
              <a:gd name="T15" fmla="*/ 516 h 552"/>
              <a:gd name="T16" fmla="*/ 212 w 1222"/>
              <a:gd name="T17" fmla="*/ 539 h 552"/>
              <a:gd name="T18" fmla="*/ 306 w 1222"/>
              <a:gd name="T19" fmla="*/ 437 h 552"/>
              <a:gd name="T20" fmla="*/ 238 w 1222"/>
              <a:gd name="T21" fmla="*/ 386 h 552"/>
              <a:gd name="T22" fmla="*/ 334 w 1222"/>
              <a:gd name="T23" fmla="*/ 528 h 552"/>
              <a:gd name="T24" fmla="*/ 230 w 1222"/>
              <a:gd name="T25" fmla="*/ 491 h 552"/>
              <a:gd name="T26" fmla="*/ 306 w 1222"/>
              <a:gd name="T27" fmla="*/ 466 h 552"/>
              <a:gd name="T28" fmla="*/ 441 w 1222"/>
              <a:gd name="T29" fmla="*/ 389 h 552"/>
              <a:gd name="T30" fmla="*/ 358 w 1222"/>
              <a:gd name="T31" fmla="*/ 548 h 552"/>
              <a:gd name="T32" fmla="*/ 447 w 1222"/>
              <a:gd name="T33" fmla="*/ 405 h 552"/>
              <a:gd name="T34" fmla="*/ 499 w 1222"/>
              <a:gd name="T35" fmla="*/ 384 h 552"/>
              <a:gd name="T36" fmla="*/ 499 w 1222"/>
              <a:gd name="T37" fmla="*/ 523 h 552"/>
              <a:gd name="T38" fmla="*/ 584 w 1222"/>
              <a:gd name="T39" fmla="*/ 321 h 552"/>
              <a:gd name="T40" fmla="*/ 710 w 1222"/>
              <a:gd name="T41" fmla="*/ 456 h 552"/>
              <a:gd name="T42" fmla="*/ 660 w 1222"/>
              <a:gd name="T43" fmla="*/ 448 h 552"/>
              <a:gd name="T44" fmla="*/ 702 w 1222"/>
              <a:gd name="T45" fmla="*/ 417 h 552"/>
              <a:gd name="T46" fmla="*/ 880 w 1222"/>
              <a:gd name="T47" fmla="*/ 495 h 552"/>
              <a:gd name="T48" fmla="*/ 838 w 1222"/>
              <a:gd name="T49" fmla="*/ 380 h 552"/>
              <a:gd name="T50" fmla="*/ 864 w 1222"/>
              <a:gd name="T51" fmla="*/ 521 h 552"/>
              <a:gd name="T52" fmla="*/ 795 w 1222"/>
              <a:gd name="T53" fmla="*/ 450 h 552"/>
              <a:gd name="T54" fmla="*/ 930 w 1222"/>
              <a:gd name="T55" fmla="*/ 405 h 552"/>
              <a:gd name="T56" fmla="*/ 982 w 1222"/>
              <a:gd name="T57" fmla="*/ 384 h 552"/>
              <a:gd name="T58" fmla="*/ 982 w 1222"/>
              <a:gd name="T59" fmla="*/ 523 h 552"/>
              <a:gd name="T60" fmla="*/ 1004 w 1222"/>
              <a:gd name="T61" fmla="*/ 467 h 552"/>
              <a:gd name="T62" fmla="*/ 1028 w 1222"/>
              <a:gd name="T63" fmla="*/ 410 h 552"/>
              <a:gd name="T64" fmla="*/ 1109 w 1222"/>
              <a:gd name="T65" fmla="*/ 397 h 552"/>
              <a:gd name="T66" fmla="*/ 1095 w 1222"/>
              <a:gd name="T67" fmla="*/ 528 h 552"/>
              <a:gd name="T68" fmla="*/ 1044 w 1222"/>
              <a:gd name="T69" fmla="*/ 530 h 552"/>
              <a:gd name="T70" fmla="*/ 1171 w 1222"/>
              <a:gd name="T71" fmla="*/ 321 h 552"/>
              <a:gd name="T72" fmla="*/ 1145 w 1222"/>
              <a:gd name="T73" fmla="*/ 548 h 552"/>
              <a:gd name="T74" fmla="*/ 241 w 1222"/>
              <a:gd name="T75" fmla="*/ 3 h 552"/>
              <a:gd name="T76" fmla="*/ 365 w 1222"/>
              <a:gd name="T77" fmla="*/ 231 h 552"/>
              <a:gd name="T78" fmla="*/ 267 w 1222"/>
              <a:gd name="T79" fmla="*/ 141 h 552"/>
              <a:gd name="T80" fmla="*/ 525 w 1222"/>
              <a:gd name="T81" fmla="*/ 146 h 552"/>
              <a:gd name="T82" fmla="*/ 421 w 1222"/>
              <a:gd name="T83" fmla="*/ 196 h 552"/>
              <a:gd name="T84" fmla="*/ 408 w 1222"/>
              <a:gd name="T85" fmla="*/ 148 h 552"/>
              <a:gd name="T86" fmla="*/ 645 w 1222"/>
              <a:gd name="T87" fmla="*/ 73 h 552"/>
              <a:gd name="T88" fmla="*/ 568 w 1222"/>
              <a:gd name="T89" fmla="*/ 214 h 552"/>
              <a:gd name="T90" fmla="*/ 648 w 1222"/>
              <a:gd name="T91" fmla="*/ 147 h 552"/>
              <a:gd name="T92" fmla="*/ 716 w 1222"/>
              <a:gd name="T93" fmla="*/ 66 h 552"/>
              <a:gd name="T94" fmla="*/ 817 w 1222"/>
              <a:gd name="T95" fmla="*/ 193 h 552"/>
              <a:gd name="T96" fmla="*/ 716 w 1222"/>
              <a:gd name="T97" fmla="*/ 149 h 552"/>
              <a:gd name="T98" fmla="*/ 729 w 1222"/>
              <a:gd name="T99" fmla="*/ 101 h 552"/>
              <a:gd name="T100" fmla="*/ 843 w 1222"/>
              <a:gd name="T101" fmla="*/ 231 h 552"/>
              <a:gd name="T102" fmla="*/ 919 w 1222"/>
              <a:gd name="T103" fmla="*/ 66 h 552"/>
              <a:gd name="T104" fmla="*/ 1020 w 1222"/>
              <a:gd name="T105" fmla="*/ 231 h 552"/>
              <a:gd name="T106" fmla="*/ 921 w 1222"/>
              <a:gd name="T107" fmla="*/ 141 h 552"/>
              <a:gd name="T108" fmla="*/ 1130 w 1222"/>
              <a:gd name="T109" fmla="*/ 267 h 552"/>
              <a:gd name="T110" fmla="*/ 1067 w 1222"/>
              <a:gd name="T111" fmla="*/ 73 h 552"/>
              <a:gd name="T112" fmla="*/ 1141 w 1222"/>
              <a:gd name="T113" fmla="*/ 288 h 552"/>
              <a:gd name="T114" fmla="*/ 1135 w 1222"/>
              <a:gd name="T115" fmla="*/ 193 h 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222" h="552">
                <a:moveTo>
                  <a:pt x="51" y="158"/>
                </a:moveTo>
                <a:lnTo>
                  <a:pt x="77" y="155"/>
                </a:lnTo>
                <a:cubicBezTo>
                  <a:pt x="79" y="167"/>
                  <a:pt x="82" y="176"/>
                  <a:pt x="86" y="183"/>
                </a:cubicBezTo>
                <a:cubicBezTo>
                  <a:pt x="91" y="191"/>
                  <a:pt x="98" y="197"/>
                  <a:pt x="107" y="201"/>
                </a:cubicBezTo>
                <a:cubicBezTo>
                  <a:pt x="117" y="206"/>
                  <a:pt x="128" y="208"/>
                  <a:pt x="140" y="208"/>
                </a:cubicBezTo>
                <a:cubicBezTo>
                  <a:pt x="151" y="208"/>
                  <a:pt x="160" y="206"/>
                  <a:pt x="168" y="203"/>
                </a:cubicBezTo>
                <a:cubicBezTo>
                  <a:pt x="176" y="199"/>
                  <a:pt x="182" y="195"/>
                  <a:pt x="186" y="189"/>
                </a:cubicBezTo>
                <a:cubicBezTo>
                  <a:pt x="190" y="183"/>
                  <a:pt x="192" y="176"/>
                  <a:pt x="192" y="169"/>
                </a:cubicBezTo>
                <a:cubicBezTo>
                  <a:pt x="192" y="162"/>
                  <a:pt x="191" y="156"/>
                  <a:pt x="187" y="151"/>
                </a:cubicBezTo>
                <a:cubicBezTo>
                  <a:pt x="183" y="145"/>
                  <a:pt x="177" y="141"/>
                  <a:pt x="168" y="137"/>
                </a:cubicBezTo>
                <a:cubicBezTo>
                  <a:pt x="162" y="135"/>
                  <a:pt x="149" y="131"/>
                  <a:pt x="130" y="126"/>
                </a:cubicBezTo>
                <a:cubicBezTo>
                  <a:pt x="110" y="121"/>
                  <a:pt x="97" y="116"/>
                  <a:pt x="89" y="112"/>
                </a:cubicBezTo>
                <a:cubicBezTo>
                  <a:pt x="79" y="106"/>
                  <a:pt x="71" y="99"/>
                  <a:pt x="67" y="91"/>
                </a:cubicBezTo>
                <a:cubicBezTo>
                  <a:pt x="62" y="82"/>
                  <a:pt x="59" y="73"/>
                  <a:pt x="59" y="62"/>
                </a:cubicBezTo>
                <a:cubicBezTo>
                  <a:pt x="59" y="51"/>
                  <a:pt x="62" y="40"/>
                  <a:pt x="68" y="30"/>
                </a:cubicBezTo>
                <a:cubicBezTo>
                  <a:pt x="74" y="20"/>
                  <a:pt x="83" y="13"/>
                  <a:pt x="95" y="7"/>
                </a:cubicBezTo>
                <a:cubicBezTo>
                  <a:pt x="106" y="2"/>
                  <a:pt x="119" y="0"/>
                  <a:pt x="134" y="0"/>
                </a:cubicBezTo>
                <a:cubicBezTo>
                  <a:pt x="149" y="0"/>
                  <a:pt x="163" y="2"/>
                  <a:pt x="175" y="8"/>
                </a:cubicBezTo>
                <a:cubicBezTo>
                  <a:pt x="187" y="13"/>
                  <a:pt x="196" y="21"/>
                  <a:pt x="203" y="32"/>
                </a:cubicBezTo>
                <a:cubicBezTo>
                  <a:pt x="209" y="42"/>
                  <a:pt x="213" y="54"/>
                  <a:pt x="213" y="68"/>
                </a:cubicBezTo>
                <a:lnTo>
                  <a:pt x="186" y="70"/>
                </a:lnTo>
                <a:cubicBezTo>
                  <a:pt x="185" y="55"/>
                  <a:pt x="180" y="45"/>
                  <a:pt x="172" y="37"/>
                </a:cubicBezTo>
                <a:cubicBezTo>
                  <a:pt x="163" y="30"/>
                  <a:pt x="151" y="26"/>
                  <a:pt x="135" y="26"/>
                </a:cubicBezTo>
                <a:cubicBezTo>
                  <a:pt x="118" y="26"/>
                  <a:pt x="105" y="30"/>
                  <a:pt x="98" y="36"/>
                </a:cubicBezTo>
                <a:cubicBezTo>
                  <a:pt x="90" y="43"/>
                  <a:pt x="86" y="51"/>
                  <a:pt x="86" y="60"/>
                </a:cubicBezTo>
                <a:cubicBezTo>
                  <a:pt x="86" y="69"/>
                  <a:pt x="89" y="75"/>
                  <a:pt x="94" y="81"/>
                </a:cubicBezTo>
                <a:cubicBezTo>
                  <a:pt x="100" y="86"/>
                  <a:pt x="114" y="91"/>
                  <a:pt x="136" y="97"/>
                </a:cubicBezTo>
                <a:cubicBezTo>
                  <a:pt x="159" y="102"/>
                  <a:pt x="175" y="107"/>
                  <a:pt x="183" y="111"/>
                </a:cubicBezTo>
                <a:cubicBezTo>
                  <a:pt x="196" y="117"/>
                  <a:pt x="205" y="125"/>
                  <a:pt x="211" y="134"/>
                </a:cubicBezTo>
                <a:cubicBezTo>
                  <a:pt x="216" y="144"/>
                  <a:pt x="219" y="154"/>
                  <a:pt x="219" y="167"/>
                </a:cubicBezTo>
                <a:cubicBezTo>
                  <a:pt x="219" y="179"/>
                  <a:pt x="216" y="190"/>
                  <a:pt x="210" y="201"/>
                </a:cubicBezTo>
                <a:cubicBezTo>
                  <a:pt x="203" y="211"/>
                  <a:pt x="194" y="220"/>
                  <a:pt x="182" y="226"/>
                </a:cubicBezTo>
                <a:cubicBezTo>
                  <a:pt x="170" y="232"/>
                  <a:pt x="156" y="235"/>
                  <a:pt x="141" y="235"/>
                </a:cubicBezTo>
                <a:cubicBezTo>
                  <a:pt x="122" y="235"/>
                  <a:pt x="106" y="232"/>
                  <a:pt x="93" y="226"/>
                </a:cubicBezTo>
                <a:cubicBezTo>
                  <a:pt x="80" y="220"/>
                  <a:pt x="70" y="211"/>
                  <a:pt x="63" y="199"/>
                </a:cubicBezTo>
                <a:cubicBezTo>
                  <a:pt x="55" y="187"/>
                  <a:pt x="51" y="173"/>
                  <a:pt x="51" y="158"/>
                </a:cubicBezTo>
                <a:close/>
                <a:moveTo>
                  <a:pt x="159" y="469"/>
                </a:moveTo>
                <a:lnTo>
                  <a:pt x="187" y="476"/>
                </a:lnTo>
                <a:cubicBezTo>
                  <a:pt x="181" y="501"/>
                  <a:pt x="170" y="520"/>
                  <a:pt x="155" y="533"/>
                </a:cubicBezTo>
                <a:cubicBezTo>
                  <a:pt x="140" y="546"/>
                  <a:pt x="121" y="552"/>
                  <a:pt x="99" y="552"/>
                </a:cubicBezTo>
                <a:cubicBezTo>
                  <a:pt x="77" y="552"/>
                  <a:pt x="58" y="547"/>
                  <a:pt x="44" y="537"/>
                </a:cubicBezTo>
                <a:cubicBezTo>
                  <a:pt x="29" y="527"/>
                  <a:pt x="19" y="513"/>
                  <a:pt x="11" y="494"/>
                </a:cubicBezTo>
                <a:cubicBezTo>
                  <a:pt x="4" y="475"/>
                  <a:pt x="0" y="455"/>
                  <a:pt x="0" y="433"/>
                </a:cubicBezTo>
                <a:cubicBezTo>
                  <a:pt x="0" y="409"/>
                  <a:pt x="4" y="389"/>
                  <a:pt x="13" y="371"/>
                </a:cubicBezTo>
                <a:cubicBezTo>
                  <a:pt x="21" y="353"/>
                  <a:pt x="33" y="340"/>
                  <a:pt x="48" y="331"/>
                </a:cubicBezTo>
                <a:cubicBezTo>
                  <a:pt x="64" y="322"/>
                  <a:pt x="81" y="317"/>
                  <a:pt x="100" y="317"/>
                </a:cubicBezTo>
                <a:cubicBezTo>
                  <a:pt x="121" y="317"/>
                  <a:pt x="139" y="323"/>
                  <a:pt x="153" y="335"/>
                </a:cubicBezTo>
                <a:cubicBezTo>
                  <a:pt x="168" y="346"/>
                  <a:pt x="178" y="362"/>
                  <a:pt x="183" y="383"/>
                </a:cubicBezTo>
                <a:lnTo>
                  <a:pt x="156" y="390"/>
                </a:lnTo>
                <a:cubicBezTo>
                  <a:pt x="151" y="374"/>
                  <a:pt x="144" y="362"/>
                  <a:pt x="134" y="354"/>
                </a:cubicBezTo>
                <a:cubicBezTo>
                  <a:pt x="125" y="347"/>
                  <a:pt x="113" y="343"/>
                  <a:pt x="99" y="343"/>
                </a:cubicBezTo>
                <a:cubicBezTo>
                  <a:pt x="83" y="343"/>
                  <a:pt x="69" y="347"/>
                  <a:pt x="59" y="355"/>
                </a:cubicBezTo>
                <a:cubicBezTo>
                  <a:pt x="48" y="364"/>
                  <a:pt x="40" y="375"/>
                  <a:pt x="36" y="389"/>
                </a:cubicBezTo>
                <a:cubicBezTo>
                  <a:pt x="31" y="403"/>
                  <a:pt x="29" y="418"/>
                  <a:pt x="29" y="433"/>
                </a:cubicBezTo>
                <a:cubicBezTo>
                  <a:pt x="29" y="452"/>
                  <a:pt x="32" y="469"/>
                  <a:pt x="37" y="483"/>
                </a:cubicBezTo>
                <a:cubicBezTo>
                  <a:pt x="42" y="498"/>
                  <a:pt x="50" y="509"/>
                  <a:pt x="61" y="516"/>
                </a:cubicBezTo>
                <a:cubicBezTo>
                  <a:pt x="72" y="523"/>
                  <a:pt x="84" y="526"/>
                  <a:pt x="97" y="526"/>
                </a:cubicBezTo>
                <a:cubicBezTo>
                  <a:pt x="113" y="526"/>
                  <a:pt x="126" y="522"/>
                  <a:pt x="137" y="512"/>
                </a:cubicBezTo>
                <a:cubicBezTo>
                  <a:pt x="148" y="502"/>
                  <a:pt x="155" y="488"/>
                  <a:pt x="159" y="469"/>
                </a:cubicBezTo>
                <a:close/>
                <a:moveTo>
                  <a:pt x="308" y="528"/>
                </a:moveTo>
                <a:cubicBezTo>
                  <a:pt x="298" y="536"/>
                  <a:pt x="289" y="543"/>
                  <a:pt x="280" y="546"/>
                </a:cubicBezTo>
                <a:cubicBezTo>
                  <a:pt x="271" y="550"/>
                  <a:pt x="261" y="552"/>
                  <a:pt x="251" y="552"/>
                </a:cubicBezTo>
                <a:cubicBezTo>
                  <a:pt x="234" y="552"/>
                  <a:pt x="221" y="547"/>
                  <a:pt x="212" y="539"/>
                </a:cubicBezTo>
                <a:cubicBezTo>
                  <a:pt x="203" y="530"/>
                  <a:pt x="199" y="518"/>
                  <a:pt x="199" y="505"/>
                </a:cubicBezTo>
                <a:cubicBezTo>
                  <a:pt x="199" y="497"/>
                  <a:pt x="200" y="489"/>
                  <a:pt x="204" y="483"/>
                </a:cubicBezTo>
                <a:cubicBezTo>
                  <a:pt x="207" y="476"/>
                  <a:pt x="212" y="471"/>
                  <a:pt x="217" y="467"/>
                </a:cubicBezTo>
                <a:cubicBezTo>
                  <a:pt x="223" y="463"/>
                  <a:pt x="229" y="460"/>
                  <a:pt x="236" y="458"/>
                </a:cubicBezTo>
                <a:cubicBezTo>
                  <a:pt x="241" y="456"/>
                  <a:pt x="249" y="455"/>
                  <a:pt x="259" y="453"/>
                </a:cubicBezTo>
                <a:cubicBezTo>
                  <a:pt x="280" y="451"/>
                  <a:pt x="296" y="448"/>
                  <a:pt x="306" y="444"/>
                </a:cubicBezTo>
                <a:cubicBezTo>
                  <a:pt x="306" y="440"/>
                  <a:pt x="306" y="438"/>
                  <a:pt x="306" y="437"/>
                </a:cubicBezTo>
                <a:cubicBezTo>
                  <a:pt x="306" y="425"/>
                  <a:pt x="303" y="417"/>
                  <a:pt x="298" y="413"/>
                </a:cubicBezTo>
                <a:cubicBezTo>
                  <a:pt x="292" y="406"/>
                  <a:pt x="282" y="403"/>
                  <a:pt x="269" y="403"/>
                </a:cubicBezTo>
                <a:cubicBezTo>
                  <a:pt x="256" y="403"/>
                  <a:pt x="247" y="406"/>
                  <a:pt x="241" y="410"/>
                </a:cubicBezTo>
                <a:cubicBezTo>
                  <a:pt x="236" y="415"/>
                  <a:pt x="231" y="423"/>
                  <a:pt x="228" y="435"/>
                </a:cubicBezTo>
                <a:lnTo>
                  <a:pt x="203" y="431"/>
                </a:lnTo>
                <a:cubicBezTo>
                  <a:pt x="205" y="419"/>
                  <a:pt x="209" y="410"/>
                  <a:pt x="214" y="402"/>
                </a:cubicBezTo>
                <a:cubicBezTo>
                  <a:pt x="220" y="395"/>
                  <a:pt x="227" y="390"/>
                  <a:pt x="238" y="386"/>
                </a:cubicBezTo>
                <a:cubicBezTo>
                  <a:pt x="248" y="382"/>
                  <a:pt x="259" y="380"/>
                  <a:pt x="272" y="380"/>
                </a:cubicBezTo>
                <a:cubicBezTo>
                  <a:pt x="286" y="380"/>
                  <a:pt x="296" y="382"/>
                  <a:pt x="305" y="385"/>
                </a:cubicBezTo>
                <a:cubicBezTo>
                  <a:pt x="313" y="388"/>
                  <a:pt x="319" y="392"/>
                  <a:pt x="323" y="397"/>
                </a:cubicBezTo>
                <a:cubicBezTo>
                  <a:pt x="326" y="402"/>
                  <a:pt x="329" y="409"/>
                  <a:pt x="331" y="417"/>
                </a:cubicBezTo>
                <a:cubicBezTo>
                  <a:pt x="332" y="421"/>
                  <a:pt x="332" y="430"/>
                  <a:pt x="332" y="442"/>
                </a:cubicBezTo>
                <a:lnTo>
                  <a:pt x="332" y="479"/>
                </a:lnTo>
                <a:cubicBezTo>
                  <a:pt x="332" y="505"/>
                  <a:pt x="333" y="521"/>
                  <a:pt x="334" y="528"/>
                </a:cubicBezTo>
                <a:cubicBezTo>
                  <a:pt x="335" y="535"/>
                  <a:pt x="337" y="542"/>
                  <a:pt x="340" y="548"/>
                </a:cubicBezTo>
                <a:lnTo>
                  <a:pt x="313" y="548"/>
                </a:lnTo>
                <a:cubicBezTo>
                  <a:pt x="310" y="542"/>
                  <a:pt x="308" y="536"/>
                  <a:pt x="308" y="528"/>
                </a:cubicBezTo>
                <a:close/>
                <a:moveTo>
                  <a:pt x="306" y="466"/>
                </a:moveTo>
                <a:cubicBezTo>
                  <a:pt x="296" y="470"/>
                  <a:pt x="282" y="473"/>
                  <a:pt x="263" y="476"/>
                </a:cubicBezTo>
                <a:cubicBezTo>
                  <a:pt x="252" y="478"/>
                  <a:pt x="245" y="480"/>
                  <a:pt x="240" y="482"/>
                </a:cubicBezTo>
                <a:cubicBezTo>
                  <a:pt x="236" y="484"/>
                  <a:pt x="232" y="487"/>
                  <a:pt x="230" y="491"/>
                </a:cubicBezTo>
                <a:cubicBezTo>
                  <a:pt x="228" y="495"/>
                  <a:pt x="226" y="499"/>
                  <a:pt x="226" y="504"/>
                </a:cubicBezTo>
                <a:cubicBezTo>
                  <a:pt x="226" y="511"/>
                  <a:pt x="229" y="518"/>
                  <a:pt x="234" y="522"/>
                </a:cubicBezTo>
                <a:cubicBezTo>
                  <a:pt x="240" y="527"/>
                  <a:pt x="247" y="530"/>
                  <a:pt x="257" y="530"/>
                </a:cubicBezTo>
                <a:cubicBezTo>
                  <a:pt x="267" y="530"/>
                  <a:pt x="276" y="528"/>
                  <a:pt x="284" y="523"/>
                </a:cubicBezTo>
                <a:cubicBezTo>
                  <a:pt x="292" y="518"/>
                  <a:pt x="298" y="512"/>
                  <a:pt x="301" y="504"/>
                </a:cubicBezTo>
                <a:cubicBezTo>
                  <a:pt x="304" y="497"/>
                  <a:pt x="306" y="488"/>
                  <a:pt x="306" y="476"/>
                </a:cubicBezTo>
                <a:lnTo>
                  <a:pt x="306" y="466"/>
                </a:lnTo>
                <a:close/>
                <a:moveTo>
                  <a:pt x="358" y="548"/>
                </a:moveTo>
                <a:lnTo>
                  <a:pt x="358" y="384"/>
                </a:lnTo>
                <a:lnTo>
                  <a:pt x="381" y="384"/>
                </a:lnTo>
                <a:lnTo>
                  <a:pt x="381" y="409"/>
                </a:lnTo>
                <a:cubicBezTo>
                  <a:pt x="387" y="397"/>
                  <a:pt x="393" y="389"/>
                  <a:pt x="398" y="386"/>
                </a:cubicBezTo>
                <a:cubicBezTo>
                  <a:pt x="403" y="382"/>
                  <a:pt x="408" y="380"/>
                  <a:pt x="415" y="380"/>
                </a:cubicBezTo>
                <a:cubicBezTo>
                  <a:pt x="423" y="380"/>
                  <a:pt x="432" y="383"/>
                  <a:pt x="441" y="389"/>
                </a:cubicBezTo>
                <a:lnTo>
                  <a:pt x="432" y="415"/>
                </a:lnTo>
                <a:cubicBezTo>
                  <a:pt x="426" y="411"/>
                  <a:pt x="419" y="409"/>
                  <a:pt x="413" y="409"/>
                </a:cubicBezTo>
                <a:cubicBezTo>
                  <a:pt x="407" y="409"/>
                  <a:pt x="402" y="411"/>
                  <a:pt x="398" y="414"/>
                </a:cubicBezTo>
                <a:cubicBezTo>
                  <a:pt x="393" y="418"/>
                  <a:pt x="390" y="423"/>
                  <a:pt x="388" y="430"/>
                </a:cubicBezTo>
                <a:cubicBezTo>
                  <a:pt x="385" y="440"/>
                  <a:pt x="384" y="450"/>
                  <a:pt x="384" y="462"/>
                </a:cubicBezTo>
                <a:lnTo>
                  <a:pt x="384" y="548"/>
                </a:lnTo>
                <a:lnTo>
                  <a:pt x="358" y="548"/>
                </a:lnTo>
                <a:close/>
                <a:moveTo>
                  <a:pt x="499" y="523"/>
                </a:moveTo>
                <a:lnTo>
                  <a:pt x="503" y="548"/>
                </a:lnTo>
                <a:cubicBezTo>
                  <a:pt x="496" y="550"/>
                  <a:pt x="489" y="551"/>
                  <a:pt x="483" y="551"/>
                </a:cubicBezTo>
                <a:cubicBezTo>
                  <a:pt x="474" y="551"/>
                  <a:pt x="467" y="549"/>
                  <a:pt x="461" y="546"/>
                </a:cubicBezTo>
                <a:cubicBezTo>
                  <a:pt x="456" y="542"/>
                  <a:pt x="453" y="538"/>
                  <a:pt x="451" y="533"/>
                </a:cubicBezTo>
                <a:cubicBezTo>
                  <a:pt x="448" y="528"/>
                  <a:pt x="447" y="517"/>
                  <a:pt x="447" y="500"/>
                </a:cubicBezTo>
                <a:lnTo>
                  <a:pt x="447" y="405"/>
                </a:lnTo>
                <a:lnTo>
                  <a:pt x="428" y="405"/>
                </a:lnTo>
                <a:lnTo>
                  <a:pt x="428" y="384"/>
                </a:lnTo>
                <a:lnTo>
                  <a:pt x="447" y="384"/>
                </a:lnTo>
                <a:lnTo>
                  <a:pt x="447" y="343"/>
                </a:lnTo>
                <a:lnTo>
                  <a:pt x="473" y="326"/>
                </a:lnTo>
                <a:lnTo>
                  <a:pt x="473" y="384"/>
                </a:lnTo>
                <a:lnTo>
                  <a:pt x="499" y="384"/>
                </a:lnTo>
                <a:lnTo>
                  <a:pt x="499" y="405"/>
                </a:lnTo>
                <a:lnTo>
                  <a:pt x="473" y="405"/>
                </a:lnTo>
                <a:lnTo>
                  <a:pt x="473" y="502"/>
                </a:lnTo>
                <a:cubicBezTo>
                  <a:pt x="473" y="510"/>
                  <a:pt x="474" y="515"/>
                  <a:pt x="475" y="517"/>
                </a:cubicBezTo>
                <a:cubicBezTo>
                  <a:pt x="476" y="519"/>
                  <a:pt x="477" y="521"/>
                  <a:pt x="479" y="522"/>
                </a:cubicBezTo>
                <a:cubicBezTo>
                  <a:pt x="481" y="524"/>
                  <a:pt x="484" y="524"/>
                  <a:pt x="488" y="524"/>
                </a:cubicBezTo>
                <a:cubicBezTo>
                  <a:pt x="491" y="524"/>
                  <a:pt x="495" y="524"/>
                  <a:pt x="499" y="523"/>
                </a:cubicBezTo>
                <a:close/>
                <a:moveTo>
                  <a:pt x="492" y="552"/>
                </a:moveTo>
                <a:lnTo>
                  <a:pt x="553" y="317"/>
                </a:lnTo>
                <a:lnTo>
                  <a:pt x="574" y="317"/>
                </a:lnTo>
                <a:lnTo>
                  <a:pt x="513" y="552"/>
                </a:lnTo>
                <a:lnTo>
                  <a:pt x="492" y="552"/>
                </a:lnTo>
                <a:close/>
                <a:moveTo>
                  <a:pt x="584" y="548"/>
                </a:moveTo>
                <a:lnTo>
                  <a:pt x="584" y="321"/>
                </a:lnTo>
                <a:lnTo>
                  <a:pt x="677" y="321"/>
                </a:lnTo>
                <a:cubicBezTo>
                  <a:pt x="696" y="321"/>
                  <a:pt x="711" y="323"/>
                  <a:pt x="720" y="327"/>
                </a:cubicBezTo>
                <a:cubicBezTo>
                  <a:pt x="730" y="331"/>
                  <a:pt x="738" y="338"/>
                  <a:pt x="744" y="349"/>
                </a:cubicBezTo>
                <a:cubicBezTo>
                  <a:pt x="750" y="359"/>
                  <a:pt x="753" y="370"/>
                  <a:pt x="753" y="383"/>
                </a:cubicBezTo>
                <a:cubicBezTo>
                  <a:pt x="753" y="399"/>
                  <a:pt x="748" y="413"/>
                  <a:pt x="738" y="424"/>
                </a:cubicBezTo>
                <a:cubicBezTo>
                  <a:pt x="728" y="435"/>
                  <a:pt x="714" y="442"/>
                  <a:pt x="693" y="445"/>
                </a:cubicBezTo>
                <a:cubicBezTo>
                  <a:pt x="701" y="449"/>
                  <a:pt x="706" y="452"/>
                  <a:pt x="710" y="456"/>
                </a:cubicBezTo>
                <a:cubicBezTo>
                  <a:pt x="718" y="464"/>
                  <a:pt x="726" y="474"/>
                  <a:pt x="733" y="486"/>
                </a:cubicBezTo>
                <a:lnTo>
                  <a:pt x="770" y="548"/>
                </a:lnTo>
                <a:lnTo>
                  <a:pt x="735" y="548"/>
                </a:lnTo>
                <a:lnTo>
                  <a:pt x="707" y="501"/>
                </a:lnTo>
                <a:cubicBezTo>
                  <a:pt x="699" y="487"/>
                  <a:pt x="692" y="477"/>
                  <a:pt x="687" y="470"/>
                </a:cubicBezTo>
                <a:cubicBezTo>
                  <a:pt x="681" y="462"/>
                  <a:pt x="677" y="457"/>
                  <a:pt x="672" y="454"/>
                </a:cubicBezTo>
                <a:cubicBezTo>
                  <a:pt x="668" y="452"/>
                  <a:pt x="664" y="450"/>
                  <a:pt x="660" y="448"/>
                </a:cubicBezTo>
                <a:cubicBezTo>
                  <a:pt x="657" y="448"/>
                  <a:pt x="651" y="447"/>
                  <a:pt x="644" y="447"/>
                </a:cubicBezTo>
                <a:lnTo>
                  <a:pt x="612" y="447"/>
                </a:lnTo>
                <a:lnTo>
                  <a:pt x="612" y="548"/>
                </a:lnTo>
                <a:lnTo>
                  <a:pt x="584" y="548"/>
                </a:lnTo>
                <a:close/>
                <a:moveTo>
                  <a:pt x="612" y="421"/>
                </a:moveTo>
                <a:lnTo>
                  <a:pt x="672" y="421"/>
                </a:lnTo>
                <a:cubicBezTo>
                  <a:pt x="685" y="421"/>
                  <a:pt x="695" y="420"/>
                  <a:pt x="702" y="417"/>
                </a:cubicBezTo>
                <a:cubicBezTo>
                  <a:pt x="709" y="414"/>
                  <a:pt x="714" y="410"/>
                  <a:pt x="718" y="403"/>
                </a:cubicBezTo>
                <a:cubicBezTo>
                  <a:pt x="722" y="397"/>
                  <a:pt x="724" y="390"/>
                  <a:pt x="724" y="383"/>
                </a:cubicBezTo>
                <a:cubicBezTo>
                  <a:pt x="724" y="372"/>
                  <a:pt x="720" y="363"/>
                  <a:pt x="713" y="356"/>
                </a:cubicBezTo>
                <a:cubicBezTo>
                  <a:pt x="706" y="349"/>
                  <a:pt x="694" y="346"/>
                  <a:pt x="679" y="346"/>
                </a:cubicBezTo>
                <a:lnTo>
                  <a:pt x="612" y="346"/>
                </a:lnTo>
                <a:lnTo>
                  <a:pt x="612" y="421"/>
                </a:lnTo>
                <a:close/>
                <a:moveTo>
                  <a:pt x="880" y="495"/>
                </a:moveTo>
                <a:lnTo>
                  <a:pt x="907" y="499"/>
                </a:lnTo>
                <a:cubicBezTo>
                  <a:pt x="903" y="516"/>
                  <a:pt x="895" y="529"/>
                  <a:pt x="883" y="538"/>
                </a:cubicBezTo>
                <a:cubicBezTo>
                  <a:pt x="872" y="547"/>
                  <a:pt x="857" y="552"/>
                  <a:pt x="839" y="552"/>
                </a:cubicBezTo>
                <a:cubicBezTo>
                  <a:pt x="817" y="552"/>
                  <a:pt x="799" y="544"/>
                  <a:pt x="786" y="530"/>
                </a:cubicBezTo>
                <a:cubicBezTo>
                  <a:pt x="773" y="515"/>
                  <a:pt x="767" y="494"/>
                  <a:pt x="767" y="467"/>
                </a:cubicBezTo>
                <a:cubicBezTo>
                  <a:pt x="767" y="440"/>
                  <a:pt x="773" y="418"/>
                  <a:pt x="786" y="403"/>
                </a:cubicBezTo>
                <a:cubicBezTo>
                  <a:pt x="800" y="388"/>
                  <a:pt x="817" y="380"/>
                  <a:pt x="838" y="380"/>
                </a:cubicBezTo>
                <a:cubicBezTo>
                  <a:pt x="858" y="380"/>
                  <a:pt x="875" y="387"/>
                  <a:pt x="888" y="402"/>
                </a:cubicBezTo>
                <a:cubicBezTo>
                  <a:pt x="901" y="417"/>
                  <a:pt x="908" y="438"/>
                  <a:pt x="908" y="466"/>
                </a:cubicBezTo>
                <a:cubicBezTo>
                  <a:pt x="908" y="467"/>
                  <a:pt x="908" y="470"/>
                  <a:pt x="908" y="473"/>
                </a:cubicBezTo>
                <a:lnTo>
                  <a:pt x="793" y="473"/>
                </a:lnTo>
                <a:cubicBezTo>
                  <a:pt x="794" y="491"/>
                  <a:pt x="799" y="505"/>
                  <a:pt x="807" y="515"/>
                </a:cubicBezTo>
                <a:cubicBezTo>
                  <a:pt x="816" y="524"/>
                  <a:pt x="827" y="529"/>
                  <a:pt x="839" y="529"/>
                </a:cubicBezTo>
                <a:cubicBezTo>
                  <a:pt x="849" y="529"/>
                  <a:pt x="857" y="526"/>
                  <a:pt x="864" y="521"/>
                </a:cubicBezTo>
                <a:cubicBezTo>
                  <a:pt x="871" y="515"/>
                  <a:pt x="876" y="507"/>
                  <a:pt x="880" y="495"/>
                </a:cubicBezTo>
                <a:close/>
                <a:moveTo>
                  <a:pt x="795" y="450"/>
                </a:moveTo>
                <a:lnTo>
                  <a:pt x="880" y="450"/>
                </a:lnTo>
                <a:cubicBezTo>
                  <a:pt x="879" y="436"/>
                  <a:pt x="876" y="426"/>
                  <a:pt x="870" y="419"/>
                </a:cubicBezTo>
                <a:cubicBezTo>
                  <a:pt x="862" y="408"/>
                  <a:pt x="851" y="403"/>
                  <a:pt x="838" y="403"/>
                </a:cubicBezTo>
                <a:cubicBezTo>
                  <a:pt x="826" y="403"/>
                  <a:pt x="816" y="407"/>
                  <a:pt x="808" y="416"/>
                </a:cubicBezTo>
                <a:cubicBezTo>
                  <a:pt x="800" y="424"/>
                  <a:pt x="796" y="436"/>
                  <a:pt x="795" y="450"/>
                </a:cubicBezTo>
                <a:close/>
                <a:moveTo>
                  <a:pt x="982" y="523"/>
                </a:moveTo>
                <a:lnTo>
                  <a:pt x="986" y="548"/>
                </a:lnTo>
                <a:cubicBezTo>
                  <a:pt x="979" y="550"/>
                  <a:pt x="972" y="551"/>
                  <a:pt x="966" y="551"/>
                </a:cubicBezTo>
                <a:cubicBezTo>
                  <a:pt x="957" y="551"/>
                  <a:pt x="950" y="549"/>
                  <a:pt x="944" y="546"/>
                </a:cubicBezTo>
                <a:cubicBezTo>
                  <a:pt x="939" y="542"/>
                  <a:pt x="936" y="538"/>
                  <a:pt x="933" y="533"/>
                </a:cubicBezTo>
                <a:cubicBezTo>
                  <a:pt x="931" y="528"/>
                  <a:pt x="930" y="517"/>
                  <a:pt x="930" y="500"/>
                </a:cubicBezTo>
                <a:lnTo>
                  <a:pt x="930" y="405"/>
                </a:lnTo>
                <a:lnTo>
                  <a:pt x="911" y="405"/>
                </a:lnTo>
                <a:lnTo>
                  <a:pt x="911" y="384"/>
                </a:lnTo>
                <a:lnTo>
                  <a:pt x="930" y="384"/>
                </a:lnTo>
                <a:lnTo>
                  <a:pt x="930" y="343"/>
                </a:lnTo>
                <a:lnTo>
                  <a:pt x="956" y="326"/>
                </a:lnTo>
                <a:lnTo>
                  <a:pt x="956" y="384"/>
                </a:lnTo>
                <a:lnTo>
                  <a:pt x="982" y="384"/>
                </a:lnTo>
                <a:lnTo>
                  <a:pt x="982" y="405"/>
                </a:lnTo>
                <a:lnTo>
                  <a:pt x="956" y="405"/>
                </a:lnTo>
                <a:lnTo>
                  <a:pt x="956" y="502"/>
                </a:lnTo>
                <a:cubicBezTo>
                  <a:pt x="956" y="510"/>
                  <a:pt x="957" y="515"/>
                  <a:pt x="958" y="517"/>
                </a:cubicBezTo>
                <a:cubicBezTo>
                  <a:pt x="959" y="519"/>
                  <a:pt x="960" y="521"/>
                  <a:pt x="962" y="522"/>
                </a:cubicBezTo>
                <a:cubicBezTo>
                  <a:pt x="964" y="524"/>
                  <a:pt x="967" y="524"/>
                  <a:pt x="971" y="524"/>
                </a:cubicBezTo>
                <a:cubicBezTo>
                  <a:pt x="974" y="524"/>
                  <a:pt x="978" y="524"/>
                  <a:pt x="982" y="523"/>
                </a:cubicBezTo>
                <a:close/>
                <a:moveTo>
                  <a:pt x="1095" y="528"/>
                </a:moveTo>
                <a:cubicBezTo>
                  <a:pt x="1085" y="536"/>
                  <a:pt x="1076" y="543"/>
                  <a:pt x="1067" y="546"/>
                </a:cubicBezTo>
                <a:cubicBezTo>
                  <a:pt x="1058" y="550"/>
                  <a:pt x="1048" y="552"/>
                  <a:pt x="1038" y="552"/>
                </a:cubicBezTo>
                <a:cubicBezTo>
                  <a:pt x="1021" y="552"/>
                  <a:pt x="1008" y="547"/>
                  <a:pt x="999" y="539"/>
                </a:cubicBezTo>
                <a:cubicBezTo>
                  <a:pt x="990" y="530"/>
                  <a:pt x="985" y="518"/>
                  <a:pt x="985" y="505"/>
                </a:cubicBezTo>
                <a:cubicBezTo>
                  <a:pt x="985" y="497"/>
                  <a:pt x="987" y="489"/>
                  <a:pt x="991" y="483"/>
                </a:cubicBezTo>
                <a:cubicBezTo>
                  <a:pt x="994" y="476"/>
                  <a:pt x="998" y="471"/>
                  <a:pt x="1004" y="467"/>
                </a:cubicBezTo>
                <a:cubicBezTo>
                  <a:pt x="1010" y="463"/>
                  <a:pt x="1016" y="460"/>
                  <a:pt x="1023" y="458"/>
                </a:cubicBezTo>
                <a:cubicBezTo>
                  <a:pt x="1028" y="456"/>
                  <a:pt x="1036" y="455"/>
                  <a:pt x="1046" y="453"/>
                </a:cubicBezTo>
                <a:cubicBezTo>
                  <a:pt x="1067" y="451"/>
                  <a:pt x="1082" y="448"/>
                  <a:pt x="1092" y="444"/>
                </a:cubicBezTo>
                <a:cubicBezTo>
                  <a:pt x="1092" y="440"/>
                  <a:pt x="1092" y="438"/>
                  <a:pt x="1092" y="437"/>
                </a:cubicBezTo>
                <a:cubicBezTo>
                  <a:pt x="1092" y="425"/>
                  <a:pt x="1090" y="417"/>
                  <a:pt x="1085" y="413"/>
                </a:cubicBezTo>
                <a:cubicBezTo>
                  <a:pt x="1078" y="406"/>
                  <a:pt x="1069" y="403"/>
                  <a:pt x="1055" y="403"/>
                </a:cubicBezTo>
                <a:cubicBezTo>
                  <a:pt x="1043" y="403"/>
                  <a:pt x="1034" y="406"/>
                  <a:pt x="1028" y="410"/>
                </a:cubicBezTo>
                <a:cubicBezTo>
                  <a:pt x="1022" y="415"/>
                  <a:pt x="1018" y="423"/>
                  <a:pt x="1015" y="435"/>
                </a:cubicBezTo>
                <a:lnTo>
                  <a:pt x="990" y="431"/>
                </a:lnTo>
                <a:cubicBezTo>
                  <a:pt x="992" y="419"/>
                  <a:pt x="996" y="410"/>
                  <a:pt x="1001" y="402"/>
                </a:cubicBezTo>
                <a:cubicBezTo>
                  <a:pt x="1007" y="395"/>
                  <a:pt x="1014" y="390"/>
                  <a:pt x="1024" y="386"/>
                </a:cubicBezTo>
                <a:cubicBezTo>
                  <a:pt x="1034" y="382"/>
                  <a:pt x="1046" y="380"/>
                  <a:pt x="1059" y="380"/>
                </a:cubicBezTo>
                <a:cubicBezTo>
                  <a:pt x="1072" y="380"/>
                  <a:pt x="1083" y="382"/>
                  <a:pt x="1091" y="385"/>
                </a:cubicBezTo>
                <a:cubicBezTo>
                  <a:pt x="1099" y="388"/>
                  <a:pt x="1106" y="392"/>
                  <a:pt x="1109" y="397"/>
                </a:cubicBezTo>
                <a:cubicBezTo>
                  <a:pt x="1113" y="402"/>
                  <a:pt x="1116" y="409"/>
                  <a:pt x="1118" y="417"/>
                </a:cubicBezTo>
                <a:cubicBezTo>
                  <a:pt x="1118" y="421"/>
                  <a:pt x="1119" y="430"/>
                  <a:pt x="1119" y="442"/>
                </a:cubicBezTo>
                <a:lnTo>
                  <a:pt x="1119" y="479"/>
                </a:lnTo>
                <a:cubicBezTo>
                  <a:pt x="1119" y="505"/>
                  <a:pt x="1119" y="521"/>
                  <a:pt x="1120" y="528"/>
                </a:cubicBezTo>
                <a:cubicBezTo>
                  <a:pt x="1121" y="535"/>
                  <a:pt x="1124" y="542"/>
                  <a:pt x="1127" y="548"/>
                </a:cubicBezTo>
                <a:lnTo>
                  <a:pt x="1100" y="548"/>
                </a:lnTo>
                <a:cubicBezTo>
                  <a:pt x="1097" y="542"/>
                  <a:pt x="1095" y="536"/>
                  <a:pt x="1095" y="528"/>
                </a:cubicBezTo>
                <a:close/>
                <a:moveTo>
                  <a:pt x="1092" y="466"/>
                </a:moveTo>
                <a:cubicBezTo>
                  <a:pt x="1083" y="470"/>
                  <a:pt x="1069" y="473"/>
                  <a:pt x="1050" y="476"/>
                </a:cubicBezTo>
                <a:cubicBezTo>
                  <a:pt x="1039" y="478"/>
                  <a:pt x="1032" y="480"/>
                  <a:pt x="1027" y="482"/>
                </a:cubicBezTo>
                <a:cubicBezTo>
                  <a:pt x="1023" y="484"/>
                  <a:pt x="1019" y="487"/>
                  <a:pt x="1017" y="491"/>
                </a:cubicBezTo>
                <a:cubicBezTo>
                  <a:pt x="1014" y="495"/>
                  <a:pt x="1013" y="499"/>
                  <a:pt x="1013" y="504"/>
                </a:cubicBezTo>
                <a:cubicBezTo>
                  <a:pt x="1013" y="511"/>
                  <a:pt x="1016" y="518"/>
                  <a:pt x="1021" y="522"/>
                </a:cubicBezTo>
                <a:cubicBezTo>
                  <a:pt x="1026" y="527"/>
                  <a:pt x="1034" y="530"/>
                  <a:pt x="1044" y="530"/>
                </a:cubicBezTo>
                <a:cubicBezTo>
                  <a:pt x="1054" y="530"/>
                  <a:pt x="1063" y="528"/>
                  <a:pt x="1071" y="523"/>
                </a:cubicBezTo>
                <a:cubicBezTo>
                  <a:pt x="1079" y="518"/>
                  <a:pt x="1084" y="512"/>
                  <a:pt x="1088" y="504"/>
                </a:cubicBezTo>
                <a:cubicBezTo>
                  <a:pt x="1091" y="497"/>
                  <a:pt x="1092" y="488"/>
                  <a:pt x="1092" y="476"/>
                </a:cubicBezTo>
                <a:lnTo>
                  <a:pt x="1092" y="466"/>
                </a:lnTo>
                <a:close/>
                <a:moveTo>
                  <a:pt x="1145" y="353"/>
                </a:moveTo>
                <a:lnTo>
                  <a:pt x="1145" y="321"/>
                </a:lnTo>
                <a:lnTo>
                  <a:pt x="1171" y="321"/>
                </a:lnTo>
                <a:lnTo>
                  <a:pt x="1171" y="353"/>
                </a:lnTo>
                <a:lnTo>
                  <a:pt x="1145" y="353"/>
                </a:lnTo>
                <a:close/>
                <a:moveTo>
                  <a:pt x="1145" y="548"/>
                </a:moveTo>
                <a:lnTo>
                  <a:pt x="1145" y="384"/>
                </a:lnTo>
                <a:lnTo>
                  <a:pt x="1171" y="384"/>
                </a:lnTo>
                <a:lnTo>
                  <a:pt x="1171" y="548"/>
                </a:lnTo>
                <a:lnTo>
                  <a:pt x="1145" y="548"/>
                </a:lnTo>
                <a:close/>
                <a:moveTo>
                  <a:pt x="1196" y="548"/>
                </a:moveTo>
                <a:lnTo>
                  <a:pt x="1196" y="321"/>
                </a:lnTo>
                <a:lnTo>
                  <a:pt x="1222" y="321"/>
                </a:lnTo>
                <a:lnTo>
                  <a:pt x="1222" y="548"/>
                </a:lnTo>
                <a:lnTo>
                  <a:pt x="1196" y="548"/>
                </a:lnTo>
                <a:close/>
                <a:moveTo>
                  <a:pt x="241" y="231"/>
                </a:moveTo>
                <a:lnTo>
                  <a:pt x="241" y="3"/>
                </a:lnTo>
                <a:lnTo>
                  <a:pt x="267" y="3"/>
                </a:lnTo>
                <a:lnTo>
                  <a:pt x="267" y="85"/>
                </a:lnTo>
                <a:cubicBezTo>
                  <a:pt x="279" y="70"/>
                  <a:pt x="294" y="63"/>
                  <a:pt x="312" y="63"/>
                </a:cubicBezTo>
                <a:cubicBezTo>
                  <a:pt x="324" y="63"/>
                  <a:pt x="333" y="65"/>
                  <a:pt x="342" y="70"/>
                </a:cubicBezTo>
                <a:cubicBezTo>
                  <a:pt x="350" y="75"/>
                  <a:pt x="356" y="81"/>
                  <a:pt x="360" y="90"/>
                </a:cubicBezTo>
                <a:cubicBezTo>
                  <a:pt x="363" y="98"/>
                  <a:pt x="365" y="110"/>
                  <a:pt x="365" y="126"/>
                </a:cubicBezTo>
                <a:lnTo>
                  <a:pt x="365" y="231"/>
                </a:lnTo>
                <a:lnTo>
                  <a:pt x="339" y="231"/>
                </a:lnTo>
                <a:lnTo>
                  <a:pt x="339" y="127"/>
                </a:lnTo>
                <a:cubicBezTo>
                  <a:pt x="339" y="113"/>
                  <a:pt x="336" y="103"/>
                  <a:pt x="331" y="96"/>
                </a:cubicBezTo>
                <a:cubicBezTo>
                  <a:pt x="325" y="90"/>
                  <a:pt x="317" y="87"/>
                  <a:pt x="307" y="87"/>
                </a:cubicBezTo>
                <a:cubicBezTo>
                  <a:pt x="299" y="87"/>
                  <a:pt x="292" y="89"/>
                  <a:pt x="285" y="93"/>
                </a:cubicBezTo>
                <a:cubicBezTo>
                  <a:pt x="279" y="97"/>
                  <a:pt x="274" y="103"/>
                  <a:pt x="271" y="111"/>
                </a:cubicBezTo>
                <a:cubicBezTo>
                  <a:pt x="268" y="118"/>
                  <a:pt x="267" y="128"/>
                  <a:pt x="267" y="141"/>
                </a:cubicBezTo>
                <a:lnTo>
                  <a:pt x="267" y="231"/>
                </a:lnTo>
                <a:lnTo>
                  <a:pt x="241" y="231"/>
                </a:lnTo>
                <a:close/>
                <a:moveTo>
                  <a:pt x="382" y="148"/>
                </a:moveTo>
                <a:cubicBezTo>
                  <a:pt x="382" y="118"/>
                  <a:pt x="389" y="95"/>
                  <a:pt x="405" y="81"/>
                </a:cubicBezTo>
                <a:cubicBezTo>
                  <a:pt x="418" y="69"/>
                  <a:pt x="434" y="63"/>
                  <a:pt x="453" y="63"/>
                </a:cubicBezTo>
                <a:cubicBezTo>
                  <a:pt x="475" y="63"/>
                  <a:pt x="492" y="70"/>
                  <a:pt x="505" y="85"/>
                </a:cubicBezTo>
                <a:cubicBezTo>
                  <a:pt x="519" y="99"/>
                  <a:pt x="525" y="120"/>
                  <a:pt x="525" y="146"/>
                </a:cubicBezTo>
                <a:cubicBezTo>
                  <a:pt x="525" y="167"/>
                  <a:pt x="522" y="184"/>
                  <a:pt x="516" y="196"/>
                </a:cubicBezTo>
                <a:cubicBezTo>
                  <a:pt x="510" y="208"/>
                  <a:pt x="502" y="218"/>
                  <a:pt x="491" y="224"/>
                </a:cubicBezTo>
                <a:cubicBezTo>
                  <a:pt x="479" y="231"/>
                  <a:pt x="467" y="234"/>
                  <a:pt x="453" y="234"/>
                </a:cubicBezTo>
                <a:cubicBezTo>
                  <a:pt x="432" y="234"/>
                  <a:pt x="415" y="227"/>
                  <a:pt x="401" y="212"/>
                </a:cubicBezTo>
                <a:cubicBezTo>
                  <a:pt x="388" y="197"/>
                  <a:pt x="382" y="176"/>
                  <a:pt x="382" y="148"/>
                </a:cubicBezTo>
                <a:close/>
                <a:moveTo>
                  <a:pt x="408" y="148"/>
                </a:moveTo>
                <a:cubicBezTo>
                  <a:pt x="408" y="170"/>
                  <a:pt x="412" y="185"/>
                  <a:pt x="421" y="196"/>
                </a:cubicBezTo>
                <a:cubicBezTo>
                  <a:pt x="430" y="206"/>
                  <a:pt x="440" y="211"/>
                  <a:pt x="453" y="211"/>
                </a:cubicBezTo>
                <a:cubicBezTo>
                  <a:pt x="466" y="211"/>
                  <a:pt x="477" y="206"/>
                  <a:pt x="486" y="196"/>
                </a:cubicBezTo>
                <a:cubicBezTo>
                  <a:pt x="494" y="185"/>
                  <a:pt x="499" y="169"/>
                  <a:pt x="499" y="148"/>
                </a:cubicBezTo>
                <a:cubicBezTo>
                  <a:pt x="499" y="127"/>
                  <a:pt x="494" y="112"/>
                  <a:pt x="486" y="101"/>
                </a:cubicBezTo>
                <a:cubicBezTo>
                  <a:pt x="477" y="91"/>
                  <a:pt x="466" y="86"/>
                  <a:pt x="453" y="86"/>
                </a:cubicBezTo>
                <a:cubicBezTo>
                  <a:pt x="440" y="86"/>
                  <a:pt x="430" y="91"/>
                  <a:pt x="421" y="101"/>
                </a:cubicBezTo>
                <a:cubicBezTo>
                  <a:pt x="412" y="112"/>
                  <a:pt x="408" y="127"/>
                  <a:pt x="408" y="148"/>
                </a:cubicBezTo>
                <a:close/>
                <a:moveTo>
                  <a:pt x="542" y="294"/>
                </a:moveTo>
                <a:lnTo>
                  <a:pt x="542" y="66"/>
                </a:lnTo>
                <a:lnTo>
                  <a:pt x="566" y="66"/>
                </a:lnTo>
                <a:lnTo>
                  <a:pt x="566" y="88"/>
                </a:lnTo>
                <a:cubicBezTo>
                  <a:pt x="571" y="79"/>
                  <a:pt x="578" y="73"/>
                  <a:pt x="585" y="69"/>
                </a:cubicBezTo>
                <a:cubicBezTo>
                  <a:pt x="592" y="65"/>
                  <a:pt x="600" y="63"/>
                  <a:pt x="610" y="63"/>
                </a:cubicBezTo>
                <a:cubicBezTo>
                  <a:pt x="623" y="63"/>
                  <a:pt x="635" y="66"/>
                  <a:pt x="645" y="73"/>
                </a:cubicBezTo>
                <a:cubicBezTo>
                  <a:pt x="655" y="81"/>
                  <a:pt x="662" y="91"/>
                  <a:pt x="667" y="104"/>
                </a:cubicBezTo>
                <a:cubicBezTo>
                  <a:pt x="673" y="117"/>
                  <a:pt x="675" y="131"/>
                  <a:pt x="675" y="147"/>
                </a:cubicBezTo>
                <a:cubicBezTo>
                  <a:pt x="675" y="164"/>
                  <a:pt x="672" y="179"/>
                  <a:pt x="667" y="193"/>
                </a:cubicBezTo>
                <a:cubicBezTo>
                  <a:pt x="661" y="206"/>
                  <a:pt x="653" y="216"/>
                  <a:pt x="642" y="224"/>
                </a:cubicBezTo>
                <a:cubicBezTo>
                  <a:pt x="631" y="231"/>
                  <a:pt x="620" y="234"/>
                  <a:pt x="608" y="234"/>
                </a:cubicBezTo>
                <a:cubicBezTo>
                  <a:pt x="600" y="234"/>
                  <a:pt x="592" y="232"/>
                  <a:pt x="585" y="228"/>
                </a:cubicBezTo>
                <a:cubicBezTo>
                  <a:pt x="578" y="224"/>
                  <a:pt x="572" y="220"/>
                  <a:pt x="568" y="214"/>
                </a:cubicBezTo>
                <a:lnTo>
                  <a:pt x="568" y="294"/>
                </a:lnTo>
                <a:lnTo>
                  <a:pt x="542" y="294"/>
                </a:lnTo>
                <a:close/>
                <a:moveTo>
                  <a:pt x="566" y="149"/>
                </a:moveTo>
                <a:cubicBezTo>
                  <a:pt x="566" y="171"/>
                  <a:pt x="570" y="186"/>
                  <a:pt x="578" y="196"/>
                </a:cubicBezTo>
                <a:cubicBezTo>
                  <a:pt x="586" y="206"/>
                  <a:pt x="595" y="211"/>
                  <a:pt x="607" y="211"/>
                </a:cubicBezTo>
                <a:cubicBezTo>
                  <a:pt x="618" y="211"/>
                  <a:pt x="628" y="206"/>
                  <a:pt x="636" y="196"/>
                </a:cubicBezTo>
                <a:cubicBezTo>
                  <a:pt x="644" y="185"/>
                  <a:pt x="648" y="169"/>
                  <a:pt x="648" y="147"/>
                </a:cubicBezTo>
                <a:cubicBezTo>
                  <a:pt x="648" y="126"/>
                  <a:pt x="645" y="110"/>
                  <a:pt x="636" y="100"/>
                </a:cubicBezTo>
                <a:cubicBezTo>
                  <a:pt x="628" y="90"/>
                  <a:pt x="619" y="84"/>
                  <a:pt x="608" y="84"/>
                </a:cubicBezTo>
                <a:cubicBezTo>
                  <a:pt x="597" y="84"/>
                  <a:pt x="587" y="90"/>
                  <a:pt x="578" y="101"/>
                </a:cubicBezTo>
                <a:cubicBezTo>
                  <a:pt x="570" y="112"/>
                  <a:pt x="566" y="128"/>
                  <a:pt x="566" y="149"/>
                </a:cubicBezTo>
                <a:close/>
                <a:moveTo>
                  <a:pt x="693" y="294"/>
                </a:moveTo>
                <a:lnTo>
                  <a:pt x="693" y="66"/>
                </a:lnTo>
                <a:lnTo>
                  <a:pt x="716" y="66"/>
                </a:lnTo>
                <a:lnTo>
                  <a:pt x="716" y="88"/>
                </a:lnTo>
                <a:cubicBezTo>
                  <a:pt x="722" y="79"/>
                  <a:pt x="728" y="73"/>
                  <a:pt x="735" y="69"/>
                </a:cubicBezTo>
                <a:cubicBezTo>
                  <a:pt x="742" y="65"/>
                  <a:pt x="751" y="63"/>
                  <a:pt x="761" y="63"/>
                </a:cubicBezTo>
                <a:cubicBezTo>
                  <a:pt x="774" y="63"/>
                  <a:pt x="786" y="66"/>
                  <a:pt x="796" y="73"/>
                </a:cubicBezTo>
                <a:cubicBezTo>
                  <a:pt x="806" y="81"/>
                  <a:pt x="813" y="91"/>
                  <a:pt x="818" y="104"/>
                </a:cubicBezTo>
                <a:cubicBezTo>
                  <a:pt x="823" y="117"/>
                  <a:pt x="826" y="131"/>
                  <a:pt x="826" y="147"/>
                </a:cubicBezTo>
                <a:cubicBezTo>
                  <a:pt x="826" y="164"/>
                  <a:pt x="823" y="179"/>
                  <a:pt x="817" y="193"/>
                </a:cubicBezTo>
                <a:cubicBezTo>
                  <a:pt x="812" y="206"/>
                  <a:pt x="804" y="216"/>
                  <a:pt x="793" y="224"/>
                </a:cubicBezTo>
                <a:cubicBezTo>
                  <a:pt x="782" y="231"/>
                  <a:pt x="771" y="234"/>
                  <a:pt x="759" y="234"/>
                </a:cubicBezTo>
                <a:cubicBezTo>
                  <a:pt x="750" y="234"/>
                  <a:pt x="743" y="232"/>
                  <a:pt x="736" y="228"/>
                </a:cubicBezTo>
                <a:cubicBezTo>
                  <a:pt x="729" y="224"/>
                  <a:pt x="723" y="220"/>
                  <a:pt x="719" y="214"/>
                </a:cubicBezTo>
                <a:lnTo>
                  <a:pt x="719" y="294"/>
                </a:lnTo>
                <a:lnTo>
                  <a:pt x="693" y="294"/>
                </a:lnTo>
                <a:close/>
                <a:moveTo>
                  <a:pt x="716" y="149"/>
                </a:moveTo>
                <a:cubicBezTo>
                  <a:pt x="716" y="171"/>
                  <a:pt x="720" y="186"/>
                  <a:pt x="728" y="196"/>
                </a:cubicBezTo>
                <a:cubicBezTo>
                  <a:pt x="736" y="206"/>
                  <a:pt x="746" y="211"/>
                  <a:pt x="757" y="211"/>
                </a:cubicBezTo>
                <a:cubicBezTo>
                  <a:pt x="769" y="211"/>
                  <a:pt x="779" y="206"/>
                  <a:pt x="787" y="196"/>
                </a:cubicBezTo>
                <a:cubicBezTo>
                  <a:pt x="795" y="185"/>
                  <a:pt x="799" y="169"/>
                  <a:pt x="799" y="147"/>
                </a:cubicBezTo>
                <a:cubicBezTo>
                  <a:pt x="799" y="126"/>
                  <a:pt x="795" y="110"/>
                  <a:pt x="787" y="100"/>
                </a:cubicBezTo>
                <a:cubicBezTo>
                  <a:pt x="779" y="90"/>
                  <a:pt x="770" y="84"/>
                  <a:pt x="758" y="84"/>
                </a:cubicBezTo>
                <a:cubicBezTo>
                  <a:pt x="747" y="84"/>
                  <a:pt x="738" y="90"/>
                  <a:pt x="729" y="101"/>
                </a:cubicBezTo>
                <a:cubicBezTo>
                  <a:pt x="721" y="112"/>
                  <a:pt x="716" y="128"/>
                  <a:pt x="716" y="149"/>
                </a:cubicBezTo>
                <a:close/>
                <a:moveTo>
                  <a:pt x="843" y="35"/>
                </a:moveTo>
                <a:lnTo>
                  <a:pt x="843" y="3"/>
                </a:lnTo>
                <a:lnTo>
                  <a:pt x="870" y="3"/>
                </a:lnTo>
                <a:lnTo>
                  <a:pt x="870" y="35"/>
                </a:lnTo>
                <a:lnTo>
                  <a:pt x="843" y="35"/>
                </a:lnTo>
                <a:close/>
                <a:moveTo>
                  <a:pt x="843" y="231"/>
                </a:moveTo>
                <a:lnTo>
                  <a:pt x="843" y="66"/>
                </a:lnTo>
                <a:lnTo>
                  <a:pt x="870" y="66"/>
                </a:lnTo>
                <a:lnTo>
                  <a:pt x="870" y="231"/>
                </a:lnTo>
                <a:lnTo>
                  <a:pt x="843" y="231"/>
                </a:lnTo>
                <a:close/>
                <a:moveTo>
                  <a:pt x="895" y="231"/>
                </a:moveTo>
                <a:lnTo>
                  <a:pt x="895" y="66"/>
                </a:lnTo>
                <a:lnTo>
                  <a:pt x="919" y="66"/>
                </a:lnTo>
                <a:lnTo>
                  <a:pt x="919" y="89"/>
                </a:lnTo>
                <a:cubicBezTo>
                  <a:pt x="930" y="71"/>
                  <a:pt x="946" y="63"/>
                  <a:pt x="968" y="63"/>
                </a:cubicBezTo>
                <a:cubicBezTo>
                  <a:pt x="977" y="63"/>
                  <a:pt x="985" y="64"/>
                  <a:pt x="993" y="68"/>
                </a:cubicBezTo>
                <a:cubicBezTo>
                  <a:pt x="1001" y="71"/>
                  <a:pt x="1007" y="76"/>
                  <a:pt x="1010" y="82"/>
                </a:cubicBezTo>
                <a:cubicBezTo>
                  <a:pt x="1014" y="88"/>
                  <a:pt x="1017" y="95"/>
                  <a:pt x="1019" y="102"/>
                </a:cubicBezTo>
                <a:cubicBezTo>
                  <a:pt x="1019" y="108"/>
                  <a:pt x="1020" y="117"/>
                  <a:pt x="1020" y="130"/>
                </a:cubicBezTo>
                <a:lnTo>
                  <a:pt x="1020" y="231"/>
                </a:lnTo>
                <a:lnTo>
                  <a:pt x="994" y="231"/>
                </a:lnTo>
                <a:lnTo>
                  <a:pt x="994" y="131"/>
                </a:lnTo>
                <a:cubicBezTo>
                  <a:pt x="994" y="119"/>
                  <a:pt x="993" y="111"/>
                  <a:pt x="991" y="105"/>
                </a:cubicBezTo>
                <a:cubicBezTo>
                  <a:pt x="989" y="100"/>
                  <a:pt x="985" y="95"/>
                  <a:pt x="980" y="92"/>
                </a:cubicBezTo>
                <a:cubicBezTo>
                  <a:pt x="975" y="88"/>
                  <a:pt x="969" y="87"/>
                  <a:pt x="962" y="87"/>
                </a:cubicBezTo>
                <a:cubicBezTo>
                  <a:pt x="951" y="87"/>
                  <a:pt x="942" y="90"/>
                  <a:pt x="933" y="98"/>
                </a:cubicBezTo>
                <a:cubicBezTo>
                  <a:pt x="925" y="105"/>
                  <a:pt x="921" y="120"/>
                  <a:pt x="921" y="141"/>
                </a:cubicBezTo>
                <a:lnTo>
                  <a:pt x="921" y="231"/>
                </a:lnTo>
                <a:lnTo>
                  <a:pt x="895" y="231"/>
                </a:lnTo>
                <a:close/>
                <a:moveTo>
                  <a:pt x="1041" y="244"/>
                </a:moveTo>
                <a:lnTo>
                  <a:pt x="1067" y="248"/>
                </a:lnTo>
                <a:cubicBezTo>
                  <a:pt x="1068" y="257"/>
                  <a:pt x="1071" y="263"/>
                  <a:pt x="1075" y="267"/>
                </a:cubicBezTo>
                <a:cubicBezTo>
                  <a:pt x="1082" y="272"/>
                  <a:pt x="1091" y="274"/>
                  <a:pt x="1102" y="274"/>
                </a:cubicBezTo>
                <a:cubicBezTo>
                  <a:pt x="1114" y="274"/>
                  <a:pt x="1123" y="272"/>
                  <a:pt x="1130" y="267"/>
                </a:cubicBezTo>
                <a:cubicBezTo>
                  <a:pt x="1136" y="261"/>
                  <a:pt x="1141" y="254"/>
                  <a:pt x="1143" y="245"/>
                </a:cubicBezTo>
                <a:cubicBezTo>
                  <a:pt x="1144" y="239"/>
                  <a:pt x="1145" y="227"/>
                  <a:pt x="1145" y="209"/>
                </a:cubicBezTo>
                <a:cubicBezTo>
                  <a:pt x="1134" y="224"/>
                  <a:pt x="1119" y="231"/>
                  <a:pt x="1102" y="231"/>
                </a:cubicBezTo>
                <a:cubicBezTo>
                  <a:pt x="1081" y="231"/>
                  <a:pt x="1065" y="223"/>
                  <a:pt x="1053" y="206"/>
                </a:cubicBezTo>
                <a:cubicBezTo>
                  <a:pt x="1042" y="190"/>
                  <a:pt x="1036" y="170"/>
                  <a:pt x="1036" y="148"/>
                </a:cubicBezTo>
                <a:cubicBezTo>
                  <a:pt x="1036" y="132"/>
                  <a:pt x="1039" y="117"/>
                  <a:pt x="1044" y="104"/>
                </a:cubicBezTo>
                <a:cubicBezTo>
                  <a:pt x="1049" y="91"/>
                  <a:pt x="1057" y="81"/>
                  <a:pt x="1067" y="73"/>
                </a:cubicBezTo>
                <a:cubicBezTo>
                  <a:pt x="1077" y="66"/>
                  <a:pt x="1089" y="63"/>
                  <a:pt x="1103" y="63"/>
                </a:cubicBezTo>
                <a:cubicBezTo>
                  <a:pt x="1121" y="63"/>
                  <a:pt x="1136" y="70"/>
                  <a:pt x="1147" y="86"/>
                </a:cubicBezTo>
                <a:lnTo>
                  <a:pt x="1147" y="66"/>
                </a:lnTo>
                <a:lnTo>
                  <a:pt x="1171" y="66"/>
                </a:lnTo>
                <a:lnTo>
                  <a:pt x="1171" y="208"/>
                </a:lnTo>
                <a:cubicBezTo>
                  <a:pt x="1171" y="234"/>
                  <a:pt x="1169" y="252"/>
                  <a:pt x="1164" y="263"/>
                </a:cubicBezTo>
                <a:cubicBezTo>
                  <a:pt x="1159" y="273"/>
                  <a:pt x="1151" y="282"/>
                  <a:pt x="1141" y="288"/>
                </a:cubicBezTo>
                <a:cubicBezTo>
                  <a:pt x="1130" y="294"/>
                  <a:pt x="1117" y="297"/>
                  <a:pt x="1102" y="297"/>
                </a:cubicBezTo>
                <a:cubicBezTo>
                  <a:pt x="1084" y="297"/>
                  <a:pt x="1069" y="293"/>
                  <a:pt x="1058" y="284"/>
                </a:cubicBezTo>
                <a:cubicBezTo>
                  <a:pt x="1046" y="275"/>
                  <a:pt x="1041" y="262"/>
                  <a:pt x="1041" y="244"/>
                </a:cubicBezTo>
                <a:close/>
                <a:moveTo>
                  <a:pt x="1063" y="146"/>
                </a:moveTo>
                <a:cubicBezTo>
                  <a:pt x="1063" y="167"/>
                  <a:pt x="1067" y="183"/>
                  <a:pt x="1075" y="193"/>
                </a:cubicBezTo>
                <a:cubicBezTo>
                  <a:pt x="1083" y="203"/>
                  <a:pt x="1093" y="208"/>
                  <a:pt x="1105" y="208"/>
                </a:cubicBezTo>
                <a:cubicBezTo>
                  <a:pt x="1117" y="208"/>
                  <a:pt x="1127" y="203"/>
                  <a:pt x="1135" y="193"/>
                </a:cubicBezTo>
                <a:cubicBezTo>
                  <a:pt x="1143" y="183"/>
                  <a:pt x="1147" y="168"/>
                  <a:pt x="1147" y="146"/>
                </a:cubicBezTo>
                <a:cubicBezTo>
                  <a:pt x="1147" y="126"/>
                  <a:pt x="1143" y="111"/>
                  <a:pt x="1134" y="101"/>
                </a:cubicBezTo>
                <a:cubicBezTo>
                  <a:pt x="1126" y="91"/>
                  <a:pt x="1116" y="86"/>
                  <a:pt x="1104" y="86"/>
                </a:cubicBezTo>
                <a:cubicBezTo>
                  <a:pt x="1093" y="86"/>
                  <a:pt x="1083" y="91"/>
                  <a:pt x="1075" y="101"/>
                </a:cubicBezTo>
                <a:cubicBezTo>
                  <a:pt x="1067" y="111"/>
                  <a:pt x="1063" y="126"/>
                  <a:pt x="1063" y="1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8" name="Freeform 88">
            <a:extLst>
              <a:ext uri="{FF2B5EF4-FFF2-40B4-BE49-F238E27FC236}">
                <a16:creationId xmlns:a16="http://schemas.microsoft.com/office/drawing/2014/main" id="{09CB6A63-7B85-444E-9DD4-FB4AE98A8FF1}"/>
              </a:ext>
            </a:extLst>
          </p:cNvPr>
          <p:cNvSpPr>
            <a:spLocks noEditPoints="1"/>
          </p:cNvSpPr>
          <p:nvPr/>
        </p:nvSpPr>
        <p:spPr bwMode="auto">
          <a:xfrm>
            <a:off x="4381501" y="5067301"/>
            <a:ext cx="234950" cy="82550"/>
          </a:xfrm>
          <a:custGeom>
            <a:avLst/>
            <a:gdLst>
              <a:gd name="T0" fmla="*/ 0 w 653"/>
              <a:gd name="T1" fmla="*/ 0 h 231"/>
              <a:gd name="T2" fmla="*/ 118 w 653"/>
              <a:gd name="T3" fmla="*/ 7 h 231"/>
              <a:gd name="T4" fmla="*/ 150 w 653"/>
              <a:gd name="T5" fmla="*/ 58 h 231"/>
              <a:gd name="T6" fmla="*/ 120 w 653"/>
              <a:gd name="T7" fmla="*/ 106 h 231"/>
              <a:gd name="T8" fmla="*/ 160 w 653"/>
              <a:gd name="T9" fmla="*/ 161 h 231"/>
              <a:gd name="T10" fmla="*/ 138 w 653"/>
              <a:gd name="T11" fmla="*/ 212 h 231"/>
              <a:gd name="T12" fmla="*/ 81 w 653"/>
              <a:gd name="T13" fmla="*/ 227 h 231"/>
              <a:gd name="T14" fmla="*/ 28 w 653"/>
              <a:gd name="T15" fmla="*/ 95 h 231"/>
              <a:gd name="T16" fmla="*/ 100 w 653"/>
              <a:gd name="T17" fmla="*/ 93 h 231"/>
              <a:gd name="T18" fmla="*/ 122 w 653"/>
              <a:gd name="T19" fmla="*/ 61 h 231"/>
              <a:gd name="T20" fmla="*/ 103 w 653"/>
              <a:gd name="T21" fmla="*/ 30 h 231"/>
              <a:gd name="T22" fmla="*/ 28 w 653"/>
              <a:gd name="T23" fmla="*/ 26 h 231"/>
              <a:gd name="T24" fmla="*/ 28 w 653"/>
              <a:gd name="T25" fmla="*/ 200 h 231"/>
              <a:gd name="T26" fmla="*/ 100 w 653"/>
              <a:gd name="T27" fmla="*/ 199 h 231"/>
              <a:gd name="T28" fmla="*/ 127 w 653"/>
              <a:gd name="T29" fmla="*/ 180 h 231"/>
              <a:gd name="T30" fmla="*/ 125 w 653"/>
              <a:gd name="T31" fmla="*/ 139 h 231"/>
              <a:gd name="T32" fmla="*/ 77 w 653"/>
              <a:gd name="T33" fmla="*/ 122 h 231"/>
              <a:gd name="T34" fmla="*/ 28 w 653"/>
              <a:gd name="T35" fmla="*/ 200 h 231"/>
              <a:gd name="T36" fmla="*/ 195 w 653"/>
              <a:gd name="T37" fmla="*/ 77 h 231"/>
              <a:gd name="T38" fmla="*/ 295 w 653"/>
              <a:gd name="T39" fmla="*/ 81 h 231"/>
              <a:gd name="T40" fmla="*/ 306 w 653"/>
              <a:gd name="T41" fmla="*/ 192 h 231"/>
              <a:gd name="T42" fmla="*/ 244 w 653"/>
              <a:gd name="T43" fmla="*/ 231 h 231"/>
              <a:gd name="T44" fmla="*/ 172 w 653"/>
              <a:gd name="T45" fmla="*/ 145 h 231"/>
              <a:gd name="T46" fmla="*/ 211 w 653"/>
              <a:gd name="T47" fmla="*/ 192 h 231"/>
              <a:gd name="T48" fmla="*/ 276 w 653"/>
              <a:gd name="T49" fmla="*/ 192 h 231"/>
              <a:gd name="T50" fmla="*/ 276 w 653"/>
              <a:gd name="T51" fmla="*/ 98 h 231"/>
              <a:gd name="T52" fmla="*/ 211 w 653"/>
              <a:gd name="T53" fmla="*/ 98 h 231"/>
              <a:gd name="T54" fmla="*/ 389 w 653"/>
              <a:gd name="T55" fmla="*/ 202 h 231"/>
              <a:gd name="T56" fmla="*/ 373 w 653"/>
              <a:gd name="T57" fmla="*/ 229 h 231"/>
              <a:gd name="T58" fmla="*/ 340 w 653"/>
              <a:gd name="T59" fmla="*/ 212 h 231"/>
              <a:gd name="T60" fmla="*/ 336 w 653"/>
              <a:gd name="T61" fmla="*/ 84 h 231"/>
              <a:gd name="T62" fmla="*/ 317 w 653"/>
              <a:gd name="T63" fmla="*/ 62 h 231"/>
              <a:gd name="T64" fmla="*/ 336 w 653"/>
              <a:gd name="T65" fmla="*/ 22 h 231"/>
              <a:gd name="T66" fmla="*/ 363 w 653"/>
              <a:gd name="T67" fmla="*/ 62 h 231"/>
              <a:gd name="T68" fmla="*/ 389 w 653"/>
              <a:gd name="T69" fmla="*/ 84 h 231"/>
              <a:gd name="T70" fmla="*/ 363 w 653"/>
              <a:gd name="T71" fmla="*/ 180 h 231"/>
              <a:gd name="T72" fmla="*/ 368 w 653"/>
              <a:gd name="T73" fmla="*/ 201 h 231"/>
              <a:gd name="T74" fmla="*/ 389 w 653"/>
              <a:gd name="T75" fmla="*/ 202 h 231"/>
              <a:gd name="T76" fmla="*/ 460 w 653"/>
              <a:gd name="T77" fmla="*/ 227 h 231"/>
              <a:gd name="T78" fmla="*/ 419 w 653"/>
              <a:gd name="T79" fmla="*/ 224 h 231"/>
              <a:gd name="T80" fmla="*/ 405 w 653"/>
              <a:gd name="T81" fmla="*/ 179 h 231"/>
              <a:gd name="T82" fmla="*/ 386 w 653"/>
              <a:gd name="T83" fmla="*/ 84 h 231"/>
              <a:gd name="T84" fmla="*/ 405 w 653"/>
              <a:gd name="T85" fmla="*/ 62 h 231"/>
              <a:gd name="T86" fmla="*/ 431 w 653"/>
              <a:gd name="T87" fmla="*/ 5 h 231"/>
              <a:gd name="T88" fmla="*/ 457 w 653"/>
              <a:gd name="T89" fmla="*/ 62 h 231"/>
              <a:gd name="T90" fmla="*/ 431 w 653"/>
              <a:gd name="T91" fmla="*/ 84 h 231"/>
              <a:gd name="T92" fmla="*/ 432 w 653"/>
              <a:gd name="T93" fmla="*/ 196 h 231"/>
              <a:gd name="T94" fmla="*/ 446 w 653"/>
              <a:gd name="T95" fmla="*/ 203 h 231"/>
              <a:gd name="T96" fmla="*/ 468 w 653"/>
              <a:gd name="T97" fmla="*/ 227 h 231"/>
              <a:gd name="T98" fmla="*/ 494 w 653"/>
              <a:gd name="T99" fmla="*/ 0 h 231"/>
              <a:gd name="T100" fmla="*/ 468 w 653"/>
              <a:gd name="T101" fmla="*/ 227 h 231"/>
              <a:gd name="T102" fmla="*/ 652 w 653"/>
              <a:gd name="T103" fmla="*/ 178 h 231"/>
              <a:gd name="T104" fmla="*/ 585 w 653"/>
              <a:gd name="T105" fmla="*/ 231 h 231"/>
              <a:gd name="T106" fmla="*/ 512 w 653"/>
              <a:gd name="T107" fmla="*/ 146 h 231"/>
              <a:gd name="T108" fmla="*/ 584 w 653"/>
              <a:gd name="T109" fmla="*/ 59 h 231"/>
              <a:gd name="T110" fmla="*/ 653 w 653"/>
              <a:gd name="T111" fmla="*/ 144 h 231"/>
              <a:gd name="T112" fmla="*/ 539 w 653"/>
              <a:gd name="T113" fmla="*/ 152 h 231"/>
              <a:gd name="T114" fmla="*/ 585 w 653"/>
              <a:gd name="T115" fmla="*/ 208 h 231"/>
              <a:gd name="T116" fmla="*/ 626 w 653"/>
              <a:gd name="T117" fmla="*/ 174 h 231"/>
              <a:gd name="T118" fmla="*/ 626 w 653"/>
              <a:gd name="T119" fmla="*/ 129 h 231"/>
              <a:gd name="T120" fmla="*/ 584 w 653"/>
              <a:gd name="T121" fmla="*/ 82 h 231"/>
              <a:gd name="T122" fmla="*/ 540 w 653"/>
              <a:gd name="T123" fmla="*/ 129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53" h="231">
                <a:moveTo>
                  <a:pt x="0" y="227"/>
                </a:moveTo>
                <a:lnTo>
                  <a:pt x="0" y="0"/>
                </a:lnTo>
                <a:lnTo>
                  <a:pt x="79" y="0"/>
                </a:lnTo>
                <a:cubicBezTo>
                  <a:pt x="96" y="0"/>
                  <a:pt x="108" y="2"/>
                  <a:pt x="118" y="7"/>
                </a:cubicBezTo>
                <a:cubicBezTo>
                  <a:pt x="128" y="11"/>
                  <a:pt x="136" y="18"/>
                  <a:pt x="141" y="28"/>
                </a:cubicBezTo>
                <a:cubicBezTo>
                  <a:pt x="147" y="37"/>
                  <a:pt x="150" y="47"/>
                  <a:pt x="150" y="58"/>
                </a:cubicBezTo>
                <a:cubicBezTo>
                  <a:pt x="150" y="68"/>
                  <a:pt x="147" y="77"/>
                  <a:pt x="142" y="85"/>
                </a:cubicBezTo>
                <a:cubicBezTo>
                  <a:pt x="137" y="94"/>
                  <a:pt x="130" y="101"/>
                  <a:pt x="120" y="106"/>
                </a:cubicBezTo>
                <a:cubicBezTo>
                  <a:pt x="133" y="110"/>
                  <a:pt x="143" y="117"/>
                  <a:pt x="150" y="127"/>
                </a:cubicBezTo>
                <a:cubicBezTo>
                  <a:pt x="156" y="136"/>
                  <a:pt x="160" y="148"/>
                  <a:pt x="160" y="161"/>
                </a:cubicBezTo>
                <a:cubicBezTo>
                  <a:pt x="160" y="172"/>
                  <a:pt x="158" y="182"/>
                  <a:pt x="154" y="191"/>
                </a:cubicBezTo>
                <a:cubicBezTo>
                  <a:pt x="149" y="200"/>
                  <a:pt x="144" y="207"/>
                  <a:pt x="138" y="212"/>
                </a:cubicBezTo>
                <a:cubicBezTo>
                  <a:pt x="132" y="217"/>
                  <a:pt x="124" y="221"/>
                  <a:pt x="115" y="223"/>
                </a:cubicBezTo>
                <a:cubicBezTo>
                  <a:pt x="106" y="226"/>
                  <a:pt x="94" y="227"/>
                  <a:pt x="81" y="227"/>
                </a:cubicBezTo>
                <a:lnTo>
                  <a:pt x="0" y="227"/>
                </a:lnTo>
                <a:close/>
                <a:moveTo>
                  <a:pt x="28" y="95"/>
                </a:moveTo>
                <a:lnTo>
                  <a:pt x="74" y="95"/>
                </a:lnTo>
                <a:cubicBezTo>
                  <a:pt x="86" y="95"/>
                  <a:pt x="95" y="94"/>
                  <a:pt x="100" y="93"/>
                </a:cubicBezTo>
                <a:cubicBezTo>
                  <a:pt x="108" y="90"/>
                  <a:pt x="113" y="87"/>
                  <a:pt x="117" y="81"/>
                </a:cubicBezTo>
                <a:cubicBezTo>
                  <a:pt x="120" y="76"/>
                  <a:pt x="122" y="69"/>
                  <a:pt x="122" y="61"/>
                </a:cubicBezTo>
                <a:cubicBezTo>
                  <a:pt x="122" y="54"/>
                  <a:pt x="120" y="47"/>
                  <a:pt x="117" y="41"/>
                </a:cubicBezTo>
                <a:cubicBezTo>
                  <a:pt x="114" y="36"/>
                  <a:pt x="109" y="32"/>
                  <a:pt x="103" y="30"/>
                </a:cubicBezTo>
                <a:cubicBezTo>
                  <a:pt x="96" y="27"/>
                  <a:pt x="85" y="26"/>
                  <a:pt x="70" y="26"/>
                </a:cubicBezTo>
                <a:lnTo>
                  <a:pt x="28" y="26"/>
                </a:lnTo>
                <a:lnTo>
                  <a:pt x="28" y="95"/>
                </a:lnTo>
                <a:close/>
                <a:moveTo>
                  <a:pt x="28" y="200"/>
                </a:moveTo>
                <a:lnTo>
                  <a:pt x="81" y="200"/>
                </a:lnTo>
                <a:cubicBezTo>
                  <a:pt x="90" y="200"/>
                  <a:pt x="96" y="200"/>
                  <a:pt x="100" y="199"/>
                </a:cubicBezTo>
                <a:cubicBezTo>
                  <a:pt x="106" y="198"/>
                  <a:pt x="112" y="196"/>
                  <a:pt x="116" y="193"/>
                </a:cubicBezTo>
                <a:cubicBezTo>
                  <a:pt x="120" y="190"/>
                  <a:pt x="124" y="186"/>
                  <a:pt x="127" y="180"/>
                </a:cubicBezTo>
                <a:cubicBezTo>
                  <a:pt x="130" y="175"/>
                  <a:pt x="131" y="168"/>
                  <a:pt x="131" y="161"/>
                </a:cubicBezTo>
                <a:cubicBezTo>
                  <a:pt x="131" y="153"/>
                  <a:pt x="129" y="145"/>
                  <a:pt x="125" y="139"/>
                </a:cubicBezTo>
                <a:cubicBezTo>
                  <a:pt x="121" y="133"/>
                  <a:pt x="115" y="128"/>
                  <a:pt x="108" y="126"/>
                </a:cubicBezTo>
                <a:cubicBezTo>
                  <a:pt x="101" y="123"/>
                  <a:pt x="90" y="122"/>
                  <a:pt x="77" y="122"/>
                </a:cubicBezTo>
                <a:lnTo>
                  <a:pt x="28" y="122"/>
                </a:lnTo>
                <a:lnTo>
                  <a:pt x="28" y="200"/>
                </a:lnTo>
                <a:close/>
                <a:moveTo>
                  <a:pt x="172" y="145"/>
                </a:moveTo>
                <a:cubicBezTo>
                  <a:pt x="172" y="114"/>
                  <a:pt x="179" y="92"/>
                  <a:pt x="195" y="77"/>
                </a:cubicBezTo>
                <a:cubicBezTo>
                  <a:pt x="208" y="65"/>
                  <a:pt x="225" y="59"/>
                  <a:pt x="244" y="59"/>
                </a:cubicBezTo>
                <a:cubicBezTo>
                  <a:pt x="265" y="59"/>
                  <a:pt x="282" y="66"/>
                  <a:pt x="295" y="81"/>
                </a:cubicBezTo>
                <a:cubicBezTo>
                  <a:pt x="309" y="96"/>
                  <a:pt x="315" y="116"/>
                  <a:pt x="315" y="142"/>
                </a:cubicBezTo>
                <a:cubicBezTo>
                  <a:pt x="315" y="163"/>
                  <a:pt x="312" y="180"/>
                  <a:pt x="306" y="192"/>
                </a:cubicBezTo>
                <a:cubicBezTo>
                  <a:pt x="301" y="204"/>
                  <a:pt x="292" y="214"/>
                  <a:pt x="281" y="220"/>
                </a:cubicBezTo>
                <a:cubicBezTo>
                  <a:pt x="269" y="227"/>
                  <a:pt x="257" y="231"/>
                  <a:pt x="244" y="231"/>
                </a:cubicBezTo>
                <a:cubicBezTo>
                  <a:pt x="222" y="231"/>
                  <a:pt x="205" y="223"/>
                  <a:pt x="191" y="208"/>
                </a:cubicBezTo>
                <a:cubicBezTo>
                  <a:pt x="178" y="194"/>
                  <a:pt x="172" y="172"/>
                  <a:pt x="172" y="145"/>
                </a:cubicBezTo>
                <a:close/>
                <a:moveTo>
                  <a:pt x="198" y="145"/>
                </a:moveTo>
                <a:cubicBezTo>
                  <a:pt x="198" y="166"/>
                  <a:pt x="202" y="182"/>
                  <a:pt x="211" y="192"/>
                </a:cubicBezTo>
                <a:cubicBezTo>
                  <a:pt x="220" y="202"/>
                  <a:pt x="230" y="208"/>
                  <a:pt x="244" y="208"/>
                </a:cubicBezTo>
                <a:cubicBezTo>
                  <a:pt x="256" y="208"/>
                  <a:pt x="267" y="202"/>
                  <a:pt x="276" y="192"/>
                </a:cubicBezTo>
                <a:cubicBezTo>
                  <a:pt x="284" y="181"/>
                  <a:pt x="289" y="165"/>
                  <a:pt x="289" y="144"/>
                </a:cubicBezTo>
                <a:cubicBezTo>
                  <a:pt x="289" y="123"/>
                  <a:pt x="284" y="108"/>
                  <a:pt x="276" y="98"/>
                </a:cubicBezTo>
                <a:cubicBezTo>
                  <a:pt x="267" y="87"/>
                  <a:pt x="256" y="82"/>
                  <a:pt x="244" y="82"/>
                </a:cubicBezTo>
                <a:cubicBezTo>
                  <a:pt x="230" y="82"/>
                  <a:pt x="220" y="87"/>
                  <a:pt x="211" y="98"/>
                </a:cubicBezTo>
                <a:cubicBezTo>
                  <a:pt x="202" y="108"/>
                  <a:pt x="198" y="124"/>
                  <a:pt x="198" y="145"/>
                </a:cubicBezTo>
                <a:close/>
                <a:moveTo>
                  <a:pt x="389" y="202"/>
                </a:moveTo>
                <a:lnTo>
                  <a:pt x="392" y="227"/>
                </a:lnTo>
                <a:cubicBezTo>
                  <a:pt x="385" y="228"/>
                  <a:pt x="378" y="229"/>
                  <a:pt x="373" y="229"/>
                </a:cubicBezTo>
                <a:cubicBezTo>
                  <a:pt x="363" y="229"/>
                  <a:pt x="356" y="228"/>
                  <a:pt x="351" y="224"/>
                </a:cubicBezTo>
                <a:cubicBezTo>
                  <a:pt x="345" y="221"/>
                  <a:pt x="342" y="217"/>
                  <a:pt x="340" y="212"/>
                </a:cubicBezTo>
                <a:cubicBezTo>
                  <a:pt x="338" y="207"/>
                  <a:pt x="336" y="196"/>
                  <a:pt x="336" y="179"/>
                </a:cubicBezTo>
                <a:lnTo>
                  <a:pt x="336" y="84"/>
                </a:lnTo>
                <a:lnTo>
                  <a:pt x="317" y="84"/>
                </a:lnTo>
                <a:lnTo>
                  <a:pt x="317" y="62"/>
                </a:lnTo>
                <a:lnTo>
                  <a:pt x="336" y="62"/>
                </a:lnTo>
                <a:lnTo>
                  <a:pt x="336" y="22"/>
                </a:lnTo>
                <a:lnTo>
                  <a:pt x="363" y="5"/>
                </a:lnTo>
                <a:lnTo>
                  <a:pt x="363" y="62"/>
                </a:lnTo>
                <a:lnTo>
                  <a:pt x="389" y="62"/>
                </a:lnTo>
                <a:lnTo>
                  <a:pt x="389" y="84"/>
                </a:lnTo>
                <a:lnTo>
                  <a:pt x="363" y="84"/>
                </a:lnTo>
                <a:lnTo>
                  <a:pt x="363" y="180"/>
                </a:lnTo>
                <a:cubicBezTo>
                  <a:pt x="363" y="188"/>
                  <a:pt x="363" y="193"/>
                  <a:pt x="364" y="196"/>
                </a:cubicBezTo>
                <a:cubicBezTo>
                  <a:pt x="365" y="198"/>
                  <a:pt x="366" y="200"/>
                  <a:pt x="368" y="201"/>
                </a:cubicBezTo>
                <a:cubicBezTo>
                  <a:pt x="370" y="203"/>
                  <a:pt x="373" y="203"/>
                  <a:pt x="377" y="203"/>
                </a:cubicBezTo>
                <a:cubicBezTo>
                  <a:pt x="380" y="203"/>
                  <a:pt x="384" y="203"/>
                  <a:pt x="389" y="202"/>
                </a:cubicBezTo>
                <a:close/>
                <a:moveTo>
                  <a:pt x="457" y="202"/>
                </a:moveTo>
                <a:lnTo>
                  <a:pt x="460" y="227"/>
                </a:lnTo>
                <a:cubicBezTo>
                  <a:pt x="453" y="228"/>
                  <a:pt x="447" y="229"/>
                  <a:pt x="441" y="229"/>
                </a:cubicBezTo>
                <a:cubicBezTo>
                  <a:pt x="432" y="229"/>
                  <a:pt x="424" y="228"/>
                  <a:pt x="419" y="224"/>
                </a:cubicBezTo>
                <a:cubicBezTo>
                  <a:pt x="414" y="221"/>
                  <a:pt x="410" y="217"/>
                  <a:pt x="408" y="212"/>
                </a:cubicBezTo>
                <a:cubicBezTo>
                  <a:pt x="406" y="207"/>
                  <a:pt x="405" y="196"/>
                  <a:pt x="405" y="179"/>
                </a:cubicBezTo>
                <a:lnTo>
                  <a:pt x="405" y="84"/>
                </a:lnTo>
                <a:lnTo>
                  <a:pt x="386" y="84"/>
                </a:lnTo>
                <a:lnTo>
                  <a:pt x="386" y="62"/>
                </a:lnTo>
                <a:lnTo>
                  <a:pt x="405" y="62"/>
                </a:lnTo>
                <a:lnTo>
                  <a:pt x="405" y="22"/>
                </a:lnTo>
                <a:lnTo>
                  <a:pt x="431" y="5"/>
                </a:lnTo>
                <a:lnTo>
                  <a:pt x="431" y="62"/>
                </a:lnTo>
                <a:lnTo>
                  <a:pt x="457" y="62"/>
                </a:lnTo>
                <a:lnTo>
                  <a:pt x="457" y="84"/>
                </a:lnTo>
                <a:lnTo>
                  <a:pt x="431" y="84"/>
                </a:lnTo>
                <a:lnTo>
                  <a:pt x="431" y="180"/>
                </a:lnTo>
                <a:cubicBezTo>
                  <a:pt x="431" y="188"/>
                  <a:pt x="431" y="193"/>
                  <a:pt x="432" y="196"/>
                </a:cubicBezTo>
                <a:cubicBezTo>
                  <a:pt x="433" y="198"/>
                  <a:pt x="435" y="200"/>
                  <a:pt x="437" y="201"/>
                </a:cubicBezTo>
                <a:cubicBezTo>
                  <a:pt x="439" y="203"/>
                  <a:pt x="442" y="203"/>
                  <a:pt x="446" y="203"/>
                </a:cubicBezTo>
                <a:cubicBezTo>
                  <a:pt x="448" y="203"/>
                  <a:pt x="452" y="203"/>
                  <a:pt x="457" y="202"/>
                </a:cubicBezTo>
                <a:close/>
                <a:moveTo>
                  <a:pt x="468" y="227"/>
                </a:moveTo>
                <a:lnTo>
                  <a:pt x="468" y="0"/>
                </a:lnTo>
                <a:lnTo>
                  <a:pt x="494" y="0"/>
                </a:lnTo>
                <a:lnTo>
                  <a:pt x="494" y="227"/>
                </a:lnTo>
                <a:lnTo>
                  <a:pt x="468" y="227"/>
                </a:lnTo>
                <a:close/>
                <a:moveTo>
                  <a:pt x="626" y="174"/>
                </a:moveTo>
                <a:lnTo>
                  <a:pt x="652" y="178"/>
                </a:lnTo>
                <a:cubicBezTo>
                  <a:pt x="648" y="194"/>
                  <a:pt x="640" y="207"/>
                  <a:pt x="629" y="217"/>
                </a:cubicBezTo>
                <a:cubicBezTo>
                  <a:pt x="618" y="226"/>
                  <a:pt x="603" y="231"/>
                  <a:pt x="585" y="231"/>
                </a:cubicBezTo>
                <a:cubicBezTo>
                  <a:pt x="563" y="231"/>
                  <a:pt x="545" y="223"/>
                  <a:pt x="532" y="208"/>
                </a:cubicBezTo>
                <a:cubicBezTo>
                  <a:pt x="519" y="194"/>
                  <a:pt x="512" y="173"/>
                  <a:pt x="512" y="146"/>
                </a:cubicBezTo>
                <a:cubicBezTo>
                  <a:pt x="512" y="118"/>
                  <a:pt x="519" y="97"/>
                  <a:pt x="532" y="82"/>
                </a:cubicBezTo>
                <a:cubicBezTo>
                  <a:pt x="545" y="66"/>
                  <a:pt x="563" y="59"/>
                  <a:pt x="584" y="59"/>
                </a:cubicBezTo>
                <a:cubicBezTo>
                  <a:pt x="604" y="59"/>
                  <a:pt x="621" y="66"/>
                  <a:pt x="634" y="81"/>
                </a:cubicBezTo>
                <a:cubicBezTo>
                  <a:pt x="647" y="96"/>
                  <a:pt x="653" y="117"/>
                  <a:pt x="653" y="144"/>
                </a:cubicBezTo>
                <a:cubicBezTo>
                  <a:pt x="653" y="146"/>
                  <a:pt x="653" y="149"/>
                  <a:pt x="653" y="152"/>
                </a:cubicBezTo>
                <a:lnTo>
                  <a:pt x="539" y="152"/>
                </a:lnTo>
                <a:cubicBezTo>
                  <a:pt x="540" y="170"/>
                  <a:pt x="545" y="184"/>
                  <a:pt x="553" y="193"/>
                </a:cubicBezTo>
                <a:cubicBezTo>
                  <a:pt x="562" y="203"/>
                  <a:pt x="572" y="208"/>
                  <a:pt x="585" y="208"/>
                </a:cubicBezTo>
                <a:cubicBezTo>
                  <a:pt x="595" y="208"/>
                  <a:pt x="603" y="205"/>
                  <a:pt x="609" y="200"/>
                </a:cubicBezTo>
                <a:cubicBezTo>
                  <a:pt x="616" y="194"/>
                  <a:pt x="622" y="186"/>
                  <a:pt x="626" y="174"/>
                </a:cubicBezTo>
                <a:close/>
                <a:moveTo>
                  <a:pt x="540" y="129"/>
                </a:moveTo>
                <a:lnTo>
                  <a:pt x="626" y="129"/>
                </a:lnTo>
                <a:cubicBezTo>
                  <a:pt x="625" y="115"/>
                  <a:pt x="621" y="105"/>
                  <a:pt x="616" y="98"/>
                </a:cubicBezTo>
                <a:cubicBezTo>
                  <a:pt x="608" y="87"/>
                  <a:pt x="597" y="82"/>
                  <a:pt x="584" y="82"/>
                </a:cubicBezTo>
                <a:cubicBezTo>
                  <a:pt x="572" y="82"/>
                  <a:pt x="562" y="86"/>
                  <a:pt x="554" y="94"/>
                </a:cubicBezTo>
                <a:cubicBezTo>
                  <a:pt x="546" y="103"/>
                  <a:pt x="541" y="115"/>
                  <a:pt x="540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9" name="Freeform 89">
            <a:extLst>
              <a:ext uri="{FF2B5EF4-FFF2-40B4-BE49-F238E27FC236}">
                <a16:creationId xmlns:a16="http://schemas.microsoft.com/office/drawing/2014/main" id="{5A87085F-75E1-46A5-867B-7C6C90B58C61}"/>
              </a:ext>
            </a:extLst>
          </p:cNvPr>
          <p:cNvSpPr>
            <a:spLocks noEditPoints="1"/>
          </p:cNvSpPr>
          <p:nvPr/>
        </p:nvSpPr>
        <p:spPr bwMode="auto">
          <a:xfrm>
            <a:off x="7321551" y="5067301"/>
            <a:ext cx="438150" cy="103188"/>
          </a:xfrm>
          <a:custGeom>
            <a:avLst/>
            <a:gdLst>
              <a:gd name="T0" fmla="*/ 112 w 1217"/>
              <a:gd name="T1" fmla="*/ 0 h 290"/>
              <a:gd name="T2" fmla="*/ 141 w 1217"/>
              <a:gd name="T3" fmla="*/ 158 h 290"/>
              <a:gd name="T4" fmla="*/ 0 w 1217"/>
              <a:gd name="T5" fmla="*/ 227 h 290"/>
              <a:gd name="T6" fmla="*/ 111 w 1217"/>
              <a:gd name="T7" fmla="*/ 71 h 290"/>
              <a:gd name="T8" fmla="*/ 60 w 1217"/>
              <a:gd name="T9" fmla="*/ 134 h 290"/>
              <a:gd name="T10" fmla="*/ 307 w 1217"/>
              <a:gd name="T11" fmla="*/ 217 h 290"/>
              <a:gd name="T12" fmla="*/ 190 w 1217"/>
              <a:gd name="T13" fmla="*/ 146 h 290"/>
              <a:gd name="T14" fmla="*/ 312 w 1217"/>
              <a:gd name="T15" fmla="*/ 81 h 290"/>
              <a:gd name="T16" fmla="*/ 217 w 1217"/>
              <a:gd name="T17" fmla="*/ 152 h 290"/>
              <a:gd name="T18" fmla="*/ 287 w 1217"/>
              <a:gd name="T19" fmla="*/ 200 h 290"/>
              <a:gd name="T20" fmla="*/ 304 w 1217"/>
              <a:gd name="T21" fmla="*/ 129 h 290"/>
              <a:gd name="T22" fmla="*/ 232 w 1217"/>
              <a:gd name="T23" fmla="*/ 94 h 290"/>
              <a:gd name="T24" fmla="*/ 349 w 1217"/>
              <a:gd name="T25" fmla="*/ 62 h 290"/>
              <a:gd name="T26" fmla="*/ 389 w 1217"/>
              <a:gd name="T27" fmla="*/ 64 h 290"/>
              <a:gd name="T28" fmla="*/ 423 w 1217"/>
              <a:gd name="T29" fmla="*/ 93 h 290"/>
              <a:gd name="T30" fmla="*/ 379 w 1217"/>
              <a:gd name="T31" fmla="*/ 108 h 290"/>
              <a:gd name="T32" fmla="*/ 349 w 1217"/>
              <a:gd name="T33" fmla="*/ 227 h 290"/>
              <a:gd name="T34" fmla="*/ 492 w 1217"/>
              <a:gd name="T35" fmla="*/ 59 h 290"/>
              <a:gd name="T36" fmla="*/ 555 w 1217"/>
              <a:gd name="T37" fmla="*/ 192 h 290"/>
              <a:gd name="T38" fmla="*/ 440 w 1217"/>
              <a:gd name="T39" fmla="*/ 208 h 290"/>
              <a:gd name="T40" fmla="*/ 459 w 1217"/>
              <a:gd name="T41" fmla="*/ 192 h 290"/>
              <a:gd name="T42" fmla="*/ 537 w 1217"/>
              <a:gd name="T43" fmla="*/ 144 h 290"/>
              <a:gd name="T44" fmla="*/ 459 w 1217"/>
              <a:gd name="T45" fmla="*/ 98 h 290"/>
              <a:gd name="T46" fmla="*/ 580 w 1217"/>
              <a:gd name="T47" fmla="*/ 62 h 290"/>
              <a:gd name="T48" fmla="*/ 623 w 1217"/>
              <a:gd name="T49" fmla="*/ 65 h 290"/>
              <a:gd name="T50" fmla="*/ 706 w 1217"/>
              <a:gd name="T51" fmla="*/ 100 h 290"/>
              <a:gd name="T52" fmla="*/ 680 w 1217"/>
              <a:gd name="T53" fmla="*/ 220 h 290"/>
              <a:gd name="T54" fmla="*/ 606 w 1217"/>
              <a:gd name="T55" fmla="*/ 210 h 290"/>
              <a:gd name="T56" fmla="*/ 604 w 1217"/>
              <a:gd name="T57" fmla="*/ 146 h 290"/>
              <a:gd name="T58" fmla="*/ 674 w 1217"/>
              <a:gd name="T59" fmla="*/ 192 h 290"/>
              <a:gd name="T60" fmla="*/ 646 w 1217"/>
              <a:gd name="T61" fmla="*/ 81 h 290"/>
              <a:gd name="T62" fmla="*/ 730 w 1217"/>
              <a:gd name="T63" fmla="*/ 227 h 290"/>
              <a:gd name="T64" fmla="*/ 756 w 1217"/>
              <a:gd name="T65" fmla="*/ 227 h 290"/>
              <a:gd name="T66" fmla="*/ 855 w 1217"/>
              <a:gd name="T67" fmla="*/ 225 h 290"/>
              <a:gd name="T68" fmla="*/ 774 w 1217"/>
              <a:gd name="T69" fmla="*/ 184 h 290"/>
              <a:gd name="T70" fmla="*/ 811 w 1217"/>
              <a:gd name="T71" fmla="*/ 136 h 290"/>
              <a:gd name="T72" fmla="*/ 881 w 1217"/>
              <a:gd name="T73" fmla="*/ 115 h 290"/>
              <a:gd name="T74" fmla="*/ 817 w 1217"/>
              <a:gd name="T75" fmla="*/ 89 h 290"/>
              <a:gd name="T76" fmla="*/ 790 w 1217"/>
              <a:gd name="T77" fmla="*/ 81 h 290"/>
              <a:gd name="T78" fmla="*/ 880 w 1217"/>
              <a:gd name="T79" fmla="*/ 64 h 290"/>
              <a:gd name="T80" fmla="*/ 908 w 1217"/>
              <a:gd name="T81" fmla="*/ 121 h 290"/>
              <a:gd name="T82" fmla="*/ 916 w 1217"/>
              <a:gd name="T83" fmla="*/ 227 h 290"/>
              <a:gd name="T84" fmla="*/ 881 w 1217"/>
              <a:gd name="T85" fmla="*/ 144 h 290"/>
              <a:gd name="T86" fmla="*/ 806 w 1217"/>
              <a:gd name="T87" fmla="*/ 170 h 290"/>
              <a:gd name="T88" fmla="*/ 833 w 1217"/>
              <a:gd name="T89" fmla="*/ 209 h 290"/>
              <a:gd name="T90" fmla="*/ 881 w 1217"/>
              <a:gd name="T91" fmla="*/ 155 h 290"/>
              <a:gd name="T92" fmla="*/ 934 w 1217"/>
              <a:gd name="T93" fmla="*/ 62 h 290"/>
              <a:gd name="T94" fmla="*/ 1006 w 1217"/>
              <a:gd name="T95" fmla="*/ 59 h 290"/>
              <a:gd name="T96" fmla="*/ 1057 w 1217"/>
              <a:gd name="T97" fmla="*/ 99 h 290"/>
              <a:gd name="T98" fmla="*/ 1032 w 1217"/>
              <a:gd name="T99" fmla="*/ 227 h 290"/>
              <a:gd name="T100" fmla="*/ 1018 w 1217"/>
              <a:gd name="T101" fmla="*/ 88 h 290"/>
              <a:gd name="T102" fmla="*/ 960 w 1217"/>
              <a:gd name="T103" fmla="*/ 137 h 290"/>
              <a:gd name="T104" fmla="*/ 1189 w 1217"/>
              <a:gd name="T105" fmla="*/ 174 h 290"/>
              <a:gd name="T106" fmla="*/ 1149 w 1217"/>
              <a:gd name="T107" fmla="*/ 231 h 290"/>
              <a:gd name="T108" fmla="*/ 1096 w 1217"/>
              <a:gd name="T109" fmla="*/ 82 h 290"/>
              <a:gd name="T110" fmla="*/ 1217 w 1217"/>
              <a:gd name="T111" fmla="*/ 144 h 290"/>
              <a:gd name="T112" fmla="*/ 1117 w 1217"/>
              <a:gd name="T113" fmla="*/ 193 h 290"/>
              <a:gd name="T114" fmla="*/ 1189 w 1217"/>
              <a:gd name="T115" fmla="*/ 174 h 290"/>
              <a:gd name="T116" fmla="*/ 1180 w 1217"/>
              <a:gd name="T117" fmla="*/ 98 h 290"/>
              <a:gd name="T118" fmla="*/ 1104 w 1217"/>
              <a:gd name="T119" fmla="*/ 129 h 2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217" h="290">
                <a:moveTo>
                  <a:pt x="0" y="227"/>
                </a:moveTo>
                <a:lnTo>
                  <a:pt x="81" y="0"/>
                </a:lnTo>
                <a:lnTo>
                  <a:pt x="112" y="0"/>
                </a:lnTo>
                <a:lnTo>
                  <a:pt x="198" y="227"/>
                </a:lnTo>
                <a:lnTo>
                  <a:pt x="166" y="227"/>
                </a:lnTo>
                <a:lnTo>
                  <a:pt x="141" y="158"/>
                </a:lnTo>
                <a:lnTo>
                  <a:pt x="52" y="158"/>
                </a:lnTo>
                <a:lnTo>
                  <a:pt x="29" y="227"/>
                </a:lnTo>
                <a:lnTo>
                  <a:pt x="0" y="227"/>
                </a:lnTo>
                <a:close/>
                <a:moveTo>
                  <a:pt x="60" y="134"/>
                </a:moveTo>
                <a:lnTo>
                  <a:pt x="133" y="134"/>
                </a:lnTo>
                <a:lnTo>
                  <a:pt x="111" y="71"/>
                </a:lnTo>
                <a:cubicBezTo>
                  <a:pt x="104" y="52"/>
                  <a:pt x="99" y="36"/>
                  <a:pt x="95" y="23"/>
                </a:cubicBezTo>
                <a:cubicBezTo>
                  <a:pt x="92" y="38"/>
                  <a:pt x="89" y="53"/>
                  <a:pt x="84" y="67"/>
                </a:cubicBezTo>
                <a:lnTo>
                  <a:pt x="60" y="134"/>
                </a:lnTo>
                <a:close/>
                <a:moveTo>
                  <a:pt x="303" y="174"/>
                </a:moveTo>
                <a:lnTo>
                  <a:pt x="330" y="178"/>
                </a:lnTo>
                <a:cubicBezTo>
                  <a:pt x="326" y="194"/>
                  <a:pt x="318" y="207"/>
                  <a:pt x="307" y="217"/>
                </a:cubicBezTo>
                <a:cubicBezTo>
                  <a:pt x="295" y="226"/>
                  <a:pt x="281" y="231"/>
                  <a:pt x="263" y="231"/>
                </a:cubicBezTo>
                <a:cubicBezTo>
                  <a:pt x="241" y="231"/>
                  <a:pt x="223" y="223"/>
                  <a:pt x="210" y="208"/>
                </a:cubicBezTo>
                <a:cubicBezTo>
                  <a:pt x="197" y="194"/>
                  <a:pt x="190" y="173"/>
                  <a:pt x="190" y="146"/>
                </a:cubicBezTo>
                <a:cubicBezTo>
                  <a:pt x="190" y="118"/>
                  <a:pt x="197" y="97"/>
                  <a:pt x="210" y="82"/>
                </a:cubicBezTo>
                <a:cubicBezTo>
                  <a:pt x="223" y="66"/>
                  <a:pt x="240" y="59"/>
                  <a:pt x="261" y="59"/>
                </a:cubicBezTo>
                <a:cubicBezTo>
                  <a:pt x="282" y="59"/>
                  <a:pt x="299" y="66"/>
                  <a:pt x="312" y="81"/>
                </a:cubicBezTo>
                <a:cubicBezTo>
                  <a:pt x="325" y="96"/>
                  <a:pt x="331" y="117"/>
                  <a:pt x="331" y="144"/>
                </a:cubicBezTo>
                <a:cubicBezTo>
                  <a:pt x="331" y="146"/>
                  <a:pt x="331" y="149"/>
                  <a:pt x="331" y="152"/>
                </a:cubicBezTo>
                <a:lnTo>
                  <a:pt x="217" y="152"/>
                </a:lnTo>
                <a:cubicBezTo>
                  <a:pt x="218" y="170"/>
                  <a:pt x="222" y="184"/>
                  <a:pt x="231" y="193"/>
                </a:cubicBezTo>
                <a:cubicBezTo>
                  <a:pt x="239" y="203"/>
                  <a:pt x="250" y="208"/>
                  <a:pt x="263" y="208"/>
                </a:cubicBezTo>
                <a:cubicBezTo>
                  <a:pt x="272" y="208"/>
                  <a:pt x="281" y="205"/>
                  <a:pt x="287" y="200"/>
                </a:cubicBezTo>
                <a:cubicBezTo>
                  <a:pt x="294" y="194"/>
                  <a:pt x="299" y="186"/>
                  <a:pt x="303" y="174"/>
                </a:cubicBezTo>
                <a:close/>
                <a:moveTo>
                  <a:pt x="218" y="129"/>
                </a:moveTo>
                <a:lnTo>
                  <a:pt x="304" y="129"/>
                </a:lnTo>
                <a:cubicBezTo>
                  <a:pt x="302" y="115"/>
                  <a:pt x="299" y="105"/>
                  <a:pt x="294" y="98"/>
                </a:cubicBezTo>
                <a:cubicBezTo>
                  <a:pt x="286" y="87"/>
                  <a:pt x="275" y="82"/>
                  <a:pt x="262" y="82"/>
                </a:cubicBezTo>
                <a:cubicBezTo>
                  <a:pt x="250" y="82"/>
                  <a:pt x="240" y="86"/>
                  <a:pt x="232" y="94"/>
                </a:cubicBezTo>
                <a:cubicBezTo>
                  <a:pt x="223" y="103"/>
                  <a:pt x="219" y="115"/>
                  <a:pt x="218" y="129"/>
                </a:cubicBezTo>
                <a:close/>
                <a:moveTo>
                  <a:pt x="349" y="227"/>
                </a:moveTo>
                <a:lnTo>
                  <a:pt x="349" y="62"/>
                </a:lnTo>
                <a:lnTo>
                  <a:pt x="372" y="62"/>
                </a:lnTo>
                <a:lnTo>
                  <a:pt x="372" y="88"/>
                </a:lnTo>
                <a:cubicBezTo>
                  <a:pt x="378" y="76"/>
                  <a:pt x="384" y="68"/>
                  <a:pt x="389" y="64"/>
                </a:cubicBezTo>
                <a:cubicBezTo>
                  <a:pt x="394" y="61"/>
                  <a:pt x="400" y="59"/>
                  <a:pt x="406" y="59"/>
                </a:cubicBezTo>
                <a:cubicBezTo>
                  <a:pt x="414" y="59"/>
                  <a:pt x="423" y="62"/>
                  <a:pt x="432" y="68"/>
                </a:cubicBezTo>
                <a:lnTo>
                  <a:pt x="423" y="93"/>
                </a:lnTo>
                <a:cubicBezTo>
                  <a:pt x="417" y="90"/>
                  <a:pt x="411" y="88"/>
                  <a:pt x="404" y="88"/>
                </a:cubicBezTo>
                <a:cubicBezTo>
                  <a:pt x="399" y="88"/>
                  <a:pt x="393" y="90"/>
                  <a:pt x="389" y="93"/>
                </a:cubicBezTo>
                <a:cubicBezTo>
                  <a:pt x="384" y="97"/>
                  <a:pt x="381" y="102"/>
                  <a:pt x="379" y="108"/>
                </a:cubicBezTo>
                <a:cubicBezTo>
                  <a:pt x="376" y="118"/>
                  <a:pt x="375" y="129"/>
                  <a:pt x="375" y="141"/>
                </a:cubicBezTo>
                <a:lnTo>
                  <a:pt x="375" y="227"/>
                </a:lnTo>
                <a:lnTo>
                  <a:pt x="349" y="227"/>
                </a:lnTo>
                <a:close/>
                <a:moveTo>
                  <a:pt x="420" y="145"/>
                </a:moveTo>
                <a:cubicBezTo>
                  <a:pt x="420" y="114"/>
                  <a:pt x="428" y="92"/>
                  <a:pt x="444" y="77"/>
                </a:cubicBezTo>
                <a:cubicBezTo>
                  <a:pt x="457" y="65"/>
                  <a:pt x="473" y="59"/>
                  <a:pt x="492" y="59"/>
                </a:cubicBezTo>
                <a:cubicBezTo>
                  <a:pt x="513" y="59"/>
                  <a:pt x="530" y="66"/>
                  <a:pt x="544" y="81"/>
                </a:cubicBezTo>
                <a:cubicBezTo>
                  <a:pt x="557" y="96"/>
                  <a:pt x="564" y="116"/>
                  <a:pt x="564" y="142"/>
                </a:cubicBezTo>
                <a:cubicBezTo>
                  <a:pt x="564" y="163"/>
                  <a:pt x="561" y="180"/>
                  <a:pt x="555" y="192"/>
                </a:cubicBezTo>
                <a:cubicBezTo>
                  <a:pt x="549" y="204"/>
                  <a:pt x="540" y="214"/>
                  <a:pt x="529" y="220"/>
                </a:cubicBezTo>
                <a:cubicBezTo>
                  <a:pt x="518" y="227"/>
                  <a:pt x="505" y="231"/>
                  <a:pt x="492" y="231"/>
                </a:cubicBezTo>
                <a:cubicBezTo>
                  <a:pt x="470" y="231"/>
                  <a:pt x="453" y="223"/>
                  <a:pt x="440" y="208"/>
                </a:cubicBezTo>
                <a:cubicBezTo>
                  <a:pt x="426" y="194"/>
                  <a:pt x="420" y="172"/>
                  <a:pt x="420" y="145"/>
                </a:cubicBezTo>
                <a:close/>
                <a:moveTo>
                  <a:pt x="446" y="145"/>
                </a:moveTo>
                <a:cubicBezTo>
                  <a:pt x="446" y="166"/>
                  <a:pt x="451" y="182"/>
                  <a:pt x="459" y="192"/>
                </a:cubicBezTo>
                <a:cubicBezTo>
                  <a:pt x="468" y="202"/>
                  <a:pt x="479" y="208"/>
                  <a:pt x="492" y="208"/>
                </a:cubicBezTo>
                <a:cubicBezTo>
                  <a:pt x="505" y="208"/>
                  <a:pt x="515" y="202"/>
                  <a:pt x="524" y="192"/>
                </a:cubicBezTo>
                <a:cubicBezTo>
                  <a:pt x="533" y="181"/>
                  <a:pt x="537" y="165"/>
                  <a:pt x="537" y="144"/>
                </a:cubicBezTo>
                <a:cubicBezTo>
                  <a:pt x="537" y="123"/>
                  <a:pt x="533" y="108"/>
                  <a:pt x="524" y="98"/>
                </a:cubicBezTo>
                <a:cubicBezTo>
                  <a:pt x="515" y="87"/>
                  <a:pt x="505" y="82"/>
                  <a:pt x="492" y="82"/>
                </a:cubicBezTo>
                <a:cubicBezTo>
                  <a:pt x="479" y="82"/>
                  <a:pt x="468" y="87"/>
                  <a:pt x="459" y="98"/>
                </a:cubicBezTo>
                <a:cubicBezTo>
                  <a:pt x="451" y="108"/>
                  <a:pt x="446" y="124"/>
                  <a:pt x="446" y="145"/>
                </a:cubicBezTo>
                <a:close/>
                <a:moveTo>
                  <a:pt x="580" y="290"/>
                </a:moveTo>
                <a:lnTo>
                  <a:pt x="580" y="62"/>
                </a:lnTo>
                <a:lnTo>
                  <a:pt x="604" y="62"/>
                </a:lnTo>
                <a:lnTo>
                  <a:pt x="604" y="84"/>
                </a:lnTo>
                <a:cubicBezTo>
                  <a:pt x="610" y="76"/>
                  <a:pt x="616" y="69"/>
                  <a:pt x="623" y="65"/>
                </a:cubicBezTo>
                <a:cubicBezTo>
                  <a:pt x="630" y="61"/>
                  <a:pt x="638" y="59"/>
                  <a:pt x="648" y="59"/>
                </a:cubicBezTo>
                <a:cubicBezTo>
                  <a:pt x="662" y="59"/>
                  <a:pt x="673" y="62"/>
                  <a:pt x="683" y="70"/>
                </a:cubicBezTo>
                <a:cubicBezTo>
                  <a:pt x="693" y="77"/>
                  <a:pt x="701" y="87"/>
                  <a:pt x="706" y="100"/>
                </a:cubicBezTo>
                <a:cubicBezTo>
                  <a:pt x="711" y="113"/>
                  <a:pt x="713" y="128"/>
                  <a:pt x="713" y="143"/>
                </a:cubicBezTo>
                <a:cubicBezTo>
                  <a:pt x="713" y="160"/>
                  <a:pt x="711" y="175"/>
                  <a:pt x="705" y="189"/>
                </a:cubicBezTo>
                <a:cubicBezTo>
                  <a:pt x="699" y="202"/>
                  <a:pt x="691" y="213"/>
                  <a:pt x="680" y="220"/>
                </a:cubicBezTo>
                <a:cubicBezTo>
                  <a:pt x="670" y="227"/>
                  <a:pt x="658" y="231"/>
                  <a:pt x="647" y="231"/>
                </a:cubicBezTo>
                <a:cubicBezTo>
                  <a:pt x="638" y="231"/>
                  <a:pt x="630" y="229"/>
                  <a:pt x="623" y="225"/>
                </a:cubicBezTo>
                <a:cubicBezTo>
                  <a:pt x="616" y="221"/>
                  <a:pt x="611" y="216"/>
                  <a:pt x="606" y="210"/>
                </a:cubicBezTo>
                <a:lnTo>
                  <a:pt x="606" y="290"/>
                </a:lnTo>
                <a:lnTo>
                  <a:pt x="580" y="290"/>
                </a:lnTo>
                <a:close/>
                <a:moveTo>
                  <a:pt x="604" y="146"/>
                </a:moveTo>
                <a:cubicBezTo>
                  <a:pt x="604" y="167"/>
                  <a:pt x="608" y="182"/>
                  <a:pt x="616" y="192"/>
                </a:cubicBezTo>
                <a:cubicBezTo>
                  <a:pt x="624" y="203"/>
                  <a:pt x="634" y="208"/>
                  <a:pt x="645" y="208"/>
                </a:cubicBezTo>
                <a:cubicBezTo>
                  <a:pt x="656" y="208"/>
                  <a:pt x="666" y="202"/>
                  <a:pt x="674" y="192"/>
                </a:cubicBezTo>
                <a:cubicBezTo>
                  <a:pt x="683" y="181"/>
                  <a:pt x="687" y="165"/>
                  <a:pt x="687" y="143"/>
                </a:cubicBezTo>
                <a:cubicBezTo>
                  <a:pt x="687" y="122"/>
                  <a:pt x="683" y="107"/>
                  <a:pt x="675" y="96"/>
                </a:cubicBezTo>
                <a:cubicBezTo>
                  <a:pt x="667" y="86"/>
                  <a:pt x="657" y="81"/>
                  <a:pt x="646" y="81"/>
                </a:cubicBezTo>
                <a:cubicBezTo>
                  <a:pt x="635" y="81"/>
                  <a:pt x="625" y="86"/>
                  <a:pt x="617" y="97"/>
                </a:cubicBezTo>
                <a:cubicBezTo>
                  <a:pt x="608" y="108"/>
                  <a:pt x="604" y="124"/>
                  <a:pt x="604" y="146"/>
                </a:cubicBezTo>
                <a:close/>
                <a:moveTo>
                  <a:pt x="730" y="227"/>
                </a:moveTo>
                <a:lnTo>
                  <a:pt x="730" y="0"/>
                </a:lnTo>
                <a:lnTo>
                  <a:pt x="756" y="0"/>
                </a:lnTo>
                <a:lnTo>
                  <a:pt x="756" y="227"/>
                </a:lnTo>
                <a:lnTo>
                  <a:pt x="730" y="227"/>
                </a:lnTo>
                <a:close/>
                <a:moveTo>
                  <a:pt x="883" y="206"/>
                </a:moveTo>
                <a:cubicBezTo>
                  <a:pt x="874" y="215"/>
                  <a:pt x="864" y="221"/>
                  <a:pt x="855" y="225"/>
                </a:cubicBezTo>
                <a:cubicBezTo>
                  <a:pt x="846" y="229"/>
                  <a:pt x="837" y="231"/>
                  <a:pt x="827" y="231"/>
                </a:cubicBezTo>
                <a:cubicBezTo>
                  <a:pt x="810" y="231"/>
                  <a:pt x="797" y="226"/>
                  <a:pt x="788" y="217"/>
                </a:cubicBezTo>
                <a:cubicBezTo>
                  <a:pt x="779" y="209"/>
                  <a:pt x="774" y="197"/>
                  <a:pt x="774" y="184"/>
                </a:cubicBezTo>
                <a:cubicBezTo>
                  <a:pt x="774" y="176"/>
                  <a:pt x="776" y="168"/>
                  <a:pt x="779" y="161"/>
                </a:cubicBezTo>
                <a:cubicBezTo>
                  <a:pt x="783" y="155"/>
                  <a:pt x="787" y="150"/>
                  <a:pt x="793" y="146"/>
                </a:cubicBezTo>
                <a:cubicBezTo>
                  <a:pt x="798" y="141"/>
                  <a:pt x="804" y="138"/>
                  <a:pt x="811" y="136"/>
                </a:cubicBezTo>
                <a:cubicBezTo>
                  <a:pt x="817" y="135"/>
                  <a:pt x="824" y="134"/>
                  <a:pt x="835" y="132"/>
                </a:cubicBezTo>
                <a:cubicBezTo>
                  <a:pt x="856" y="130"/>
                  <a:pt x="871" y="126"/>
                  <a:pt x="881" y="123"/>
                </a:cubicBezTo>
                <a:cubicBezTo>
                  <a:pt x="881" y="119"/>
                  <a:pt x="881" y="116"/>
                  <a:pt x="881" y="115"/>
                </a:cubicBezTo>
                <a:cubicBezTo>
                  <a:pt x="881" y="104"/>
                  <a:pt x="879" y="96"/>
                  <a:pt x="874" y="91"/>
                </a:cubicBezTo>
                <a:cubicBezTo>
                  <a:pt x="867" y="85"/>
                  <a:pt x="857" y="82"/>
                  <a:pt x="844" y="82"/>
                </a:cubicBezTo>
                <a:cubicBezTo>
                  <a:pt x="832" y="82"/>
                  <a:pt x="823" y="84"/>
                  <a:pt x="817" y="89"/>
                </a:cubicBezTo>
                <a:cubicBezTo>
                  <a:pt x="811" y="93"/>
                  <a:pt x="807" y="102"/>
                  <a:pt x="804" y="113"/>
                </a:cubicBezTo>
                <a:lnTo>
                  <a:pt x="779" y="110"/>
                </a:lnTo>
                <a:cubicBezTo>
                  <a:pt x="781" y="98"/>
                  <a:pt x="785" y="88"/>
                  <a:pt x="790" y="81"/>
                </a:cubicBezTo>
                <a:cubicBezTo>
                  <a:pt x="795" y="74"/>
                  <a:pt x="803" y="69"/>
                  <a:pt x="813" y="65"/>
                </a:cubicBezTo>
                <a:cubicBezTo>
                  <a:pt x="823" y="61"/>
                  <a:pt x="835" y="59"/>
                  <a:pt x="848" y="59"/>
                </a:cubicBezTo>
                <a:cubicBezTo>
                  <a:pt x="861" y="59"/>
                  <a:pt x="872" y="60"/>
                  <a:pt x="880" y="64"/>
                </a:cubicBezTo>
                <a:cubicBezTo>
                  <a:pt x="888" y="67"/>
                  <a:pt x="894" y="71"/>
                  <a:pt x="898" y="76"/>
                </a:cubicBezTo>
                <a:cubicBezTo>
                  <a:pt x="902" y="81"/>
                  <a:pt x="905" y="88"/>
                  <a:pt x="906" y="95"/>
                </a:cubicBezTo>
                <a:cubicBezTo>
                  <a:pt x="907" y="100"/>
                  <a:pt x="908" y="109"/>
                  <a:pt x="908" y="121"/>
                </a:cubicBezTo>
                <a:lnTo>
                  <a:pt x="908" y="158"/>
                </a:lnTo>
                <a:cubicBezTo>
                  <a:pt x="908" y="184"/>
                  <a:pt x="908" y="200"/>
                  <a:pt x="909" y="207"/>
                </a:cubicBezTo>
                <a:cubicBezTo>
                  <a:pt x="910" y="214"/>
                  <a:pt x="912" y="221"/>
                  <a:pt x="916" y="227"/>
                </a:cubicBezTo>
                <a:lnTo>
                  <a:pt x="888" y="227"/>
                </a:lnTo>
                <a:cubicBezTo>
                  <a:pt x="886" y="221"/>
                  <a:pt x="884" y="214"/>
                  <a:pt x="883" y="206"/>
                </a:cubicBezTo>
                <a:close/>
                <a:moveTo>
                  <a:pt x="881" y="144"/>
                </a:moveTo>
                <a:cubicBezTo>
                  <a:pt x="872" y="149"/>
                  <a:pt x="858" y="152"/>
                  <a:pt x="839" y="155"/>
                </a:cubicBezTo>
                <a:cubicBezTo>
                  <a:pt x="828" y="157"/>
                  <a:pt x="820" y="158"/>
                  <a:pt x="816" y="161"/>
                </a:cubicBezTo>
                <a:cubicBezTo>
                  <a:pt x="811" y="163"/>
                  <a:pt x="808" y="166"/>
                  <a:pt x="806" y="170"/>
                </a:cubicBezTo>
                <a:cubicBezTo>
                  <a:pt x="803" y="173"/>
                  <a:pt x="802" y="178"/>
                  <a:pt x="802" y="183"/>
                </a:cubicBezTo>
                <a:cubicBezTo>
                  <a:pt x="802" y="190"/>
                  <a:pt x="805" y="196"/>
                  <a:pt x="810" y="201"/>
                </a:cubicBezTo>
                <a:cubicBezTo>
                  <a:pt x="815" y="206"/>
                  <a:pt x="823" y="209"/>
                  <a:pt x="833" y="209"/>
                </a:cubicBezTo>
                <a:cubicBezTo>
                  <a:pt x="843" y="209"/>
                  <a:pt x="852" y="206"/>
                  <a:pt x="860" y="202"/>
                </a:cubicBezTo>
                <a:cubicBezTo>
                  <a:pt x="867" y="197"/>
                  <a:pt x="873" y="191"/>
                  <a:pt x="877" y="182"/>
                </a:cubicBezTo>
                <a:cubicBezTo>
                  <a:pt x="880" y="176"/>
                  <a:pt x="881" y="167"/>
                  <a:pt x="881" y="155"/>
                </a:cubicBezTo>
                <a:lnTo>
                  <a:pt x="881" y="144"/>
                </a:lnTo>
                <a:close/>
                <a:moveTo>
                  <a:pt x="934" y="227"/>
                </a:moveTo>
                <a:lnTo>
                  <a:pt x="934" y="62"/>
                </a:lnTo>
                <a:lnTo>
                  <a:pt x="957" y="62"/>
                </a:lnTo>
                <a:lnTo>
                  <a:pt x="957" y="86"/>
                </a:lnTo>
                <a:cubicBezTo>
                  <a:pt x="968" y="68"/>
                  <a:pt x="985" y="59"/>
                  <a:pt x="1006" y="59"/>
                </a:cubicBezTo>
                <a:cubicBezTo>
                  <a:pt x="1015" y="59"/>
                  <a:pt x="1024" y="61"/>
                  <a:pt x="1031" y="64"/>
                </a:cubicBezTo>
                <a:cubicBezTo>
                  <a:pt x="1039" y="68"/>
                  <a:pt x="1045" y="72"/>
                  <a:pt x="1049" y="78"/>
                </a:cubicBezTo>
                <a:cubicBezTo>
                  <a:pt x="1053" y="84"/>
                  <a:pt x="1055" y="91"/>
                  <a:pt x="1057" y="99"/>
                </a:cubicBezTo>
                <a:cubicBezTo>
                  <a:pt x="1058" y="104"/>
                  <a:pt x="1058" y="113"/>
                  <a:pt x="1058" y="126"/>
                </a:cubicBezTo>
                <a:lnTo>
                  <a:pt x="1058" y="227"/>
                </a:lnTo>
                <a:lnTo>
                  <a:pt x="1032" y="227"/>
                </a:lnTo>
                <a:lnTo>
                  <a:pt x="1032" y="127"/>
                </a:lnTo>
                <a:cubicBezTo>
                  <a:pt x="1032" y="116"/>
                  <a:pt x="1031" y="107"/>
                  <a:pt x="1029" y="101"/>
                </a:cubicBezTo>
                <a:cubicBezTo>
                  <a:pt x="1027" y="96"/>
                  <a:pt x="1024" y="91"/>
                  <a:pt x="1018" y="88"/>
                </a:cubicBezTo>
                <a:cubicBezTo>
                  <a:pt x="1013" y="85"/>
                  <a:pt x="1007" y="83"/>
                  <a:pt x="1000" y="83"/>
                </a:cubicBezTo>
                <a:cubicBezTo>
                  <a:pt x="989" y="83"/>
                  <a:pt x="980" y="87"/>
                  <a:pt x="972" y="94"/>
                </a:cubicBezTo>
                <a:cubicBezTo>
                  <a:pt x="964" y="102"/>
                  <a:pt x="960" y="116"/>
                  <a:pt x="960" y="137"/>
                </a:cubicBezTo>
                <a:lnTo>
                  <a:pt x="960" y="227"/>
                </a:lnTo>
                <a:lnTo>
                  <a:pt x="934" y="227"/>
                </a:lnTo>
                <a:close/>
                <a:moveTo>
                  <a:pt x="1189" y="174"/>
                </a:moveTo>
                <a:lnTo>
                  <a:pt x="1216" y="178"/>
                </a:lnTo>
                <a:cubicBezTo>
                  <a:pt x="1212" y="194"/>
                  <a:pt x="1204" y="207"/>
                  <a:pt x="1193" y="217"/>
                </a:cubicBezTo>
                <a:cubicBezTo>
                  <a:pt x="1181" y="226"/>
                  <a:pt x="1167" y="231"/>
                  <a:pt x="1149" y="231"/>
                </a:cubicBezTo>
                <a:cubicBezTo>
                  <a:pt x="1126" y="231"/>
                  <a:pt x="1109" y="223"/>
                  <a:pt x="1096" y="208"/>
                </a:cubicBezTo>
                <a:cubicBezTo>
                  <a:pt x="1082" y="194"/>
                  <a:pt x="1076" y="173"/>
                  <a:pt x="1076" y="146"/>
                </a:cubicBezTo>
                <a:cubicBezTo>
                  <a:pt x="1076" y="118"/>
                  <a:pt x="1082" y="97"/>
                  <a:pt x="1096" y="82"/>
                </a:cubicBezTo>
                <a:cubicBezTo>
                  <a:pt x="1109" y="66"/>
                  <a:pt x="1126" y="59"/>
                  <a:pt x="1147" y="59"/>
                </a:cubicBezTo>
                <a:cubicBezTo>
                  <a:pt x="1168" y="59"/>
                  <a:pt x="1185" y="66"/>
                  <a:pt x="1198" y="81"/>
                </a:cubicBezTo>
                <a:cubicBezTo>
                  <a:pt x="1210" y="96"/>
                  <a:pt x="1217" y="117"/>
                  <a:pt x="1217" y="144"/>
                </a:cubicBezTo>
                <a:cubicBezTo>
                  <a:pt x="1217" y="146"/>
                  <a:pt x="1217" y="149"/>
                  <a:pt x="1217" y="152"/>
                </a:cubicBezTo>
                <a:lnTo>
                  <a:pt x="1103" y="152"/>
                </a:lnTo>
                <a:cubicBezTo>
                  <a:pt x="1103" y="170"/>
                  <a:pt x="1108" y="184"/>
                  <a:pt x="1117" y="193"/>
                </a:cubicBezTo>
                <a:cubicBezTo>
                  <a:pt x="1125" y="203"/>
                  <a:pt x="1136" y="208"/>
                  <a:pt x="1149" y="208"/>
                </a:cubicBezTo>
                <a:cubicBezTo>
                  <a:pt x="1158" y="208"/>
                  <a:pt x="1166" y="205"/>
                  <a:pt x="1173" y="200"/>
                </a:cubicBezTo>
                <a:cubicBezTo>
                  <a:pt x="1180" y="194"/>
                  <a:pt x="1185" y="186"/>
                  <a:pt x="1189" y="174"/>
                </a:cubicBezTo>
                <a:close/>
                <a:moveTo>
                  <a:pt x="1104" y="129"/>
                </a:moveTo>
                <a:lnTo>
                  <a:pt x="1189" y="129"/>
                </a:lnTo>
                <a:cubicBezTo>
                  <a:pt x="1188" y="115"/>
                  <a:pt x="1185" y="105"/>
                  <a:pt x="1180" y="98"/>
                </a:cubicBezTo>
                <a:cubicBezTo>
                  <a:pt x="1171" y="87"/>
                  <a:pt x="1161" y="82"/>
                  <a:pt x="1148" y="82"/>
                </a:cubicBezTo>
                <a:cubicBezTo>
                  <a:pt x="1136" y="82"/>
                  <a:pt x="1126" y="86"/>
                  <a:pt x="1117" y="94"/>
                </a:cubicBezTo>
                <a:cubicBezTo>
                  <a:pt x="1109" y="103"/>
                  <a:pt x="1105" y="115"/>
                  <a:pt x="1104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0" name="Freeform 90">
            <a:extLst>
              <a:ext uri="{FF2B5EF4-FFF2-40B4-BE49-F238E27FC236}">
                <a16:creationId xmlns:a16="http://schemas.microsoft.com/office/drawing/2014/main" id="{9E83B220-7097-4AFF-974D-92643C6565E2}"/>
              </a:ext>
            </a:extLst>
          </p:cNvPr>
          <p:cNvSpPr>
            <a:spLocks noEditPoints="1"/>
          </p:cNvSpPr>
          <p:nvPr/>
        </p:nvSpPr>
        <p:spPr bwMode="auto">
          <a:xfrm>
            <a:off x="5832476" y="4048126"/>
            <a:ext cx="395288" cy="84138"/>
          </a:xfrm>
          <a:custGeom>
            <a:avLst/>
            <a:gdLst>
              <a:gd name="T0" fmla="*/ 80 w 1098"/>
              <a:gd name="T1" fmla="*/ 3 h 235"/>
              <a:gd name="T2" fmla="*/ 156 w 1098"/>
              <a:gd name="T3" fmla="*/ 38 h 235"/>
              <a:gd name="T4" fmla="*/ 83 w 1098"/>
              <a:gd name="T5" fmla="*/ 138 h 235"/>
              <a:gd name="T6" fmla="*/ 0 w 1098"/>
              <a:gd name="T7" fmla="*/ 231 h 235"/>
              <a:gd name="T8" fmla="*/ 122 w 1098"/>
              <a:gd name="T9" fmla="*/ 101 h 235"/>
              <a:gd name="T10" fmla="*/ 109 w 1098"/>
              <a:gd name="T11" fmla="*/ 32 h 235"/>
              <a:gd name="T12" fmla="*/ 28 w 1098"/>
              <a:gd name="T13" fmla="*/ 111 h 235"/>
              <a:gd name="T14" fmla="*/ 207 w 1098"/>
              <a:gd name="T15" fmla="*/ 3 h 235"/>
              <a:gd name="T16" fmla="*/ 181 w 1098"/>
              <a:gd name="T17" fmla="*/ 231 h 235"/>
              <a:gd name="T18" fmla="*/ 207 w 1098"/>
              <a:gd name="T19" fmla="*/ 231 h 235"/>
              <a:gd name="T20" fmla="*/ 364 w 1098"/>
              <a:gd name="T21" fmla="*/ 181 h 235"/>
              <a:gd name="T22" fmla="*/ 244 w 1098"/>
              <a:gd name="T23" fmla="*/ 212 h 235"/>
              <a:gd name="T24" fmla="*/ 295 w 1098"/>
              <a:gd name="T25" fmla="*/ 63 h 235"/>
              <a:gd name="T26" fmla="*/ 365 w 1098"/>
              <a:gd name="T27" fmla="*/ 156 h 235"/>
              <a:gd name="T28" fmla="*/ 297 w 1098"/>
              <a:gd name="T29" fmla="*/ 211 h 235"/>
              <a:gd name="T30" fmla="*/ 252 w 1098"/>
              <a:gd name="T31" fmla="*/ 133 h 235"/>
              <a:gd name="T32" fmla="*/ 296 w 1098"/>
              <a:gd name="T33" fmla="*/ 85 h 235"/>
              <a:gd name="T34" fmla="*/ 606 w 1098"/>
              <a:gd name="T35" fmla="*/ 151 h 235"/>
              <a:gd name="T36" fmla="*/ 546 w 1098"/>
              <a:gd name="T37" fmla="*/ 235 h 235"/>
              <a:gd name="T38" fmla="*/ 447 w 1098"/>
              <a:gd name="T39" fmla="*/ 115 h 235"/>
              <a:gd name="T40" fmla="*/ 547 w 1098"/>
              <a:gd name="T41" fmla="*/ 0 h 235"/>
              <a:gd name="T42" fmla="*/ 603 w 1098"/>
              <a:gd name="T43" fmla="*/ 73 h 235"/>
              <a:gd name="T44" fmla="*/ 506 w 1098"/>
              <a:gd name="T45" fmla="*/ 38 h 235"/>
              <a:gd name="T46" fmla="*/ 484 w 1098"/>
              <a:gd name="T47" fmla="*/ 166 h 235"/>
              <a:gd name="T48" fmla="*/ 584 w 1098"/>
              <a:gd name="T49" fmla="*/ 194 h 235"/>
              <a:gd name="T50" fmla="*/ 652 w 1098"/>
              <a:gd name="T51" fmla="*/ 3 h 235"/>
              <a:gd name="T52" fmla="*/ 723 w 1098"/>
              <a:gd name="T53" fmla="*/ 63 h 235"/>
              <a:gd name="T54" fmla="*/ 776 w 1098"/>
              <a:gd name="T55" fmla="*/ 126 h 235"/>
              <a:gd name="T56" fmla="*/ 750 w 1098"/>
              <a:gd name="T57" fmla="*/ 127 h 235"/>
              <a:gd name="T58" fmla="*/ 696 w 1098"/>
              <a:gd name="T59" fmla="*/ 93 h 235"/>
              <a:gd name="T60" fmla="*/ 678 w 1098"/>
              <a:gd name="T61" fmla="*/ 231 h 235"/>
              <a:gd name="T62" fmla="*/ 875 w 1098"/>
              <a:gd name="T63" fmla="*/ 229 h 235"/>
              <a:gd name="T64" fmla="*/ 793 w 1098"/>
              <a:gd name="T65" fmla="*/ 187 h 235"/>
              <a:gd name="T66" fmla="*/ 831 w 1098"/>
              <a:gd name="T67" fmla="*/ 140 h 235"/>
              <a:gd name="T68" fmla="*/ 900 w 1098"/>
              <a:gd name="T69" fmla="*/ 119 h 235"/>
              <a:gd name="T70" fmla="*/ 836 w 1098"/>
              <a:gd name="T71" fmla="*/ 93 h 235"/>
              <a:gd name="T72" fmla="*/ 809 w 1098"/>
              <a:gd name="T73" fmla="*/ 85 h 235"/>
              <a:gd name="T74" fmla="*/ 899 w 1098"/>
              <a:gd name="T75" fmla="*/ 67 h 235"/>
              <a:gd name="T76" fmla="*/ 927 w 1098"/>
              <a:gd name="T77" fmla="*/ 125 h 235"/>
              <a:gd name="T78" fmla="*/ 935 w 1098"/>
              <a:gd name="T79" fmla="*/ 231 h 235"/>
              <a:gd name="T80" fmla="*/ 900 w 1098"/>
              <a:gd name="T81" fmla="*/ 148 h 235"/>
              <a:gd name="T82" fmla="*/ 825 w 1098"/>
              <a:gd name="T83" fmla="*/ 173 h 235"/>
              <a:gd name="T84" fmla="*/ 852 w 1098"/>
              <a:gd name="T85" fmla="*/ 212 h 235"/>
              <a:gd name="T86" fmla="*/ 900 w 1098"/>
              <a:gd name="T87" fmla="*/ 158 h 235"/>
              <a:gd name="T88" fmla="*/ 953 w 1098"/>
              <a:gd name="T89" fmla="*/ 66 h 235"/>
              <a:gd name="T90" fmla="*/ 993 w 1098"/>
              <a:gd name="T91" fmla="*/ 68 h 235"/>
              <a:gd name="T92" fmla="*/ 1027 w 1098"/>
              <a:gd name="T93" fmla="*/ 97 h 235"/>
              <a:gd name="T94" fmla="*/ 983 w 1098"/>
              <a:gd name="T95" fmla="*/ 112 h 235"/>
              <a:gd name="T96" fmla="*/ 953 w 1098"/>
              <a:gd name="T97" fmla="*/ 231 h 235"/>
              <a:gd name="T98" fmla="*/ 1078 w 1098"/>
              <a:gd name="T99" fmla="*/ 233 h 235"/>
              <a:gd name="T100" fmla="*/ 1042 w 1098"/>
              <a:gd name="T101" fmla="*/ 183 h 235"/>
              <a:gd name="T102" fmla="*/ 1023 w 1098"/>
              <a:gd name="T103" fmla="*/ 66 h 235"/>
              <a:gd name="T104" fmla="*/ 1068 w 1098"/>
              <a:gd name="T105" fmla="*/ 8 h 235"/>
              <a:gd name="T106" fmla="*/ 1094 w 1098"/>
              <a:gd name="T107" fmla="*/ 88 h 235"/>
              <a:gd name="T108" fmla="*/ 1070 w 1098"/>
              <a:gd name="T109" fmla="*/ 200 h 235"/>
              <a:gd name="T110" fmla="*/ 1094 w 1098"/>
              <a:gd name="T111" fmla="*/ 206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98" h="235">
                <a:moveTo>
                  <a:pt x="0" y="231"/>
                </a:moveTo>
                <a:lnTo>
                  <a:pt x="0" y="3"/>
                </a:lnTo>
                <a:lnTo>
                  <a:pt x="80" y="3"/>
                </a:lnTo>
                <a:cubicBezTo>
                  <a:pt x="94" y="3"/>
                  <a:pt x="105" y="4"/>
                  <a:pt x="113" y="6"/>
                </a:cubicBezTo>
                <a:cubicBezTo>
                  <a:pt x="123" y="7"/>
                  <a:pt x="132" y="11"/>
                  <a:pt x="139" y="16"/>
                </a:cubicBezTo>
                <a:cubicBezTo>
                  <a:pt x="146" y="21"/>
                  <a:pt x="151" y="29"/>
                  <a:pt x="156" y="38"/>
                </a:cubicBezTo>
                <a:cubicBezTo>
                  <a:pt x="160" y="47"/>
                  <a:pt x="162" y="58"/>
                  <a:pt x="162" y="69"/>
                </a:cubicBezTo>
                <a:cubicBezTo>
                  <a:pt x="162" y="88"/>
                  <a:pt x="156" y="105"/>
                  <a:pt x="145" y="118"/>
                </a:cubicBezTo>
                <a:cubicBezTo>
                  <a:pt x="134" y="131"/>
                  <a:pt x="113" y="138"/>
                  <a:pt x="83" y="138"/>
                </a:cubicBezTo>
                <a:lnTo>
                  <a:pt x="28" y="138"/>
                </a:lnTo>
                <a:lnTo>
                  <a:pt x="28" y="231"/>
                </a:lnTo>
                <a:lnTo>
                  <a:pt x="0" y="231"/>
                </a:lnTo>
                <a:close/>
                <a:moveTo>
                  <a:pt x="28" y="111"/>
                </a:moveTo>
                <a:lnTo>
                  <a:pt x="83" y="111"/>
                </a:lnTo>
                <a:cubicBezTo>
                  <a:pt x="101" y="111"/>
                  <a:pt x="114" y="108"/>
                  <a:pt x="122" y="101"/>
                </a:cubicBezTo>
                <a:cubicBezTo>
                  <a:pt x="129" y="93"/>
                  <a:pt x="133" y="83"/>
                  <a:pt x="133" y="70"/>
                </a:cubicBezTo>
                <a:cubicBezTo>
                  <a:pt x="133" y="60"/>
                  <a:pt x="131" y="52"/>
                  <a:pt x="126" y="46"/>
                </a:cubicBezTo>
                <a:cubicBezTo>
                  <a:pt x="122" y="39"/>
                  <a:pt x="116" y="34"/>
                  <a:pt x="109" y="32"/>
                </a:cubicBezTo>
                <a:cubicBezTo>
                  <a:pt x="104" y="31"/>
                  <a:pt x="95" y="30"/>
                  <a:pt x="83" y="30"/>
                </a:cubicBezTo>
                <a:lnTo>
                  <a:pt x="28" y="30"/>
                </a:lnTo>
                <a:lnTo>
                  <a:pt x="28" y="111"/>
                </a:lnTo>
                <a:close/>
                <a:moveTo>
                  <a:pt x="181" y="35"/>
                </a:moveTo>
                <a:lnTo>
                  <a:pt x="181" y="3"/>
                </a:lnTo>
                <a:lnTo>
                  <a:pt x="207" y="3"/>
                </a:lnTo>
                <a:lnTo>
                  <a:pt x="207" y="35"/>
                </a:lnTo>
                <a:lnTo>
                  <a:pt x="181" y="35"/>
                </a:lnTo>
                <a:close/>
                <a:moveTo>
                  <a:pt x="181" y="231"/>
                </a:moveTo>
                <a:lnTo>
                  <a:pt x="181" y="66"/>
                </a:lnTo>
                <a:lnTo>
                  <a:pt x="207" y="66"/>
                </a:lnTo>
                <a:lnTo>
                  <a:pt x="207" y="231"/>
                </a:lnTo>
                <a:lnTo>
                  <a:pt x="181" y="231"/>
                </a:lnTo>
                <a:close/>
                <a:moveTo>
                  <a:pt x="337" y="177"/>
                </a:moveTo>
                <a:lnTo>
                  <a:pt x="364" y="181"/>
                </a:lnTo>
                <a:cubicBezTo>
                  <a:pt x="360" y="198"/>
                  <a:pt x="352" y="211"/>
                  <a:pt x="341" y="220"/>
                </a:cubicBezTo>
                <a:cubicBezTo>
                  <a:pt x="329" y="230"/>
                  <a:pt x="315" y="234"/>
                  <a:pt x="297" y="234"/>
                </a:cubicBezTo>
                <a:cubicBezTo>
                  <a:pt x="275" y="234"/>
                  <a:pt x="257" y="227"/>
                  <a:pt x="244" y="212"/>
                </a:cubicBezTo>
                <a:cubicBezTo>
                  <a:pt x="231" y="197"/>
                  <a:pt x="224" y="176"/>
                  <a:pt x="224" y="150"/>
                </a:cubicBezTo>
                <a:cubicBezTo>
                  <a:pt x="224" y="122"/>
                  <a:pt x="231" y="101"/>
                  <a:pt x="244" y="85"/>
                </a:cubicBezTo>
                <a:cubicBezTo>
                  <a:pt x="257" y="70"/>
                  <a:pt x="274" y="63"/>
                  <a:pt x="295" y="63"/>
                </a:cubicBezTo>
                <a:cubicBezTo>
                  <a:pt x="316" y="63"/>
                  <a:pt x="333" y="70"/>
                  <a:pt x="346" y="85"/>
                </a:cubicBezTo>
                <a:cubicBezTo>
                  <a:pt x="359" y="100"/>
                  <a:pt x="365" y="121"/>
                  <a:pt x="365" y="148"/>
                </a:cubicBezTo>
                <a:cubicBezTo>
                  <a:pt x="365" y="150"/>
                  <a:pt x="365" y="152"/>
                  <a:pt x="365" y="156"/>
                </a:cubicBezTo>
                <a:lnTo>
                  <a:pt x="251" y="156"/>
                </a:lnTo>
                <a:cubicBezTo>
                  <a:pt x="252" y="174"/>
                  <a:pt x="256" y="187"/>
                  <a:pt x="265" y="197"/>
                </a:cubicBezTo>
                <a:cubicBezTo>
                  <a:pt x="273" y="207"/>
                  <a:pt x="284" y="211"/>
                  <a:pt x="297" y="211"/>
                </a:cubicBezTo>
                <a:cubicBezTo>
                  <a:pt x="306" y="211"/>
                  <a:pt x="315" y="209"/>
                  <a:pt x="321" y="203"/>
                </a:cubicBezTo>
                <a:cubicBezTo>
                  <a:pt x="328" y="198"/>
                  <a:pt x="333" y="189"/>
                  <a:pt x="337" y="177"/>
                </a:cubicBezTo>
                <a:close/>
                <a:moveTo>
                  <a:pt x="252" y="133"/>
                </a:moveTo>
                <a:lnTo>
                  <a:pt x="338" y="133"/>
                </a:lnTo>
                <a:cubicBezTo>
                  <a:pt x="336" y="119"/>
                  <a:pt x="333" y="108"/>
                  <a:pt x="328" y="102"/>
                </a:cubicBezTo>
                <a:cubicBezTo>
                  <a:pt x="320" y="91"/>
                  <a:pt x="309" y="85"/>
                  <a:pt x="296" y="85"/>
                </a:cubicBezTo>
                <a:cubicBezTo>
                  <a:pt x="284" y="85"/>
                  <a:pt x="274" y="90"/>
                  <a:pt x="266" y="98"/>
                </a:cubicBezTo>
                <a:cubicBezTo>
                  <a:pt x="257" y="107"/>
                  <a:pt x="253" y="118"/>
                  <a:pt x="252" y="133"/>
                </a:cubicBezTo>
                <a:close/>
                <a:moveTo>
                  <a:pt x="606" y="151"/>
                </a:moveTo>
                <a:lnTo>
                  <a:pt x="634" y="159"/>
                </a:lnTo>
                <a:cubicBezTo>
                  <a:pt x="628" y="183"/>
                  <a:pt x="617" y="202"/>
                  <a:pt x="602" y="215"/>
                </a:cubicBezTo>
                <a:cubicBezTo>
                  <a:pt x="587" y="228"/>
                  <a:pt x="568" y="235"/>
                  <a:pt x="546" y="235"/>
                </a:cubicBezTo>
                <a:cubicBezTo>
                  <a:pt x="524" y="235"/>
                  <a:pt x="505" y="230"/>
                  <a:pt x="491" y="220"/>
                </a:cubicBezTo>
                <a:cubicBezTo>
                  <a:pt x="476" y="210"/>
                  <a:pt x="466" y="195"/>
                  <a:pt x="458" y="176"/>
                </a:cubicBezTo>
                <a:cubicBezTo>
                  <a:pt x="451" y="157"/>
                  <a:pt x="447" y="137"/>
                  <a:pt x="447" y="115"/>
                </a:cubicBezTo>
                <a:cubicBezTo>
                  <a:pt x="447" y="92"/>
                  <a:pt x="451" y="71"/>
                  <a:pt x="460" y="54"/>
                </a:cubicBezTo>
                <a:cubicBezTo>
                  <a:pt x="468" y="36"/>
                  <a:pt x="480" y="23"/>
                  <a:pt x="496" y="13"/>
                </a:cubicBezTo>
                <a:cubicBezTo>
                  <a:pt x="511" y="4"/>
                  <a:pt x="528" y="0"/>
                  <a:pt x="547" y="0"/>
                </a:cubicBezTo>
                <a:cubicBezTo>
                  <a:pt x="568" y="0"/>
                  <a:pt x="586" y="5"/>
                  <a:pt x="600" y="17"/>
                </a:cubicBezTo>
                <a:cubicBezTo>
                  <a:pt x="615" y="29"/>
                  <a:pt x="625" y="45"/>
                  <a:pt x="630" y="66"/>
                </a:cubicBezTo>
                <a:lnTo>
                  <a:pt x="603" y="73"/>
                </a:lnTo>
                <a:cubicBezTo>
                  <a:pt x="598" y="56"/>
                  <a:pt x="591" y="44"/>
                  <a:pt x="582" y="37"/>
                </a:cubicBezTo>
                <a:cubicBezTo>
                  <a:pt x="572" y="29"/>
                  <a:pt x="560" y="25"/>
                  <a:pt x="546" y="25"/>
                </a:cubicBezTo>
                <a:cubicBezTo>
                  <a:pt x="530" y="25"/>
                  <a:pt x="516" y="30"/>
                  <a:pt x="506" y="38"/>
                </a:cubicBezTo>
                <a:cubicBezTo>
                  <a:pt x="495" y="46"/>
                  <a:pt x="487" y="58"/>
                  <a:pt x="483" y="72"/>
                </a:cubicBezTo>
                <a:cubicBezTo>
                  <a:pt x="478" y="86"/>
                  <a:pt x="476" y="100"/>
                  <a:pt x="476" y="115"/>
                </a:cubicBezTo>
                <a:cubicBezTo>
                  <a:pt x="476" y="135"/>
                  <a:pt x="479" y="151"/>
                  <a:pt x="484" y="166"/>
                </a:cubicBezTo>
                <a:cubicBezTo>
                  <a:pt x="489" y="180"/>
                  <a:pt x="497" y="191"/>
                  <a:pt x="508" y="198"/>
                </a:cubicBezTo>
                <a:cubicBezTo>
                  <a:pt x="519" y="205"/>
                  <a:pt x="531" y="209"/>
                  <a:pt x="544" y="209"/>
                </a:cubicBezTo>
                <a:cubicBezTo>
                  <a:pt x="560" y="209"/>
                  <a:pt x="573" y="204"/>
                  <a:pt x="584" y="194"/>
                </a:cubicBezTo>
                <a:cubicBezTo>
                  <a:pt x="595" y="185"/>
                  <a:pt x="602" y="170"/>
                  <a:pt x="606" y="151"/>
                </a:cubicBezTo>
                <a:close/>
                <a:moveTo>
                  <a:pt x="652" y="231"/>
                </a:moveTo>
                <a:lnTo>
                  <a:pt x="652" y="3"/>
                </a:lnTo>
                <a:lnTo>
                  <a:pt x="678" y="3"/>
                </a:lnTo>
                <a:lnTo>
                  <a:pt x="678" y="85"/>
                </a:lnTo>
                <a:cubicBezTo>
                  <a:pt x="690" y="70"/>
                  <a:pt x="705" y="63"/>
                  <a:pt x="723" y="63"/>
                </a:cubicBezTo>
                <a:cubicBezTo>
                  <a:pt x="735" y="63"/>
                  <a:pt x="744" y="65"/>
                  <a:pt x="753" y="70"/>
                </a:cubicBezTo>
                <a:cubicBezTo>
                  <a:pt x="761" y="75"/>
                  <a:pt x="767" y="81"/>
                  <a:pt x="771" y="90"/>
                </a:cubicBezTo>
                <a:cubicBezTo>
                  <a:pt x="774" y="98"/>
                  <a:pt x="776" y="110"/>
                  <a:pt x="776" y="126"/>
                </a:cubicBezTo>
                <a:lnTo>
                  <a:pt x="776" y="231"/>
                </a:lnTo>
                <a:lnTo>
                  <a:pt x="750" y="231"/>
                </a:lnTo>
                <a:lnTo>
                  <a:pt x="750" y="127"/>
                </a:lnTo>
                <a:cubicBezTo>
                  <a:pt x="750" y="113"/>
                  <a:pt x="747" y="103"/>
                  <a:pt x="742" y="96"/>
                </a:cubicBezTo>
                <a:cubicBezTo>
                  <a:pt x="736" y="90"/>
                  <a:pt x="728" y="87"/>
                  <a:pt x="718" y="87"/>
                </a:cubicBezTo>
                <a:cubicBezTo>
                  <a:pt x="710" y="87"/>
                  <a:pt x="703" y="89"/>
                  <a:pt x="696" y="93"/>
                </a:cubicBezTo>
                <a:cubicBezTo>
                  <a:pt x="690" y="97"/>
                  <a:pt x="685" y="103"/>
                  <a:pt x="682" y="111"/>
                </a:cubicBezTo>
                <a:cubicBezTo>
                  <a:pt x="679" y="118"/>
                  <a:pt x="678" y="128"/>
                  <a:pt x="678" y="141"/>
                </a:cubicBezTo>
                <a:lnTo>
                  <a:pt x="678" y="231"/>
                </a:lnTo>
                <a:lnTo>
                  <a:pt x="652" y="231"/>
                </a:lnTo>
                <a:close/>
                <a:moveTo>
                  <a:pt x="903" y="210"/>
                </a:moveTo>
                <a:cubicBezTo>
                  <a:pt x="893" y="219"/>
                  <a:pt x="884" y="225"/>
                  <a:pt x="875" y="229"/>
                </a:cubicBezTo>
                <a:cubicBezTo>
                  <a:pt x="866" y="232"/>
                  <a:pt x="856" y="234"/>
                  <a:pt x="846" y="234"/>
                </a:cubicBezTo>
                <a:cubicBezTo>
                  <a:pt x="829" y="234"/>
                  <a:pt x="816" y="230"/>
                  <a:pt x="807" y="221"/>
                </a:cubicBezTo>
                <a:cubicBezTo>
                  <a:pt x="798" y="212"/>
                  <a:pt x="793" y="201"/>
                  <a:pt x="793" y="187"/>
                </a:cubicBezTo>
                <a:cubicBezTo>
                  <a:pt x="793" y="179"/>
                  <a:pt x="795" y="172"/>
                  <a:pt x="799" y="165"/>
                </a:cubicBezTo>
                <a:cubicBezTo>
                  <a:pt x="802" y="159"/>
                  <a:pt x="806" y="153"/>
                  <a:pt x="812" y="149"/>
                </a:cubicBezTo>
                <a:cubicBezTo>
                  <a:pt x="818" y="145"/>
                  <a:pt x="824" y="142"/>
                  <a:pt x="831" y="140"/>
                </a:cubicBezTo>
                <a:cubicBezTo>
                  <a:pt x="836" y="139"/>
                  <a:pt x="844" y="137"/>
                  <a:pt x="854" y="136"/>
                </a:cubicBezTo>
                <a:cubicBezTo>
                  <a:pt x="875" y="133"/>
                  <a:pt x="890" y="130"/>
                  <a:pt x="900" y="126"/>
                </a:cubicBezTo>
                <a:cubicBezTo>
                  <a:pt x="900" y="123"/>
                  <a:pt x="900" y="120"/>
                  <a:pt x="900" y="119"/>
                </a:cubicBezTo>
                <a:cubicBezTo>
                  <a:pt x="900" y="108"/>
                  <a:pt x="898" y="100"/>
                  <a:pt x="893" y="95"/>
                </a:cubicBezTo>
                <a:cubicBezTo>
                  <a:pt x="886" y="89"/>
                  <a:pt x="877" y="86"/>
                  <a:pt x="863" y="86"/>
                </a:cubicBezTo>
                <a:cubicBezTo>
                  <a:pt x="851" y="86"/>
                  <a:pt x="842" y="88"/>
                  <a:pt x="836" y="93"/>
                </a:cubicBezTo>
                <a:cubicBezTo>
                  <a:pt x="830" y="97"/>
                  <a:pt x="826" y="105"/>
                  <a:pt x="823" y="117"/>
                </a:cubicBezTo>
                <a:lnTo>
                  <a:pt x="798" y="113"/>
                </a:lnTo>
                <a:cubicBezTo>
                  <a:pt x="800" y="102"/>
                  <a:pt x="804" y="92"/>
                  <a:pt x="809" y="85"/>
                </a:cubicBezTo>
                <a:cubicBezTo>
                  <a:pt x="815" y="78"/>
                  <a:pt x="822" y="72"/>
                  <a:pt x="832" y="68"/>
                </a:cubicBezTo>
                <a:cubicBezTo>
                  <a:pt x="842" y="64"/>
                  <a:pt x="854" y="63"/>
                  <a:pt x="867" y="63"/>
                </a:cubicBezTo>
                <a:cubicBezTo>
                  <a:pt x="880" y="63"/>
                  <a:pt x="891" y="64"/>
                  <a:pt x="899" y="67"/>
                </a:cubicBezTo>
                <a:cubicBezTo>
                  <a:pt x="907" y="71"/>
                  <a:pt x="914" y="75"/>
                  <a:pt x="917" y="80"/>
                </a:cubicBezTo>
                <a:cubicBezTo>
                  <a:pt x="921" y="85"/>
                  <a:pt x="924" y="91"/>
                  <a:pt x="926" y="99"/>
                </a:cubicBezTo>
                <a:cubicBezTo>
                  <a:pt x="926" y="104"/>
                  <a:pt x="927" y="112"/>
                  <a:pt x="927" y="125"/>
                </a:cubicBezTo>
                <a:lnTo>
                  <a:pt x="927" y="162"/>
                </a:lnTo>
                <a:cubicBezTo>
                  <a:pt x="927" y="188"/>
                  <a:pt x="927" y="204"/>
                  <a:pt x="928" y="211"/>
                </a:cubicBezTo>
                <a:cubicBezTo>
                  <a:pt x="929" y="218"/>
                  <a:pt x="932" y="224"/>
                  <a:pt x="935" y="231"/>
                </a:cubicBezTo>
                <a:lnTo>
                  <a:pt x="908" y="231"/>
                </a:lnTo>
                <a:cubicBezTo>
                  <a:pt x="905" y="225"/>
                  <a:pt x="903" y="218"/>
                  <a:pt x="903" y="210"/>
                </a:cubicBezTo>
                <a:close/>
                <a:moveTo>
                  <a:pt x="900" y="148"/>
                </a:moveTo>
                <a:cubicBezTo>
                  <a:pt x="891" y="152"/>
                  <a:pt x="877" y="156"/>
                  <a:pt x="858" y="159"/>
                </a:cubicBezTo>
                <a:cubicBezTo>
                  <a:pt x="847" y="160"/>
                  <a:pt x="840" y="162"/>
                  <a:pt x="835" y="164"/>
                </a:cubicBezTo>
                <a:cubicBezTo>
                  <a:pt x="831" y="166"/>
                  <a:pt x="827" y="169"/>
                  <a:pt x="825" y="173"/>
                </a:cubicBezTo>
                <a:cubicBezTo>
                  <a:pt x="822" y="177"/>
                  <a:pt x="821" y="182"/>
                  <a:pt x="821" y="186"/>
                </a:cubicBezTo>
                <a:cubicBezTo>
                  <a:pt x="821" y="194"/>
                  <a:pt x="824" y="200"/>
                  <a:pt x="829" y="205"/>
                </a:cubicBezTo>
                <a:cubicBezTo>
                  <a:pt x="834" y="210"/>
                  <a:pt x="842" y="212"/>
                  <a:pt x="852" y="212"/>
                </a:cubicBezTo>
                <a:cubicBezTo>
                  <a:pt x="862" y="212"/>
                  <a:pt x="871" y="210"/>
                  <a:pt x="879" y="205"/>
                </a:cubicBezTo>
                <a:cubicBezTo>
                  <a:pt x="887" y="201"/>
                  <a:pt x="892" y="194"/>
                  <a:pt x="896" y="186"/>
                </a:cubicBezTo>
                <a:cubicBezTo>
                  <a:pt x="899" y="180"/>
                  <a:pt x="900" y="171"/>
                  <a:pt x="900" y="158"/>
                </a:cubicBezTo>
                <a:lnTo>
                  <a:pt x="900" y="148"/>
                </a:lnTo>
                <a:close/>
                <a:moveTo>
                  <a:pt x="953" y="231"/>
                </a:moveTo>
                <a:lnTo>
                  <a:pt x="953" y="66"/>
                </a:lnTo>
                <a:lnTo>
                  <a:pt x="976" y="66"/>
                </a:lnTo>
                <a:lnTo>
                  <a:pt x="976" y="91"/>
                </a:lnTo>
                <a:cubicBezTo>
                  <a:pt x="982" y="80"/>
                  <a:pt x="988" y="72"/>
                  <a:pt x="993" y="68"/>
                </a:cubicBezTo>
                <a:cubicBezTo>
                  <a:pt x="998" y="64"/>
                  <a:pt x="1003" y="63"/>
                  <a:pt x="1009" y="63"/>
                </a:cubicBezTo>
                <a:cubicBezTo>
                  <a:pt x="1018" y="63"/>
                  <a:pt x="1027" y="65"/>
                  <a:pt x="1036" y="71"/>
                </a:cubicBezTo>
                <a:lnTo>
                  <a:pt x="1027" y="97"/>
                </a:lnTo>
                <a:cubicBezTo>
                  <a:pt x="1021" y="93"/>
                  <a:pt x="1014" y="91"/>
                  <a:pt x="1008" y="91"/>
                </a:cubicBezTo>
                <a:cubicBezTo>
                  <a:pt x="1002" y="91"/>
                  <a:pt x="997" y="93"/>
                  <a:pt x="993" y="97"/>
                </a:cubicBezTo>
                <a:cubicBezTo>
                  <a:pt x="988" y="101"/>
                  <a:pt x="985" y="106"/>
                  <a:pt x="983" y="112"/>
                </a:cubicBezTo>
                <a:cubicBezTo>
                  <a:pt x="980" y="122"/>
                  <a:pt x="979" y="133"/>
                  <a:pt x="979" y="145"/>
                </a:cubicBezTo>
                <a:lnTo>
                  <a:pt x="979" y="231"/>
                </a:lnTo>
                <a:lnTo>
                  <a:pt x="953" y="231"/>
                </a:lnTo>
                <a:close/>
                <a:moveTo>
                  <a:pt x="1094" y="206"/>
                </a:moveTo>
                <a:lnTo>
                  <a:pt x="1098" y="231"/>
                </a:lnTo>
                <a:cubicBezTo>
                  <a:pt x="1090" y="232"/>
                  <a:pt x="1084" y="233"/>
                  <a:pt x="1078" y="233"/>
                </a:cubicBezTo>
                <a:cubicBezTo>
                  <a:pt x="1069" y="233"/>
                  <a:pt x="1062" y="231"/>
                  <a:pt x="1056" y="228"/>
                </a:cubicBezTo>
                <a:cubicBezTo>
                  <a:pt x="1051" y="225"/>
                  <a:pt x="1047" y="221"/>
                  <a:pt x="1045" y="216"/>
                </a:cubicBezTo>
                <a:cubicBezTo>
                  <a:pt x="1043" y="210"/>
                  <a:pt x="1042" y="199"/>
                  <a:pt x="1042" y="183"/>
                </a:cubicBezTo>
                <a:lnTo>
                  <a:pt x="1042" y="88"/>
                </a:lnTo>
                <a:lnTo>
                  <a:pt x="1023" y="88"/>
                </a:lnTo>
                <a:lnTo>
                  <a:pt x="1023" y="66"/>
                </a:lnTo>
                <a:lnTo>
                  <a:pt x="1042" y="66"/>
                </a:lnTo>
                <a:lnTo>
                  <a:pt x="1042" y="25"/>
                </a:lnTo>
                <a:lnTo>
                  <a:pt x="1068" y="8"/>
                </a:lnTo>
                <a:lnTo>
                  <a:pt x="1068" y="66"/>
                </a:lnTo>
                <a:lnTo>
                  <a:pt x="1094" y="66"/>
                </a:lnTo>
                <a:lnTo>
                  <a:pt x="1094" y="88"/>
                </a:lnTo>
                <a:lnTo>
                  <a:pt x="1068" y="88"/>
                </a:lnTo>
                <a:lnTo>
                  <a:pt x="1068" y="184"/>
                </a:lnTo>
                <a:cubicBezTo>
                  <a:pt x="1068" y="192"/>
                  <a:pt x="1069" y="197"/>
                  <a:pt x="1070" y="200"/>
                </a:cubicBezTo>
                <a:cubicBezTo>
                  <a:pt x="1070" y="202"/>
                  <a:pt x="1072" y="204"/>
                  <a:pt x="1074" y="205"/>
                </a:cubicBezTo>
                <a:cubicBezTo>
                  <a:pt x="1076" y="206"/>
                  <a:pt x="1079" y="207"/>
                  <a:pt x="1083" y="207"/>
                </a:cubicBezTo>
                <a:cubicBezTo>
                  <a:pt x="1086" y="207"/>
                  <a:pt x="1090" y="207"/>
                  <a:pt x="1094" y="20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1" name="Freeform 91">
            <a:extLst>
              <a:ext uri="{FF2B5EF4-FFF2-40B4-BE49-F238E27FC236}">
                <a16:creationId xmlns:a16="http://schemas.microsoft.com/office/drawing/2014/main" id="{7A196D21-3819-49FD-BE95-B248CA74E56B}"/>
              </a:ext>
            </a:extLst>
          </p:cNvPr>
          <p:cNvSpPr>
            <a:spLocks noEditPoints="1"/>
          </p:cNvSpPr>
          <p:nvPr/>
        </p:nvSpPr>
        <p:spPr bwMode="auto">
          <a:xfrm>
            <a:off x="9652001" y="3025776"/>
            <a:ext cx="381000" cy="82550"/>
          </a:xfrm>
          <a:custGeom>
            <a:avLst/>
            <a:gdLst>
              <a:gd name="T0" fmla="*/ 73 w 1056"/>
              <a:gd name="T1" fmla="*/ 0 h 230"/>
              <a:gd name="T2" fmla="*/ 166 w 1056"/>
              <a:gd name="T3" fmla="*/ 58 h 230"/>
              <a:gd name="T4" fmla="*/ 155 w 1056"/>
              <a:gd name="T5" fmla="*/ 191 h 230"/>
              <a:gd name="T6" fmla="*/ 76 w 1056"/>
              <a:gd name="T7" fmla="*/ 227 h 230"/>
              <a:gd name="T8" fmla="*/ 73 w 1056"/>
              <a:gd name="T9" fmla="*/ 200 h 230"/>
              <a:gd name="T10" fmla="*/ 140 w 1056"/>
              <a:gd name="T11" fmla="*/ 155 h 230"/>
              <a:gd name="T12" fmla="*/ 108 w 1056"/>
              <a:gd name="T13" fmla="*/ 31 h 230"/>
              <a:gd name="T14" fmla="*/ 28 w 1056"/>
              <a:gd name="T15" fmla="*/ 200 h 230"/>
              <a:gd name="T16" fmla="*/ 222 w 1056"/>
              <a:gd name="T17" fmla="*/ 0 h 230"/>
              <a:gd name="T18" fmla="*/ 196 w 1056"/>
              <a:gd name="T19" fmla="*/ 227 h 230"/>
              <a:gd name="T20" fmla="*/ 222 w 1056"/>
              <a:gd name="T21" fmla="*/ 227 h 230"/>
              <a:gd name="T22" fmla="*/ 320 w 1056"/>
              <a:gd name="T23" fmla="*/ 225 h 230"/>
              <a:gd name="T24" fmla="*/ 239 w 1056"/>
              <a:gd name="T25" fmla="*/ 183 h 230"/>
              <a:gd name="T26" fmla="*/ 277 w 1056"/>
              <a:gd name="T27" fmla="*/ 136 h 230"/>
              <a:gd name="T28" fmla="*/ 346 w 1056"/>
              <a:gd name="T29" fmla="*/ 115 h 230"/>
              <a:gd name="T30" fmla="*/ 282 w 1056"/>
              <a:gd name="T31" fmla="*/ 89 h 230"/>
              <a:gd name="T32" fmla="*/ 255 w 1056"/>
              <a:gd name="T33" fmla="*/ 81 h 230"/>
              <a:gd name="T34" fmla="*/ 345 w 1056"/>
              <a:gd name="T35" fmla="*/ 64 h 230"/>
              <a:gd name="T36" fmla="*/ 373 w 1056"/>
              <a:gd name="T37" fmla="*/ 121 h 230"/>
              <a:gd name="T38" fmla="*/ 381 w 1056"/>
              <a:gd name="T39" fmla="*/ 227 h 230"/>
              <a:gd name="T40" fmla="*/ 346 w 1056"/>
              <a:gd name="T41" fmla="*/ 144 h 230"/>
              <a:gd name="T42" fmla="*/ 271 w 1056"/>
              <a:gd name="T43" fmla="*/ 169 h 230"/>
              <a:gd name="T44" fmla="*/ 298 w 1056"/>
              <a:gd name="T45" fmla="*/ 209 h 230"/>
              <a:gd name="T46" fmla="*/ 346 w 1056"/>
              <a:gd name="T47" fmla="*/ 155 h 230"/>
              <a:gd name="T48" fmla="*/ 399 w 1056"/>
              <a:gd name="T49" fmla="*/ 62 h 230"/>
              <a:gd name="T50" fmla="*/ 441 w 1056"/>
              <a:gd name="T51" fmla="*/ 66 h 230"/>
              <a:gd name="T52" fmla="*/ 512 w 1056"/>
              <a:gd name="T53" fmla="*/ 87 h 230"/>
              <a:gd name="T54" fmla="*/ 607 w 1056"/>
              <a:gd name="T55" fmla="*/ 114 h 230"/>
              <a:gd name="T56" fmla="*/ 581 w 1056"/>
              <a:gd name="T57" fmla="*/ 123 h 230"/>
              <a:gd name="T58" fmla="*/ 554 w 1056"/>
              <a:gd name="T59" fmla="*/ 83 h 230"/>
              <a:gd name="T60" fmla="*/ 516 w 1056"/>
              <a:gd name="T61" fmla="*/ 227 h 230"/>
              <a:gd name="T62" fmla="*/ 484 w 1056"/>
              <a:gd name="T63" fmla="*/ 92 h 230"/>
              <a:gd name="T64" fmla="*/ 429 w 1056"/>
              <a:gd name="T65" fmla="*/ 107 h 230"/>
              <a:gd name="T66" fmla="*/ 399 w 1056"/>
              <a:gd name="T67" fmla="*/ 227 h 230"/>
              <a:gd name="T68" fmla="*/ 694 w 1056"/>
              <a:gd name="T69" fmla="*/ 59 h 230"/>
              <a:gd name="T70" fmla="*/ 757 w 1056"/>
              <a:gd name="T71" fmla="*/ 192 h 230"/>
              <a:gd name="T72" fmla="*/ 642 w 1056"/>
              <a:gd name="T73" fmla="*/ 208 h 230"/>
              <a:gd name="T74" fmla="*/ 661 w 1056"/>
              <a:gd name="T75" fmla="*/ 192 h 230"/>
              <a:gd name="T76" fmla="*/ 739 w 1056"/>
              <a:gd name="T77" fmla="*/ 144 h 230"/>
              <a:gd name="T78" fmla="*/ 661 w 1056"/>
              <a:gd name="T79" fmla="*/ 97 h 230"/>
              <a:gd name="T80" fmla="*/ 782 w 1056"/>
              <a:gd name="T81" fmla="*/ 62 h 230"/>
              <a:gd name="T82" fmla="*/ 854 w 1056"/>
              <a:gd name="T83" fmla="*/ 59 h 230"/>
              <a:gd name="T84" fmla="*/ 905 w 1056"/>
              <a:gd name="T85" fmla="*/ 99 h 230"/>
              <a:gd name="T86" fmla="*/ 881 w 1056"/>
              <a:gd name="T87" fmla="*/ 227 h 230"/>
              <a:gd name="T88" fmla="*/ 867 w 1056"/>
              <a:gd name="T89" fmla="*/ 88 h 230"/>
              <a:gd name="T90" fmla="*/ 808 w 1056"/>
              <a:gd name="T91" fmla="*/ 137 h 230"/>
              <a:gd name="T92" fmla="*/ 1032 w 1056"/>
              <a:gd name="T93" fmla="*/ 227 h 230"/>
              <a:gd name="T94" fmla="*/ 955 w 1056"/>
              <a:gd name="T95" fmla="*/ 220 h 230"/>
              <a:gd name="T96" fmla="*/ 931 w 1056"/>
              <a:gd name="T97" fmla="*/ 100 h 230"/>
              <a:gd name="T98" fmla="*/ 1013 w 1056"/>
              <a:gd name="T99" fmla="*/ 65 h 230"/>
              <a:gd name="T100" fmla="*/ 1056 w 1056"/>
              <a:gd name="T101" fmla="*/ 0 h 230"/>
              <a:gd name="T102" fmla="*/ 950 w 1056"/>
              <a:gd name="T103" fmla="*/ 145 h 230"/>
              <a:gd name="T104" fmla="*/ 1021 w 1056"/>
              <a:gd name="T105" fmla="*/ 193 h 230"/>
              <a:gd name="T106" fmla="*/ 990 w 1056"/>
              <a:gd name="T107" fmla="*/ 82 h 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56" h="230">
                <a:moveTo>
                  <a:pt x="0" y="227"/>
                </a:moveTo>
                <a:lnTo>
                  <a:pt x="0" y="0"/>
                </a:lnTo>
                <a:lnTo>
                  <a:pt x="73" y="0"/>
                </a:lnTo>
                <a:cubicBezTo>
                  <a:pt x="89" y="0"/>
                  <a:pt x="102" y="1"/>
                  <a:pt x="110" y="3"/>
                </a:cubicBezTo>
                <a:cubicBezTo>
                  <a:pt x="122" y="6"/>
                  <a:pt x="133" y="11"/>
                  <a:pt x="141" y="19"/>
                </a:cubicBezTo>
                <a:cubicBezTo>
                  <a:pt x="153" y="29"/>
                  <a:pt x="161" y="42"/>
                  <a:pt x="166" y="58"/>
                </a:cubicBezTo>
                <a:cubicBezTo>
                  <a:pt x="172" y="74"/>
                  <a:pt x="175" y="92"/>
                  <a:pt x="175" y="112"/>
                </a:cubicBezTo>
                <a:cubicBezTo>
                  <a:pt x="175" y="129"/>
                  <a:pt x="173" y="145"/>
                  <a:pt x="169" y="158"/>
                </a:cubicBezTo>
                <a:cubicBezTo>
                  <a:pt x="165" y="171"/>
                  <a:pt x="160" y="182"/>
                  <a:pt x="155" y="191"/>
                </a:cubicBezTo>
                <a:cubicBezTo>
                  <a:pt x="149" y="200"/>
                  <a:pt x="142" y="207"/>
                  <a:pt x="135" y="212"/>
                </a:cubicBezTo>
                <a:cubicBezTo>
                  <a:pt x="128" y="217"/>
                  <a:pt x="120" y="220"/>
                  <a:pt x="110" y="223"/>
                </a:cubicBezTo>
                <a:cubicBezTo>
                  <a:pt x="100" y="226"/>
                  <a:pt x="89" y="227"/>
                  <a:pt x="76" y="227"/>
                </a:cubicBezTo>
                <a:lnTo>
                  <a:pt x="0" y="227"/>
                </a:lnTo>
                <a:close/>
                <a:moveTo>
                  <a:pt x="28" y="200"/>
                </a:moveTo>
                <a:lnTo>
                  <a:pt x="73" y="200"/>
                </a:lnTo>
                <a:cubicBezTo>
                  <a:pt x="87" y="200"/>
                  <a:pt x="98" y="199"/>
                  <a:pt x="106" y="196"/>
                </a:cubicBezTo>
                <a:cubicBezTo>
                  <a:pt x="114" y="193"/>
                  <a:pt x="120" y="189"/>
                  <a:pt x="125" y="184"/>
                </a:cubicBezTo>
                <a:cubicBezTo>
                  <a:pt x="131" y="177"/>
                  <a:pt x="136" y="168"/>
                  <a:pt x="140" y="155"/>
                </a:cubicBezTo>
                <a:cubicBezTo>
                  <a:pt x="144" y="143"/>
                  <a:pt x="146" y="129"/>
                  <a:pt x="146" y="112"/>
                </a:cubicBezTo>
                <a:cubicBezTo>
                  <a:pt x="146" y="88"/>
                  <a:pt x="142" y="69"/>
                  <a:pt x="135" y="57"/>
                </a:cubicBezTo>
                <a:cubicBezTo>
                  <a:pt x="128" y="44"/>
                  <a:pt x="119" y="35"/>
                  <a:pt x="108" y="31"/>
                </a:cubicBezTo>
                <a:cubicBezTo>
                  <a:pt x="101" y="28"/>
                  <a:pt x="89" y="26"/>
                  <a:pt x="72" y="26"/>
                </a:cubicBezTo>
                <a:lnTo>
                  <a:pt x="28" y="26"/>
                </a:lnTo>
                <a:lnTo>
                  <a:pt x="28" y="200"/>
                </a:lnTo>
                <a:close/>
                <a:moveTo>
                  <a:pt x="196" y="31"/>
                </a:moveTo>
                <a:lnTo>
                  <a:pt x="196" y="0"/>
                </a:lnTo>
                <a:lnTo>
                  <a:pt x="222" y="0"/>
                </a:lnTo>
                <a:lnTo>
                  <a:pt x="222" y="31"/>
                </a:lnTo>
                <a:lnTo>
                  <a:pt x="196" y="31"/>
                </a:lnTo>
                <a:close/>
                <a:moveTo>
                  <a:pt x="196" y="227"/>
                </a:moveTo>
                <a:lnTo>
                  <a:pt x="196" y="62"/>
                </a:lnTo>
                <a:lnTo>
                  <a:pt x="222" y="62"/>
                </a:lnTo>
                <a:lnTo>
                  <a:pt x="222" y="227"/>
                </a:lnTo>
                <a:lnTo>
                  <a:pt x="196" y="227"/>
                </a:lnTo>
                <a:close/>
                <a:moveTo>
                  <a:pt x="348" y="206"/>
                </a:moveTo>
                <a:cubicBezTo>
                  <a:pt x="339" y="215"/>
                  <a:pt x="329" y="221"/>
                  <a:pt x="320" y="225"/>
                </a:cubicBezTo>
                <a:cubicBezTo>
                  <a:pt x="312" y="229"/>
                  <a:pt x="302" y="230"/>
                  <a:pt x="292" y="230"/>
                </a:cubicBezTo>
                <a:cubicBezTo>
                  <a:pt x="275" y="230"/>
                  <a:pt x="262" y="226"/>
                  <a:pt x="253" y="217"/>
                </a:cubicBezTo>
                <a:cubicBezTo>
                  <a:pt x="244" y="208"/>
                  <a:pt x="239" y="197"/>
                  <a:pt x="239" y="183"/>
                </a:cubicBezTo>
                <a:cubicBezTo>
                  <a:pt x="239" y="175"/>
                  <a:pt x="241" y="168"/>
                  <a:pt x="244" y="161"/>
                </a:cubicBezTo>
                <a:cubicBezTo>
                  <a:pt x="248" y="155"/>
                  <a:pt x="252" y="149"/>
                  <a:pt x="258" y="145"/>
                </a:cubicBezTo>
                <a:cubicBezTo>
                  <a:pt x="263" y="141"/>
                  <a:pt x="270" y="138"/>
                  <a:pt x="277" y="136"/>
                </a:cubicBezTo>
                <a:cubicBezTo>
                  <a:pt x="282" y="135"/>
                  <a:pt x="289" y="133"/>
                  <a:pt x="300" y="132"/>
                </a:cubicBezTo>
                <a:cubicBezTo>
                  <a:pt x="321" y="129"/>
                  <a:pt x="336" y="126"/>
                  <a:pt x="346" y="122"/>
                </a:cubicBezTo>
                <a:cubicBezTo>
                  <a:pt x="346" y="119"/>
                  <a:pt x="346" y="116"/>
                  <a:pt x="346" y="115"/>
                </a:cubicBezTo>
                <a:cubicBezTo>
                  <a:pt x="346" y="104"/>
                  <a:pt x="344" y="96"/>
                  <a:pt x="339" y="91"/>
                </a:cubicBezTo>
                <a:cubicBezTo>
                  <a:pt x="332" y="85"/>
                  <a:pt x="322" y="82"/>
                  <a:pt x="309" y="82"/>
                </a:cubicBezTo>
                <a:cubicBezTo>
                  <a:pt x="297" y="82"/>
                  <a:pt x="288" y="84"/>
                  <a:pt x="282" y="89"/>
                </a:cubicBezTo>
                <a:cubicBezTo>
                  <a:pt x="276" y="93"/>
                  <a:pt x="272" y="102"/>
                  <a:pt x="269" y="113"/>
                </a:cubicBezTo>
                <a:lnTo>
                  <a:pt x="244" y="109"/>
                </a:lnTo>
                <a:cubicBezTo>
                  <a:pt x="246" y="98"/>
                  <a:pt x="250" y="88"/>
                  <a:pt x="255" y="81"/>
                </a:cubicBezTo>
                <a:cubicBezTo>
                  <a:pt x="260" y="74"/>
                  <a:pt x="268" y="68"/>
                  <a:pt x="278" y="64"/>
                </a:cubicBezTo>
                <a:cubicBezTo>
                  <a:pt x="288" y="61"/>
                  <a:pt x="300" y="59"/>
                  <a:pt x="313" y="59"/>
                </a:cubicBezTo>
                <a:cubicBezTo>
                  <a:pt x="326" y="59"/>
                  <a:pt x="337" y="60"/>
                  <a:pt x="345" y="64"/>
                </a:cubicBezTo>
                <a:cubicBezTo>
                  <a:pt x="353" y="67"/>
                  <a:pt x="359" y="71"/>
                  <a:pt x="363" y="76"/>
                </a:cubicBezTo>
                <a:cubicBezTo>
                  <a:pt x="367" y="81"/>
                  <a:pt x="370" y="87"/>
                  <a:pt x="371" y="95"/>
                </a:cubicBezTo>
                <a:cubicBezTo>
                  <a:pt x="372" y="100"/>
                  <a:pt x="373" y="109"/>
                  <a:pt x="373" y="121"/>
                </a:cubicBezTo>
                <a:lnTo>
                  <a:pt x="373" y="158"/>
                </a:lnTo>
                <a:cubicBezTo>
                  <a:pt x="373" y="184"/>
                  <a:pt x="373" y="200"/>
                  <a:pt x="374" y="207"/>
                </a:cubicBezTo>
                <a:cubicBezTo>
                  <a:pt x="375" y="214"/>
                  <a:pt x="377" y="221"/>
                  <a:pt x="381" y="227"/>
                </a:cubicBezTo>
                <a:lnTo>
                  <a:pt x="353" y="227"/>
                </a:lnTo>
                <a:cubicBezTo>
                  <a:pt x="351" y="221"/>
                  <a:pt x="349" y="214"/>
                  <a:pt x="348" y="206"/>
                </a:cubicBezTo>
                <a:close/>
                <a:moveTo>
                  <a:pt x="346" y="144"/>
                </a:moveTo>
                <a:cubicBezTo>
                  <a:pt x="337" y="149"/>
                  <a:pt x="323" y="152"/>
                  <a:pt x="304" y="155"/>
                </a:cubicBezTo>
                <a:cubicBezTo>
                  <a:pt x="293" y="157"/>
                  <a:pt x="285" y="158"/>
                  <a:pt x="281" y="160"/>
                </a:cubicBezTo>
                <a:cubicBezTo>
                  <a:pt x="277" y="162"/>
                  <a:pt x="273" y="165"/>
                  <a:pt x="271" y="169"/>
                </a:cubicBezTo>
                <a:cubicBezTo>
                  <a:pt x="268" y="173"/>
                  <a:pt x="267" y="178"/>
                  <a:pt x="267" y="183"/>
                </a:cubicBezTo>
                <a:cubicBezTo>
                  <a:pt x="267" y="190"/>
                  <a:pt x="270" y="196"/>
                  <a:pt x="275" y="201"/>
                </a:cubicBezTo>
                <a:cubicBezTo>
                  <a:pt x="280" y="206"/>
                  <a:pt x="288" y="209"/>
                  <a:pt x="298" y="209"/>
                </a:cubicBezTo>
                <a:cubicBezTo>
                  <a:pt x="308" y="209"/>
                  <a:pt x="317" y="206"/>
                  <a:pt x="325" y="201"/>
                </a:cubicBezTo>
                <a:cubicBezTo>
                  <a:pt x="333" y="197"/>
                  <a:pt x="338" y="190"/>
                  <a:pt x="342" y="182"/>
                </a:cubicBezTo>
                <a:cubicBezTo>
                  <a:pt x="345" y="176"/>
                  <a:pt x="346" y="167"/>
                  <a:pt x="346" y="155"/>
                </a:cubicBezTo>
                <a:lnTo>
                  <a:pt x="346" y="144"/>
                </a:lnTo>
                <a:close/>
                <a:moveTo>
                  <a:pt x="399" y="227"/>
                </a:moveTo>
                <a:lnTo>
                  <a:pt x="399" y="62"/>
                </a:lnTo>
                <a:lnTo>
                  <a:pt x="422" y="62"/>
                </a:lnTo>
                <a:lnTo>
                  <a:pt x="422" y="85"/>
                </a:lnTo>
                <a:cubicBezTo>
                  <a:pt x="427" y="77"/>
                  <a:pt x="433" y="71"/>
                  <a:pt x="441" y="66"/>
                </a:cubicBezTo>
                <a:cubicBezTo>
                  <a:pt x="449" y="61"/>
                  <a:pt x="458" y="59"/>
                  <a:pt x="469" y="59"/>
                </a:cubicBezTo>
                <a:cubicBezTo>
                  <a:pt x="480" y="59"/>
                  <a:pt x="489" y="61"/>
                  <a:pt x="497" y="66"/>
                </a:cubicBezTo>
                <a:cubicBezTo>
                  <a:pt x="504" y="71"/>
                  <a:pt x="509" y="78"/>
                  <a:pt x="512" y="87"/>
                </a:cubicBezTo>
                <a:cubicBezTo>
                  <a:pt x="524" y="68"/>
                  <a:pt x="540" y="59"/>
                  <a:pt x="559" y="59"/>
                </a:cubicBezTo>
                <a:cubicBezTo>
                  <a:pt x="575" y="59"/>
                  <a:pt x="587" y="63"/>
                  <a:pt x="595" y="72"/>
                </a:cubicBezTo>
                <a:cubicBezTo>
                  <a:pt x="603" y="81"/>
                  <a:pt x="607" y="95"/>
                  <a:pt x="607" y="114"/>
                </a:cubicBezTo>
                <a:lnTo>
                  <a:pt x="607" y="227"/>
                </a:lnTo>
                <a:lnTo>
                  <a:pt x="581" y="227"/>
                </a:lnTo>
                <a:lnTo>
                  <a:pt x="581" y="123"/>
                </a:lnTo>
                <a:cubicBezTo>
                  <a:pt x="581" y="112"/>
                  <a:pt x="580" y="104"/>
                  <a:pt x="578" y="99"/>
                </a:cubicBezTo>
                <a:cubicBezTo>
                  <a:pt x="577" y="94"/>
                  <a:pt x="574" y="90"/>
                  <a:pt x="569" y="87"/>
                </a:cubicBezTo>
                <a:cubicBezTo>
                  <a:pt x="565" y="84"/>
                  <a:pt x="560" y="83"/>
                  <a:pt x="554" y="83"/>
                </a:cubicBezTo>
                <a:cubicBezTo>
                  <a:pt x="543" y="83"/>
                  <a:pt x="534" y="87"/>
                  <a:pt x="527" y="94"/>
                </a:cubicBezTo>
                <a:cubicBezTo>
                  <a:pt x="520" y="102"/>
                  <a:pt x="516" y="114"/>
                  <a:pt x="516" y="131"/>
                </a:cubicBezTo>
                <a:lnTo>
                  <a:pt x="516" y="227"/>
                </a:lnTo>
                <a:lnTo>
                  <a:pt x="490" y="227"/>
                </a:lnTo>
                <a:lnTo>
                  <a:pt x="490" y="120"/>
                </a:lnTo>
                <a:cubicBezTo>
                  <a:pt x="490" y="108"/>
                  <a:pt x="488" y="98"/>
                  <a:pt x="484" y="92"/>
                </a:cubicBezTo>
                <a:cubicBezTo>
                  <a:pt x="479" y="86"/>
                  <a:pt x="472" y="83"/>
                  <a:pt x="463" y="83"/>
                </a:cubicBezTo>
                <a:cubicBezTo>
                  <a:pt x="455" y="83"/>
                  <a:pt x="449" y="85"/>
                  <a:pt x="443" y="89"/>
                </a:cubicBezTo>
                <a:cubicBezTo>
                  <a:pt x="436" y="93"/>
                  <a:pt x="432" y="99"/>
                  <a:pt x="429" y="107"/>
                </a:cubicBezTo>
                <a:cubicBezTo>
                  <a:pt x="426" y="115"/>
                  <a:pt x="425" y="127"/>
                  <a:pt x="425" y="142"/>
                </a:cubicBezTo>
                <a:lnTo>
                  <a:pt x="425" y="227"/>
                </a:lnTo>
                <a:lnTo>
                  <a:pt x="399" y="227"/>
                </a:lnTo>
                <a:close/>
                <a:moveTo>
                  <a:pt x="622" y="145"/>
                </a:moveTo>
                <a:cubicBezTo>
                  <a:pt x="622" y="114"/>
                  <a:pt x="630" y="92"/>
                  <a:pt x="645" y="77"/>
                </a:cubicBezTo>
                <a:cubicBezTo>
                  <a:pt x="659" y="65"/>
                  <a:pt x="675" y="59"/>
                  <a:pt x="694" y="59"/>
                </a:cubicBezTo>
                <a:cubicBezTo>
                  <a:pt x="715" y="59"/>
                  <a:pt x="732" y="66"/>
                  <a:pt x="745" y="81"/>
                </a:cubicBezTo>
                <a:cubicBezTo>
                  <a:pt x="759" y="96"/>
                  <a:pt x="765" y="116"/>
                  <a:pt x="765" y="142"/>
                </a:cubicBezTo>
                <a:cubicBezTo>
                  <a:pt x="765" y="163"/>
                  <a:pt x="763" y="180"/>
                  <a:pt x="757" y="192"/>
                </a:cubicBezTo>
                <a:cubicBezTo>
                  <a:pt x="751" y="204"/>
                  <a:pt x="742" y="214"/>
                  <a:pt x="731" y="220"/>
                </a:cubicBezTo>
                <a:cubicBezTo>
                  <a:pt x="719" y="227"/>
                  <a:pt x="707" y="230"/>
                  <a:pt x="694" y="230"/>
                </a:cubicBezTo>
                <a:cubicBezTo>
                  <a:pt x="672" y="230"/>
                  <a:pt x="655" y="223"/>
                  <a:pt x="642" y="208"/>
                </a:cubicBezTo>
                <a:cubicBezTo>
                  <a:pt x="628" y="194"/>
                  <a:pt x="622" y="172"/>
                  <a:pt x="622" y="145"/>
                </a:cubicBezTo>
                <a:close/>
                <a:moveTo>
                  <a:pt x="648" y="145"/>
                </a:moveTo>
                <a:cubicBezTo>
                  <a:pt x="648" y="166"/>
                  <a:pt x="653" y="181"/>
                  <a:pt x="661" y="192"/>
                </a:cubicBezTo>
                <a:cubicBezTo>
                  <a:pt x="670" y="202"/>
                  <a:pt x="681" y="208"/>
                  <a:pt x="694" y="208"/>
                </a:cubicBezTo>
                <a:cubicBezTo>
                  <a:pt x="707" y="208"/>
                  <a:pt x="717" y="202"/>
                  <a:pt x="726" y="192"/>
                </a:cubicBezTo>
                <a:cubicBezTo>
                  <a:pt x="735" y="181"/>
                  <a:pt x="739" y="165"/>
                  <a:pt x="739" y="144"/>
                </a:cubicBezTo>
                <a:cubicBezTo>
                  <a:pt x="739" y="123"/>
                  <a:pt x="735" y="108"/>
                  <a:pt x="726" y="98"/>
                </a:cubicBezTo>
                <a:cubicBezTo>
                  <a:pt x="717" y="87"/>
                  <a:pt x="707" y="82"/>
                  <a:pt x="694" y="82"/>
                </a:cubicBezTo>
                <a:cubicBezTo>
                  <a:pt x="681" y="82"/>
                  <a:pt x="670" y="87"/>
                  <a:pt x="661" y="97"/>
                </a:cubicBezTo>
                <a:cubicBezTo>
                  <a:pt x="653" y="108"/>
                  <a:pt x="648" y="124"/>
                  <a:pt x="648" y="145"/>
                </a:cubicBezTo>
                <a:close/>
                <a:moveTo>
                  <a:pt x="782" y="227"/>
                </a:moveTo>
                <a:lnTo>
                  <a:pt x="782" y="62"/>
                </a:lnTo>
                <a:lnTo>
                  <a:pt x="806" y="62"/>
                </a:lnTo>
                <a:lnTo>
                  <a:pt x="806" y="86"/>
                </a:lnTo>
                <a:cubicBezTo>
                  <a:pt x="817" y="68"/>
                  <a:pt x="833" y="59"/>
                  <a:pt x="854" y="59"/>
                </a:cubicBezTo>
                <a:cubicBezTo>
                  <a:pt x="864" y="59"/>
                  <a:pt x="872" y="60"/>
                  <a:pt x="880" y="64"/>
                </a:cubicBezTo>
                <a:cubicBezTo>
                  <a:pt x="888" y="68"/>
                  <a:pt x="893" y="72"/>
                  <a:pt x="897" y="78"/>
                </a:cubicBezTo>
                <a:cubicBezTo>
                  <a:pt x="901" y="84"/>
                  <a:pt x="904" y="91"/>
                  <a:pt x="905" y="99"/>
                </a:cubicBezTo>
                <a:cubicBezTo>
                  <a:pt x="906" y="104"/>
                  <a:pt x="907" y="113"/>
                  <a:pt x="907" y="126"/>
                </a:cubicBezTo>
                <a:lnTo>
                  <a:pt x="907" y="227"/>
                </a:lnTo>
                <a:lnTo>
                  <a:pt x="881" y="227"/>
                </a:lnTo>
                <a:lnTo>
                  <a:pt x="881" y="127"/>
                </a:lnTo>
                <a:cubicBezTo>
                  <a:pt x="881" y="115"/>
                  <a:pt x="880" y="107"/>
                  <a:pt x="878" y="101"/>
                </a:cubicBezTo>
                <a:cubicBezTo>
                  <a:pt x="876" y="96"/>
                  <a:pt x="872" y="91"/>
                  <a:pt x="867" y="88"/>
                </a:cubicBezTo>
                <a:cubicBezTo>
                  <a:pt x="862" y="84"/>
                  <a:pt x="856" y="83"/>
                  <a:pt x="849" y="83"/>
                </a:cubicBezTo>
                <a:cubicBezTo>
                  <a:pt x="838" y="83"/>
                  <a:pt x="828" y="87"/>
                  <a:pt x="820" y="94"/>
                </a:cubicBezTo>
                <a:cubicBezTo>
                  <a:pt x="812" y="102"/>
                  <a:pt x="808" y="116"/>
                  <a:pt x="808" y="137"/>
                </a:cubicBezTo>
                <a:lnTo>
                  <a:pt x="808" y="227"/>
                </a:lnTo>
                <a:lnTo>
                  <a:pt x="782" y="227"/>
                </a:lnTo>
                <a:close/>
                <a:moveTo>
                  <a:pt x="1032" y="227"/>
                </a:moveTo>
                <a:lnTo>
                  <a:pt x="1032" y="206"/>
                </a:lnTo>
                <a:cubicBezTo>
                  <a:pt x="1022" y="222"/>
                  <a:pt x="1008" y="230"/>
                  <a:pt x="989" y="230"/>
                </a:cubicBezTo>
                <a:cubicBezTo>
                  <a:pt x="977" y="230"/>
                  <a:pt x="966" y="227"/>
                  <a:pt x="955" y="220"/>
                </a:cubicBezTo>
                <a:cubicBezTo>
                  <a:pt x="945" y="212"/>
                  <a:pt x="937" y="202"/>
                  <a:pt x="932" y="189"/>
                </a:cubicBezTo>
                <a:cubicBezTo>
                  <a:pt x="926" y="176"/>
                  <a:pt x="923" y="162"/>
                  <a:pt x="923" y="145"/>
                </a:cubicBezTo>
                <a:cubicBezTo>
                  <a:pt x="923" y="128"/>
                  <a:pt x="926" y="113"/>
                  <a:pt x="931" y="100"/>
                </a:cubicBezTo>
                <a:cubicBezTo>
                  <a:pt x="936" y="87"/>
                  <a:pt x="944" y="76"/>
                  <a:pt x="954" y="69"/>
                </a:cubicBezTo>
                <a:cubicBezTo>
                  <a:pt x="964" y="62"/>
                  <a:pt x="975" y="59"/>
                  <a:pt x="988" y="59"/>
                </a:cubicBezTo>
                <a:cubicBezTo>
                  <a:pt x="997" y="59"/>
                  <a:pt x="1005" y="61"/>
                  <a:pt x="1013" y="65"/>
                </a:cubicBezTo>
                <a:cubicBezTo>
                  <a:pt x="1020" y="69"/>
                  <a:pt x="1026" y="75"/>
                  <a:pt x="1030" y="81"/>
                </a:cubicBezTo>
                <a:lnTo>
                  <a:pt x="1030" y="0"/>
                </a:lnTo>
                <a:lnTo>
                  <a:pt x="1056" y="0"/>
                </a:lnTo>
                <a:lnTo>
                  <a:pt x="1056" y="227"/>
                </a:lnTo>
                <a:lnTo>
                  <a:pt x="1032" y="227"/>
                </a:lnTo>
                <a:close/>
                <a:moveTo>
                  <a:pt x="950" y="145"/>
                </a:moveTo>
                <a:cubicBezTo>
                  <a:pt x="950" y="166"/>
                  <a:pt x="954" y="182"/>
                  <a:pt x="962" y="192"/>
                </a:cubicBezTo>
                <a:cubicBezTo>
                  <a:pt x="971" y="202"/>
                  <a:pt x="980" y="208"/>
                  <a:pt x="992" y="208"/>
                </a:cubicBezTo>
                <a:cubicBezTo>
                  <a:pt x="1003" y="208"/>
                  <a:pt x="1013" y="203"/>
                  <a:pt x="1021" y="193"/>
                </a:cubicBezTo>
                <a:cubicBezTo>
                  <a:pt x="1029" y="183"/>
                  <a:pt x="1033" y="168"/>
                  <a:pt x="1033" y="147"/>
                </a:cubicBezTo>
                <a:cubicBezTo>
                  <a:pt x="1033" y="125"/>
                  <a:pt x="1029" y="108"/>
                  <a:pt x="1020" y="98"/>
                </a:cubicBezTo>
                <a:cubicBezTo>
                  <a:pt x="1012" y="87"/>
                  <a:pt x="1002" y="82"/>
                  <a:pt x="990" y="82"/>
                </a:cubicBezTo>
                <a:cubicBezTo>
                  <a:pt x="979" y="82"/>
                  <a:pt x="969" y="87"/>
                  <a:pt x="961" y="97"/>
                </a:cubicBezTo>
                <a:cubicBezTo>
                  <a:pt x="954" y="107"/>
                  <a:pt x="950" y="123"/>
                  <a:pt x="950" y="1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2" name="Freeform 92">
            <a:extLst>
              <a:ext uri="{FF2B5EF4-FFF2-40B4-BE49-F238E27FC236}">
                <a16:creationId xmlns:a16="http://schemas.microsoft.com/office/drawing/2014/main" id="{6001B09B-69FD-42A4-A3A0-3B9BABC327C6}"/>
              </a:ext>
            </a:extLst>
          </p:cNvPr>
          <p:cNvSpPr>
            <a:spLocks noEditPoints="1"/>
          </p:cNvSpPr>
          <p:nvPr/>
        </p:nvSpPr>
        <p:spPr bwMode="auto">
          <a:xfrm>
            <a:off x="395288" y="5065713"/>
            <a:ext cx="557213" cy="84138"/>
          </a:xfrm>
          <a:custGeom>
            <a:avLst/>
            <a:gdLst>
              <a:gd name="T0" fmla="*/ 99 w 1549"/>
              <a:gd name="T1" fmla="*/ 235 h 235"/>
              <a:gd name="T2" fmla="*/ 13 w 1549"/>
              <a:gd name="T3" fmla="*/ 54 h 235"/>
              <a:gd name="T4" fmla="*/ 184 w 1549"/>
              <a:gd name="T5" fmla="*/ 66 h 235"/>
              <a:gd name="T6" fmla="*/ 59 w 1549"/>
              <a:gd name="T7" fmla="*/ 38 h 235"/>
              <a:gd name="T8" fmla="*/ 61 w 1549"/>
              <a:gd name="T9" fmla="*/ 198 h 235"/>
              <a:gd name="T10" fmla="*/ 195 w 1549"/>
              <a:gd name="T11" fmla="*/ 149 h 235"/>
              <a:gd name="T12" fmla="*/ 339 w 1549"/>
              <a:gd name="T13" fmla="*/ 146 h 235"/>
              <a:gd name="T14" fmla="*/ 215 w 1549"/>
              <a:gd name="T15" fmla="*/ 212 h 235"/>
              <a:gd name="T16" fmla="*/ 267 w 1549"/>
              <a:gd name="T17" fmla="*/ 212 h 235"/>
              <a:gd name="T18" fmla="*/ 267 w 1549"/>
              <a:gd name="T19" fmla="*/ 86 h 235"/>
              <a:gd name="T20" fmla="*/ 355 w 1549"/>
              <a:gd name="T21" fmla="*/ 66 h 235"/>
              <a:gd name="T22" fmla="*/ 453 w 1549"/>
              <a:gd name="T23" fmla="*/ 68 h 235"/>
              <a:gd name="T24" fmla="*/ 480 w 1549"/>
              <a:gd name="T25" fmla="*/ 231 h 235"/>
              <a:gd name="T26" fmla="*/ 440 w 1549"/>
              <a:gd name="T27" fmla="*/ 92 h 235"/>
              <a:gd name="T28" fmla="*/ 381 w 1549"/>
              <a:gd name="T29" fmla="*/ 231 h 235"/>
              <a:gd name="T30" fmla="*/ 515 w 1549"/>
              <a:gd name="T31" fmla="*/ 66 h 235"/>
              <a:gd name="T32" fmla="*/ 602 w 1549"/>
              <a:gd name="T33" fmla="*/ 66 h 235"/>
              <a:gd name="T34" fmla="*/ 738 w 1549"/>
              <a:gd name="T35" fmla="*/ 178 h 235"/>
              <a:gd name="T36" fmla="*/ 644 w 1549"/>
              <a:gd name="T37" fmla="*/ 212 h 235"/>
              <a:gd name="T38" fmla="*/ 746 w 1549"/>
              <a:gd name="T39" fmla="*/ 85 h 235"/>
              <a:gd name="T40" fmla="*/ 665 w 1549"/>
              <a:gd name="T41" fmla="*/ 197 h 235"/>
              <a:gd name="T42" fmla="*/ 652 w 1549"/>
              <a:gd name="T43" fmla="*/ 133 h 235"/>
              <a:gd name="T44" fmla="*/ 666 w 1549"/>
              <a:gd name="T45" fmla="*/ 98 h 235"/>
              <a:gd name="T46" fmla="*/ 807 w 1549"/>
              <a:gd name="T47" fmla="*/ 66 h 235"/>
              <a:gd name="T48" fmla="*/ 867 w 1549"/>
              <a:gd name="T49" fmla="*/ 72 h 235"/>
              <a:gd name="T50" fmla="*/ 814 w 1549"/>
              <a:gd name="T51" fmla="*/ 112 h 235"/>
              <a:gd name="T52" fmla="*/ 858 w 1549"/>
              <a:gd name="T53" fmla="*/ 182 h 235"/>
              <a:gd name="T54" fmla="*/ 950 w 1549"/>
              <a:gd name="T55" fmla="*/ 204 h 235"/>
              <a:gd name="T56" fmla="*/ 885 w 1549"/>
              <a:gd name="T57" fmla="*/ 148 h 235"/>
              <a:gd name="T58" fmla="*/ 880 w 1549"/>
              <a:gd name="T59" fmla="*/ 74 h 235"/>
              <a:gd name="T60" fmla="*/ 971 w 1549"/>
              <a:gd name="T61" fmla="*/ 84 h 235"/>
              <a:gd name="T62" fmla="*/ 921 w 1549"/>
              <a:gd name="T63" fmla="*/ 86 h 235"/>
              <a:gd name="T64" fmla="*/ 901 w 1549"/>
              <a:gd name="T65" fmla="*/ 124 h 235"/>
              <a:gd name="T66" fmla="*/ 985 w 1549"/>
              <a:gd name="T67" fmla="*/ 183 h 235"/>
              <a:gd name="T68" fmla="*/ 878 w 1549"/>
              <a:gd name="T69" fmla="*/ 221 h 235"/>
              <a:gd name="T70" fmla="*/ 1046 w 1549"/>
              <a:gd name="T71" fmla="*/ 235 h 235"/>
              <a:gd name="T72" fmla="*/ 1012 w 1549"/>
              <a:gd name="T73" fmla="*/ 150 h 235"/>
              <a:gd name="T74" fmla="*/ 1101 w 1549"/>
              <a:gd name="T75" fmla="*/ 119 h 235"/>
              <a:gd name="T76" fmla="*/ 1023 w 1549"/>
              <a:gd name="T77" fmla="*/ 117 h 235"/>
              <a:gd name="T78" fmla="*/ 1067 w 1549"/>
              <a:gd name="T79" fmla="*/ 63 h 235"/>
              <a:gd name="T80" fmla="*/ 1127 w 1549"/>
              <a:gd name="T81" fmla="*/ 125 h 235"/>
              <a:gd name="T82" fmla="*/ 1108 w 1549"/>
              <a:gd name="T83" fmla="*/ 231 h 235"/>
              <a:gd name="T84" fmla="*/ 1035 w 1549"/>
              <a:gd name="T85" fmla="*/ 165 h 235"/>
              <a:gd name="T86" fmla="*/ 1052 w 1549"/>
              <a:gd name="T87" fmla="*/ 213 h 235"/>
              <a:gd name="T88" fmla="*/ 1101 w 1549"/>
              <a:gd name="T89" fmla="*/ 148 h 235"/>
              <a:gd name="T90" fmla="*/ 1172 w 1549"/>
              <a:gd name="T91" fmla="*/ 228 h 235"/>
              <a:gd name="T92" fmla="*/ 1138 w 1549"/>
              <a:gd name="T93" fmla="*/ 88 h 235"/>
              <a:gd name="T94" fmla="*/ 1184 w 1549"/>
              <a:gd name="T95" fmla="*/ 9 h 235"/>
              <a:gd name="T96" fmla="*/ 1184 w 1549"/>
              <a:gd name="T97" fmla="*/ 88 h 235"/>
              <a:gd name="T98" fmla="*/ 1198 w 1549"/>
              <a:gd name="T99" fmla="*/ 207 h 235"/>
              <a:gd name="T100" fmla="*/ 1248 w 1549"/>
              <a:gd name="T101" fmla="*/ 4 h 235"/>
              <a:gd name="T102" fmla="*/ 1222 w 1549"/>
              <a:gd name="T103" fmla="*/ 66 h 235"/>
              <a:gd name="T104" fmla="*/ 1264 w 1549"/>
              <a:gd name="T105" fmla="*/ 149 h 235"/>
              <a:gd name="T106" fmla="*/ 1408 w 1549"/>
              <a:gd name="T107" fmla="*/ 146 h 235"/>
              <a:gd name="T108" fmla="*/ 1284 w 1549"/>
              <a:gd name="T109" fmla="*/ 212 h 235"/>
              <a:gd name="T110" fmla="*/ 1336 w 1549"/>
              <a:gd name="T111" fmla="*/ 212 h 235"/>
              <a:gd name="T112" fmla="*/ 1336 w 1549"/>
              <a:gd name="T113" fmla="*/ 86 h 235"/>
              <a:gd name="T114" fmla="*/ 1424 w 1549"/>
              <a:gd name="T115" fmla="*/ 66 h 235"/>
              <a:gd name="T116" fmla="*/ 1522 w 1549"/>
              <a:gd name="T117" fmla="*/ 68 h 235"/>
              <a:gd name="T118" fmla="*/ 1549 w 1549"/>
              <a:gd name="T119" fmla="*/ 231 h 235"/>
              <a:gd name="T120" fmla="*/ 1509 w 1549"/>
              <a:gd name="T121" fmla="*/ 92 h 235"/>
              <a:gd name="T122" fmla="*/ 1450 w 1549"/>
              <a:gd name="T123" fmla="*/ 231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49" h="235">
                <a:moveTo>
                  <a:pt x="159" y="151"/>
                </a:moveTo>
                <a:lnTo>
                  <a:pt x="187" y="159"/>
                </a:lnTo>
                <a:cubicBezTo>
                  <a:pt x="181" y="184"/>
                  <a:pt x="171" y="202"/>
                  <a:pt x="155" y="215"/>
                </a:cubicBezTo>
                <a:cubicBezTo>
                  <a:pt x="140" y="228"/>
                  <a:pt x="122" y="235"/>
                  <a:pt x="99" y="235"/>
                </a:cubicBezTo>
                <a:cubicBezTo>
                  <a:pt x="77" y="235"/>
                  <a:pt x="58" y="230"/>
                  <a:pt x="44" y="220"/>
                </a:cubicBezTo>
                <a:cubicBezTo>
                  <a:pt x="30" y="210"/>
                  <a:pt x="19" y="195"/>
                  <a:pt x="11" y="177"/>
                </a:cubicBezTo>
                <a:cubicBezTo>
                  <a:pt x="4" y="158"/>
                  <a:pt x="0" y="137"/>
                  <a:pt x="0" y="116"/>
                </a:cubicBezTo>
                <a:cubicBezTo>
                  <a:pt x="0" y="92"/>
                  <a:pt x="4" y="71"/>
                  <a:pt x="13" y="54"/>
                </a:cubicBezTo>
                <a:cubicBezTo>
                  <a:pt x="21" y="36"/>
                  <a:pt x="33" y="23"/>
                  <a:pt x="49" y="14"/>
                </a:cubicBezTo>
                <a:cubicBezTo>
                  <a:pt x="64" y="4"/>
                  <a:pt x="81" y="0"/>
                  <a:pt x="100" y="0"/>
                </a:cubicBezTo>
                <a:cubicBezTo>
                  <a:pt x="121" y="0"/>
                  <a:pt x="139" y="6"/>
                  <a:pt x="153" y="17"/>
                </a:cubicBezTo>
                <a:cubicBezTo>
                  <a:pt x="168" y="29"/>
                  <a:pt x="178" y="45"/>
                  <a:pt x="184" y="66"/>
                </a:cubicBezTo>
                <a:lnTo>
                  <a:pt x="156" y="73"/>
                </a:lnTo>
                <a:cubicBezTo>
                  <a:pt x="151" y="57"/>
                  <a:pt x="144" y="44"/>
                  <a:pt x="135" y="37"/>
                </a:cubicBezTo>
                <a:cubicBezTo>
                  <a:pt x="125" y="29"/>
                  <a:pt x="114" y="26"/>
                  <a:pt x="99" y="26"/>
                </a:cubicBezTo>
                <a:cubicBezTo>
                  <a:pt x="83" y="26"/>
                  <a:pt x="70" y="30"/>
                  <a:pt x="59" y="38"/>
                </a:cubicBezTo>
                <a:cubicBezTo>
                  <a:pt x="48" y="47"/>
                  <a:pt x="40" y="58"/>
                  <a:pt x="36" y="72"/>
                </a:cubicBezTo>
                <a:cubicBezTo>
                  <a:pt x="31" y="86"/>
                  <a:pt x="29" y="101"/>
                  <a:pt x="29" y="116"/>
                </a:cubicBezTo>
                <a:cubicBezTo>
                  <a:pt x="29" y="135"/>
                  <a:pt x="32" y="152"/>
                  <a:pt x="37" y="166"/>
                </a:cubicBezTo>
                <a:cubicBezTo>
                  <a:pt x="42" y="181"/>
                  <a:pt x="50" y="191"/>
                  <a:pt x="61" y="198"/>
                </a:cubicBezTo>
                <a:cubicBezTo>
                  <a:pt x="72" y="206"/>
                  <a:pt x="84" y="209"/>
                  <a:pt x="97" y="209"/>
                </a:cubicBezTo>
                <a:cubicBezTo>
                  <a:pt x="113" y="209"/>
                  <a:pt x="126" y="204"/>
                  <a:pt x="137" y="195"/>
                </a:cubicBezTo>
                <a:cubicBezTo>
                  <a:pt x="148" y="185"/>
                  <a:pt x="155" y="170"/>
                  <a:pt x="159" y="151"/>
                </a:cubicBezTo>
                <a:close/>
                <a:moveTo>
                  <a:pt x="195" y="149"/>
                </a:moveTo>
                <a:cubicBezTo>
                  <a:pt x="195" y="118"/>
                  <a:pt x="203" y="96"/>
                  <a:pt x="219" y="81"/>
                </a:cubicBezTo>
                <a:cubicBezTo>
                  <a:pt x="232" y="69"/>
                  <a:pt x="248" y="63"/>
                  <a:pt x="267" y="63"/>
                </a:cubicBezTo>
                <a:cubicBezTo>
                  <a:pt x="288" y="63"/>
                  <a:pt x="305" y="70"/>
                  <a:pt x="319" y="85"/>
                </a:cubicBezTo>
                <a:cubicBezTo>
                  <a:pt x="332" y="100"/>
                  <a:pt x="339" y="120"/>
                  <a:pt x="339" y="146"/>
                </a:cubicBezTo>
                <a:cubicBezTo>
                  <a:pt x="339" y="167"/>
                  <a:pt x="336" y="184"/>
                  <a:pt x="330" y="196"/>
                </a:cubicBezTo>
                <a:cubicBezTo>
                  <a:pt x="324" y="208"/>
                  <a:pt x="315" y="218"/>
                  <a:pt x="304" y="224"/>
                </a:cubicBezTo>
                <a:cubicBezTo>
                  <a:pt x="293" y="231"/>
                  <a:pt x="280" y="235"/>
                  <a:pt x="267" y="235"/>
                </a:cubicBezTo>
                <a:cubicBezTo>
                  <a:pt x="245" y="235"/>
                  <a:pt x="228" y="227"/>
                  <a:pt x="215" y="212"/>
                </a:cubicBezTo>
                <a:cubicBezTo>
                  <a:pt x="202" y="198"/>
                  <a:pt x="195" y="176"/>
                  <a:pt x="195" y="149"/>
                </a:cubicBezTo>
                <a:close/>
                <a:moveTo>
                  <a:pt x="222" y="149"/>
                </a:moveTo>
                <a:cubicBezTo>
                  <a:pt x="222" y="170"/>
                  <a:pt x="226" y="186"/>
                  <a:pt x="234" y="196"/>
                </a:cubicBezTo>
                <a:cubicBezTo>
                  <a:pt x="243" y="206"/>
                  <a:pt x="254" y="212"/>
                  <a:pt x="267" y="212"/>
                </a:cubicBezTo>
                <a:cubicBezTo>
                  <a:pt x="280" y="212"/>
                  <a:pt x="291" y="206"/>
                  <a:pt x="299" y="196"/>
                </a:cubicBezTo>
                <a:cubicBezTo>
                  <a:pt x="308" y="185"/>
                  <a:pt x="312" y="169"/>
                  <a:pt x="312" y="148"/>
                </a:cubicBezTo>
                <a:cubicBezTo>
                  <a:pt x="312" y="127"/>
                  <a:pt x="308" y="112"/>
                  <a:pt x="299" y="102"/>
                </a:cubicBezTo>
                <a:cubicBezTo>
                  <a:pt x="290" y="91"/>
                  <a:pt x="280" y="86"/>
                  <a:pt x="267" y="86"/>
                </a:cubicBezTo>
                <a:cubicBezTo>
                  <a:pt x="254" y="86"/>
                  <a:pt x="243" y="91"/>
                  <a:pt x="234" y="102"/>
                </a:cubicBezTo>
                <a:cubicBezTo>
                  <a:pt x="226" y="112"/>
                  <a:pt x="222" y="128"/>
                  <a:pt x="222" y="149"/>
                </a:cubicBezTo>
                <a:close/>
                <a:moveTo>
                  <a:pt x="355" y="231"/>
                </a:moveTo>
                <a:lnTo>
                  <a:pt x="355" y="66"/>
                </a:lnTo>
                <a:lnTo>
                  <a:pt x="379" y="66"/>
                </a:lnTo>
                <a:lnTo>
                  <a:pt x="379" y="90"/>
                </a:lnTo>
                <a:cubicBezTo>
                  <a:pt x="390" y="72"/>
                  <a:pt x="406" y="63"/>
                  <a:pt x="428" y="63"/>
                </a:cubicBezTo>
                <a:cubicBezTo>
                  <a:pt x="437" y="63"/>
                  <a:pt x="445" y="65"/>
                  <a:pt x="453" y="68"/>
                </a:cubicBezTo>
                <a:cubicBezTo>
                  <a:pt x="461" y="72"/>
                  <a:pt x="467" y="76"/>
                  <a:pt x="470" y="82"/>
                </a:cubicBezTo>
                <a:cubicBezTo>
                  <a:pt x="474" y="88"/>
                  <a:pt x="477" y="95"/>
                  <a:pt x="479" y="103"/>
                </a:cubicBezTo>
                <a:cubicBezTo>
                  <a:pt x="479" y="108"/>
                  <a:pt x="480" y="117"/>
                  <a:pt x="480" y="130"/>
                </a:cubicBezTo>
                <a:lnTo>
                  <a:pt x="480" y="231"/>
                </a:lnTo>
                <a:lnTo>
                  <a:pt x="454" y="231"/>
                </a:lnTo>
                <a:lnTo>
                  <a:pt x="454" y="131"/>
                </a:lnTo>
                <a:cubicBezTo>
                  <a:pt x="454" y="120"/>
                  <a:pt x="453" y="111"/>
                  <a:pt x="451" y="105"/>
                </a:cubicBezTo>
                <a:cubicBezTo>
                  <a:pt x="449" y="100"/>
                  <a:pt x="445" y="95"/>
                  <a:pt x="440" y="92"/>
                </a:cubicBezTo>
                <a:cubicBezTo>
                  <a:pt x="435" y="89"/>
                  <a:pt x="429" y="87"/>
                  <a:pt x="422" y="87"/>
                </a:cubicBezTo>
                <a:cubicBezTo>
                  <a:pt x="411" y="87"/>
                  <a:pt x="402" y="91"/>
                  <a:pt x="393" y="98"/>
                </a:cubicBezTo>
                <a:cubicBezTo>
                  <a:pt x="385" y="106"/>
                  <a:pt x="381" y="120"/>
                  <a:pt x="381" y="141"/>
                </a:cubicBezTo>
                <a:lnTo>
                  <a:pt x="381" y="231"/>
                </a:lnTo>
                <a:lnTo>
                  <a:pt x="355" y="231"/>
                </a:lnTo>
                <a:close/>
                <a:moveTo>
                  <a:pt x="545" y="231"/>
                </a:moveTo>
                <a:lnTo>
                  <a:pt x="487" y="66"/>
                </a:lnTo>
                <a:lnTo>
                  <a:pt x="515" y="66"/>
                </a:lnTo>
                <a:lnTo>
                  <a:pt x="548" y="165"/>
                </a:lnTo>
                <a:cubicBezTo>
                  <a:pt x="551" y="176"/>
                  <a:pt x="555" y="187"/>
                  <a:pt x="558" y="198"/>
                </a:cubicBezTo>
                <a:cubicBezTo>
                  <a:pt x="560" y="189"/>
                  <a:pt x="563" y="179"/>
                  <a:pt x="567" y="167"/>
                </a:cubicBezTo>
                <a:lnTo>
                  <a:pt x="602" y="66"/>
                </a:lnTo>
                <a:lnTo>
                  <a:pt x="628" y="66"/>
                </a:lnTo>
                <a:lnTo>
                  <a:pt x="570" y="231"/>
                </a:lnTo>
                <a:lnTo>
                  <a:pt x="545" y="231"/>
                </a:lnTo>
                <a:close/>
                <a:moveTo>
                  <a:pt x="738" y="178"/>
                </a:moveTo>
                <a:lnTo>
                  <a:pt x="764" y="182"/>
                </a:lnTo>
                <a:cubicBezTo>
                  <a:pt x="760" y="198"/>
                  <a:pt x="752" y="211"/>
                  <a:pt x="741" y="221"/>
                </a:cubicBezTo>
                <a:cubicBezTo>
                  <a:pt x="730" y="230"/>
                  <a:pt x="715" y="235"/>
                  <a:pt x="697" y="235"/>
                </a:cubicBezTo>
                <a:cubicBezTo>
                  <a:pt x="675" y="235"/>
                  <a:pt x="657" y="227"/>
                  <a:pt x="644" y="212"/>
                </a:cubicBezTo>
                <a:cubicBezTo>
                  <a:pt x="631" y="198"/>
                  <a:pt x="624" y="177"/>
                  <a:pt x="624" y="150"/>
                </a:cubicBezTo>
                <a:cubicBezTo>
                  <a:pt x="624" y="122"/>
                  <a:pt x="631" y="101"/>
                  <a:pt x="644" y="86"/>
                </a:cubicBezTo>
                <a:cubicBezTo>
                  <a:pt x="657" y="70"/>
                  <a:pt x="675" y="63"/>
                  <a:pt x="696" y="63"/>
                </a:cubicBezTo>
                <a:cubicBezTo>
                  <a:pt x="716" y="63"/>
                  <a:pt x="733" y="70"/>
                  <a:pt x="746" y="85"/>
                </a:cubicBezTo>
                <a:cubicBezTo>
                  <a:pt x="759" y="100"/>
                  <a:pt x="765" y="121"/>
                  <a:pt x="765" y="148"/>
                </a:cubicBezTo>
                <a:cubicBezTo>
                  <a:pt x="765" y="150"/>
                  <a:pt x="765" y="153"/>
                  <a:pt x="765" y="156"/>
                </a:cubicBezTo>
                <a:lnTo>
                  <a:pt x="651" y="156"/>
                </a:lnTo>
                <a:cubicBezTo>
                  <a:pt x="652" y="174"/>
                  <a:pt x="657" y="188"/>
                  <a:pt x="665" y="197"/>
                </a:cubicBezTo>
                <a:cubicBezTo>
                  <a:pt x="674" y="207"/>
                  <a:pt x="684" y="212"/>
                  <a:pt x="697" y="212"/>
                </a:cubicBezTo>
                <a:cubicBezTo>
                  <a:pt x="707" y="212"/>
                  <a:pt x="715" y="209"/>
                  <a:pt x="722" y="204"/>
                </a:cubicBezTo>
                <a:cubicBezTo>
                  <a:pt x="728" y="198"/>
                  <a:pt x="734" y="190"/>
                  <a:pt x="738" y="178"/>
                </a:cubicBezTo>
                <a:close/>
                <a:moveTo>
                  <a:pt x="652" y="133"/>
                </a:moveTo>
                <a:lnTo>
                  <a:pt x="738" y="133"/>
                </a:lnTo>
                <a:cubicBezTo>
                  <a:pt x="737" y="119"/>
                  <a:pt x="733" y="109"/>
                  <a:pt x="728" y="102"/>
                </a:cubicBezTo>
                <a:cubicBezTo>
                  <a:pt x="720" y="91"/>
                  <a:pt x="709" y="86"/>
                  <a:pt x="696" y="86"/>
                </a:cubicBezTo>
                <a:cubicBezTo>
                  <a:pt x="684" y="86"/>
                  <a:pt x="674" y="90"/>
                  <a:pt x="666" y="98"/>
                </a:cubicBezTo>
                <a:cubicBezTo>
                  <a:pt x="658" y="107"/>
                  <a:pt x="653" y="119"/>
                  <a:pt x="652" y="133"/>
                </a:cubicBezTo>
                <a:close/>
                <a:moveTo>
                  <a:pt x="783" y="231"/>
                </a:moveTo>
                <a:lnTo>
                  <a:pt x="783" y="66"/>
                </a:lnTo>
                <a:lnTo>
                  <a:pt x="807" y="66"/>
                </a:lnTo>
                <a:lnTo>
                  <a:pt x="807" y="92"/>
                </a:lnTo>
                <a:cubicBezTo>
                  <a:pt x="813" y="80"/>
                  <a:pt x="818" y="72"/>
                  <a:pt x="823" y="68"/>
                </a:cubicBezTo>
                <a:cubicBezTo>
                  <a:pt x="828" y="65"/>
                  <a:pt x="834" y="63"/>
                  <a:pt x="840" y="63"/>
                </a:cubicBezTo>
                <a:cubicBezTo>
                  <a:pt x="849" y="63"/>
                  <a:pt x="858" y="66"/>
                  <a:pt x="867" y="72"/>
                </a:cubicBezTo>
                <a:lnTo>
                  <a:pt x="857" y="97"/>
                </a:lnTo>
                <a:cubicBezTo>
                  <a:pt x="851" y="94"/>
                  <a:pt x="845" y="92"/>
                  <a:pt x="839" y="92"/>
                </a:cubicBezTo>
                <a:cubicBezTo>
                  <a:pt x="833" y="92"/>
                  <a:pt x="828" y="94"/>
                  <a:pt x="823" y="97"/>
                </a:cubicBezTo>
                <a:cubicBezTo>
                  <a:pt x="819" y="101"/>
                  <a:pt x="816" y="106"/>
                  <a:pt x="814" y="112"/>
                </a:cubicBezTo>
                <a:cubicBezTo>
                  <a:pt x="811" y="122"/>
                  <a:pt x="809" y="133"/>
                  <a:pt x="809" y="145"/>
                </a:cubicBezTo>
                <a:lnTo>
                  <a:pt x="809" y="231"/>
                </a:lnTo>
                <a:lnTo>
                  <a:pt x="783" y="231"/>
                </a:lnTo>
                <a:close/>
                <a:moveTo>
                  <a:pt x="858" y="182"/>
                </a:moveTo>
                <a:lnTo>
                  <a:pt x="884" y="177"/>
                </a:lnTo>
                <a:cubicBezTo>
                  <a:pt x="885" y="188"/>
                  <a:pt x="889" y="197"/>
                  <a:pt x="896" y="203"/>
                </a:cubicBezTo>
                <a:cubicBezTo>
                  <a:pt x="902" y="209"/>
                  <a:pt x="912" y="212"/>
                  <a:pt x="923" y="212"/>
                </a:cubicBezTo>
                <a:cubicBezTo>
                  <a:pt x="935" y="212"/>
                  <a:pt x="944" y="209"/>
                  <a:pt x="950" y="204"/>
                </a:cubicBezTo>
                <a:cubicBezTo>
                  <a:pt x="956" y="199"/>
                  <a:pt x="959" y="193"/>
                  <a:pt x="959" y="185"/>
                </a:cubicBezTo>
                <a:cubicBezTo>
                  <a:pt x="959" y="179"/>
                  <a:pt x="956" y="174"/>
                  <a:pt x="951" y="171"/>
                </a:cubicBezTo>
                <a:cubicBezTo>
                  <a:pt x="947" y="168"/>
                  <a:pt x="939" y="165"/>
                  <a:pt x="924" y="161"/>
                </a:cubicBezTo>
                <a:cubicBezTo>
                  <a:pt x="905" y="156"/>
                  <a:pt x="892" y="152"/>
                  <a:pt x="885" y="148"/>
                </a:cubicBezTo>
                <a:cubicBezTo>
                  <a:pt x="877" y="144"/>
                  <a:pt x="872" y="139"/>
                  <a:pt x="868" y="132"/>
                </a:cubicBezTo>
                <a:cubicBezTo>
                  <a:pt x="864" y="126"/>
                  <a:pt x="862" y="118"/>
                  <a:pt x="862" y="110"/>
                </a:cubicBezTo>
                <a:cubicBezTo>
                  <a:pt x="862" y="103"/>
                  <a:pt x="864" y="96"/>
                  <a:pt x="867" y="90"/>
                </a:cubicBezTo>
                <a:cubicBezTo>
                  <a:pt x="870" y="84"/>
                  <a:pt x="874" y="78"/>
                  <a:pt x="880" y="74"/>
                </a:cubicBezTo>
                <a:cubicBezTo>
                  <a:pt x="884" y="71"/>
                  <a:pt x="889" y="68"/>
                  <a:pt x="896" y="66"/>
                </a:cubicBezTo>
                <a:cubicBezTo>
                  <a:pt x="903" y="64"/>
                  <a:pt x="911" y="63"/>
                  <a:pt x="919" y="63"/>
                </a:cubicBezTo>
                <a:cubicBezTo>
                  <a:pt x="931" y="63"/>
                  <a:pt x="941" y="65"/>
                  <a:pt x="950" y="68"/>
                </a:cubicBezTo>
                <a:cubicBezTo>
                  <a:pt x="960" y="72"/>
                  <a:pt x="966" y="77"/>
                  <a:pt x="971" y="84"/>
                </a:cubicBezTo>
                <a:cubicBezTo>
                  <a:pt x="975" y="90"/>
                  <a:pt x="978" y="98"/>
                  <a:pt x="980" y="109"/>
                </a:cubicBezTo>
                <a:lnTo>
                  <a:pt x="954" y="113"/>
                </a:lnTo>
                <a:cubicBezTo>
                  <a:pt x="953" y="104"/>
                  <a:pt x="950" y="98"/>
                  <a:pt x="944" y="93"/>
                </a:cubicBezTo>
                <a:cubicBezTo>
                  <a:pt x="939" y="88"/>
                  <a:pt x="931" y="86"/>
                  <a:pt x="921" y="86"/>
                </a:cubicBezTo>
                <a:cubicBezTo>
                  <a:pt x="909" y="86"/>
                  <a:pt x="900" y="88"/>
                  <a:pt x="895" y="92"/>
                </a:cubicBezTo>
                <a:cubicBezTo>
                  <a:pt x="890" y="96"/>
                  <a:pt x="888" y="101"/>
                  <a:pt x="888" y="107"/>
                </a:cubicBezTo>
                <a:cubicBezTo>
                  <a:pt x="888" y="110"/>
                  <a:pt x="889" y="114"/>
                  <a:pt x="891" y="117"/>
                </a:cubicBezTo>
                <a:cubicBezTo>
                  <a:pt x="893" y="120"/>
                  <a:pt x="896" y="122"/>
                  <a:pt x="901" y="124"/>
                </a:cubicBezTo>
                <a:cubicBezTo>
                  <a:pt x="903" y="125"/>
                  <a:pt x="911" y="127"/>
                  <a:pt x="924" y="131"/>
                </a:cubicBezTo>
                <a:cubicBezTo>
                  <a:pt x="942" y="136"/>
                  <a:pt x="955" y="141"/>
                  <a:pt x="962" y="144"/>
                </a:cubicBezTo>
                <a:cubicBezTo>
                  <a:pt x="969" y="147"/>
                  <a:pt x="975" y="152"/>
                  <a:pt x="979" y="159"/>
                </a:cubicBezTo>
                <a:cubicBezTo>
                  <a:pt x="983" y="165"/>
                  <a:pt x="985" y="173"/>
                  <a:pt x="985" y="183"/>
                </a:cubicBezTo>
                <a:cubicBezTo>
                  <a:pt x="985" y="192"/>
                  <a:pt x="983" y="201"/>
                  <a:pt x="978" y="209"/>
                </a:cubicBezTo>
                <a:cubicBezTo>
                  <a:pt x="973" y="217"/>
                  <a:pt x="965" y="223"/>
                  <a:pt x="956" y="228"/>
                </a:cubicBezTo>
                <a:cubicBezTo>
                  <a:pt x="946" y="232"/>
                  <a:pt x="936" y="235"/>
                  <a:pt x="924" y="235"/>
                </a:cubicBezTo>
                <a:cubicBezTo>
                  <a:pt x="904" y="235"/>
                  <a:pt x="888" y="230"/>
                  <a:pt x="878" y="221"/>
                </a:cubicBezTo>
                <a:cubicBezTo>
                  <a:pt x="868" y="212"/>
                  <a:pt x="861" y="199"/>
                  <a:pt x="858" y="182"/>
                </a:cubicBezTo>
                <a:close/>
                <a:moveTo>
                  <a:pt x="1103" y="210"/>
                </a:moveTo>
                <a:cubicBezTo>
                  <a:pt x="1093" y="219"/>
                  <a:pt x="1084" y="225"/>
                  <a:pt x="1075" y="229"/>
                </a:cubicBezTo>
                <a:cubicBezTo>
                  <a:pt x="1066" y="233"/>
                  <a:pt x="1056" y="235"/>
                  <a:pt x="1046" y="235"/>
                </a:cubicBezTo>
                <a:cubicBezTo>
                  <a:pt x="1029" y="235"/>
                  <a:pt x="1016" y="230"/>
                  <a:pt x="1007" y="221"/>
                </a:cubicBezTo>
                <a:cubicBezTo>
                  <a:pt x="998" y="213"/>
                  <a:pt x="994" y="201"/>
                  <a:pt x="994" y="188"/>
                </a:cubicBezTo>
                <a:cubicBezTo>
                  <a:pt x="994" y="180"/>
                  <a:pt x="995" y="172"/>
                  <a:pt x="999" y="165"/>
                </a:cubicBezTo>
                <a:cubicBezTo>
                  <a:pt x="1002" y="159"/>
                  <a:pt x="1007" y="154"/>
                  <a:pt x="1012" y="150"/>
                </a:cubicBezTo>
                <a:cubicBezTo>
                  <a:pt x="1018" y="145"/>
                  <a:pt x="1024" y="142"/>
                  <a:pt x="1031" y="140"/>
                </a:cubicBezTo>
                <a:cubicBezTo>
                  <a:pt x="1036" y="139"/>
                  <a:pt x="1044" y="138"/>
                  <a:pt x="1054" y="136"/>
                </a:cubicBezTo>
                <a:cubicBezTo>
                  <a:pt x="1075" y="134"/>
                  <a:pt x="1091" y="130"/>
                  <a:pt x="1100" y="127"/>
                </a:cubicBezTo>
                <a:cubicBezTo>
                  <a:pt x="1101" y="123"/>
                  <a:pt x="1101" y="120"/>
                  <a:pt x="1101" y="119"/>
                </a:cubicBezTo>
                <a:cubicBezTo>
                  <a:pt x="1101" y="108"/>
                  <a:pt x="1098" y="100"/>
                  <a:pt x="1093" y="95"/>
                </a:cubicBezTo>
                <a:cubicBezTo>
                  <a:pt x="1087" y="89"/>
                  <a:pt x="1077" y="86"/>
                  <a:pt x="1064" y="86"/>
                </a:cubicBezTo>
                <a:cubicBezTo>
                  <a:pt x="1051" y="86"/>
                  <a:pt x="1042" y="88"/>
                  <a:pt x="1036" y="93"/>
                </a:cubicBezTo>
                <a:cubicBezTo>
                  <a:pt x="1031" y="97"/>
                  <a:pt x="1026" y="106"/>
                  <a:pt x="1023" y="117"/>
                </a:cubicBezTo>
                <a:lnTo>
                  <a:pt x="998" y="114"/>
                </a:lnTo>
                <a:cubicBezTo>
                  <a:pt x="1000" y="102"/>
                  <a:pt x="1004" y="92"/>
                  <a:pt x="1009" y="85"/>
                </a:cubicBezTo>
                <a:cubicBezTo>
                  <a:pt x="1015" y="78"/>
                  <a:pt x="1022" y="73"/>
                  <a:pt x="1033" y="69"/>
                </a:cubicBezTo>
                <a:cubicBezTo>
                  <a:pt x="1043" y="65"/>
                  <a:pt x="1054" y="63"/>
                  <a:pt x="1067" y="63"/>
                </a:cubicBezTo>
                <a:cubicBezTo>
                  <a:pt x="1081" y="63"/>
                  <a:pt x="1091" y="64"/>
                  <a:pt x="1099" y="68"/>
                </a:cubicBezTo>
                <a:cubicBezTo>
                  <a:pt x="1108" y="71"/>
                  <a:pt x="1114" y="75"/>
                  <a:pt x="1118" y="80"/>
                </a:cubicBezTo>
                <a:cubicBezTo>
                  <a:pt x="1121" y="85"/>
                  <a:pt x="1124" y="92"/>
                  <a:pt x="1126" y="99"/>
                </a:cubicBezTo>
                <a:cubicBezTo>
                  <a:pt x="1127" y="104"/>
                  <a:pt x="1127" y="113"/>
                  <a:pt x="1127" y="125"/>
                </a:cubicBezTo>
                <a:lnTo>
                  <a:pt x="1127" y="162"/>
                </a:lnTo>
                <a:cubicBezTo>
                  <a:pt x="1127" y="188"/>
                  <a:pt x="1128" y="204"/>
                  <a:pt x="1129" y="211"/>
                </a:cubicBezTo>
                <a:cubicBezTo>
                  <a:pt x="1130" y="218"/>
                  <a:pt x="1132" y="225"/>
                  <a:pt x="1135" y="231"/>
                </a:cubicBezTo>
                <a:lnTo>
                  <a:pt x="1108" y="231"/>
                </a:lnTo>
                <a:cubicBezTo>
                  <a:pt x="1105" y="225"/>
                  <a:pt x="1103" y="218"/>
                  <a:pt x="1103" y="210"/>
                </a:cubicBezTo>
                <a:close/>
                <a:moveTo>
                  <a:pt x="1101" y="148"/>
                </a:moveTo>
                <a:cubicBezTo>
                  <a:pt x="1091" y="153"/>
                  <a:pt x="1077" y="156"/>
                  <a:pt x="1058" y="159"/>
                </a:cubicBezTo>
                <a:cubicBezTo>
                  <a:pt x="1047" y="161"/>
                  <a:pt x="1040" y="162"/>
                  <a:pt x="1035" y="165"/>
                </a:cubicBezTo>
                <a:cubicBezTo>
                  <a:pt x="1031" y="167"/>
                  <a:pt x="1027" y="170"/>
                  <a:pt x="1025" y="174"/>
                </a:cubicBezTo>
                <a:cubicBezTo>
                  <a:pt x="1023" y="177"/>
                  <a:pt x="1021" y="182"/>
                  <a:pt x="1021" y="187"/>
                </a:cubicBezTo>
                <a:cubicBezTo>
                  <a:pt x="1021" y="194"/>
                  <a:pt x="1024" y="200"/>
                  <a:pt x="1029" y="205"/>
                </a:cubicBezTo>
                <a:cubicBezTo>
                  <a:pt x="1035" y="210"/>
                  <a:pt x="1042" y="213"/>
                  <a:pt x="1052" y="213"/>
                </a:cubicBezTo>
                <a:cubicBezTo>
                  <a:pt x="1062" y="213"/>
                  <a:pt x="1071" y="210"/>
                  <a:pt x="1079" y="206"/>
                </a:cubicBezTo>
                <a:cubicBezTo>
                  <a:pt x="1087" y="201"/>
                  <a:pt x="1093" y="195"/>
                  <a:pt x="1096" y="186"/>
                </a:cubicBezTo>
                <a:cubicBezTo>
                  <a:pt x="1099" y="180"/>
                  <a:pt x="1100" y="171"/>
                  <a:pt x="1100" y="159"/>
                </a:cubicBezTo>
                <a:lnTo>
                  <a:pt x="1101" y="148"/>
                </a:lnTo>
                <a:close/>
                <a:moveTo>
                  <a:pt x="1210" y="206"/>
                </a:moveTo>
                <a:lnTo>
                  <a:pt x="1213" y="231"/>
                </a:lnTo>
                <a:cubicBezTo>
                  <a:pt x="1206" y="232"/>
                  <a:pt x="1199" y="233"/>
                  <a:pt x="1194" y="233"/>
                </a:cubicBezTo>
                <a:cubicBezTo>
                  <a:pt x="1184" y="233"/>
                  <a:pt x="1177" y="232"/>
                  <a:pt x="1172" y="228"/>
                </a:cubicBezTo>
                <a:cubicBezTo>
                  <a:pt x="1167" y="225"/>
                  <a:pt x="1163" y="221"/>
                  <a:pt x="1161" y="216"/>
                </a:cubicBezTo>
                <a:cubicBezTo>
                  <a:pt x="1159" y="211"/>
                  <a:pt x="1158" y="200"/>
                  <a:pt x="1158" y="183"/>
                </a:cubicBezTo>
                <a:lnTo>
                  <a:pt x="1158" y="88"/>
                </a:lnTo>
                <a:lnTo>
                  <a:pt x="1138" y="88"/>
                </a:lnTo>
                <a:lnTo>
                  <a:pt x="1138" y="66"/>
                </a:lnTo>
                <a:lnTo>
                  <a:pt x="1158" y="66"/>
                </a:lnTo>
                <a:lnTo>
                  <a:pt x="1158" y="26"/>
                </a:lnTo>
                <a:lnTo>
                  <a:pt x="1184" y="9"/>
                </a:lnTo>
                <a:lnTo>
                  <a:pt x="1184" y="66"/>
                </a:lnTo>
                <a:lnTo>
                  <a:pt x="1210" y="66"/>
                </a:lnTo>
                <a:lnTo>
                  <a:pt x="1210" y="88"/>
                </a:lnTo>
                <a:lnTo>
                  <a:pt x="1184" y="88"/>
                </a:lnTo>
                <a:lnTo>
                  <a:pt x="1184" y="184"/>
                </a:lnTo>
                <a:cubicBezTo>
                  <a:pt x="1184" y="192"/>
                  <a:pt x="1184" y="197"/>
                  <a:pt x="1185" y="200"/>
                </a:cubicBezTo>
                <a:cubicBezTo>
                  <a:pt x="1186" y="202"/>
                  <a:pt x="1187" y="204"/>
                  <a:pt x="1189" y="205"/>
                </a:cubicBezTo>
                <a:cubicBezTo>
                  <a:pt x="1192" y="207"/>
                  <a:pt x="1194" y="207"/>
                  <a:pt x="1198" y="207"/>
                </a:cubicBezTo>
                <a:cubicBezTo>
                  <a:pt x="1201" y="207"/>
                  <a:pt x="1205" y="207"/>
                  <a:pt x="1210" y="206"/>
                </a:cubicBezTo>
                <a:close/>
                <a:moveTo>
                  <a:pt x="1222" y="35"/>
                </a:moveTo>
                <a:lnTo>
                  <a:pt x="1222" y="4"/>
                </a:lnTo>
                <a:lnTo>
                  <a:pt x="1248" y="4"/>
                </a:lnTo>
                <a:lnTo>
                  <a:pt x="1248" y="35"/>
                </a:lnTo>
                <a:lnTo>
                  <a:pt x="1222" y="35"/>
                </a:lnTo>
                <a:close/>
                <a:moveTo>
                  <a:pt x="1222" y="231"/>
                </a:moveTo>
                <a:lnTo>
                  <a:pt x="1222" y="66"/>
                </a:lnTo>
                <a:lnTo>
                  <a:pt x="1248" y="66"/>
                </a:lnTo>
                <a:lnTo>
                  <a:pt x="1248" y="231"/>
                </a:lnTo>
                <a:lnTo>
                  <a:pt x="1222" y="231"/>
                </a:lnTo>
                <a:close/>
                <a:moveTo>
                  <a:pt x="1264" y="149"/>
                </a:moveTo>
                <a:cubicBezTo>
                  <a:pt x="1264" y="118"/>
                  <a:pt x="1272" y="96"/>
                  <a:pt x="1287" y="81"/>
                </a:cubicBezTo>
                <a:cubicBezTo>
                  <a:pt x="1301" y="69"/>
                  <a:pt x="1317" y="63"/>
                  <a:pt x="1336" y="63"/>
                </a:cubicBezTo>
                <a:cubicBezTo>
                  <a:pt x="1357" y="63"/>
                  <a:pt x="1374" y="70"/>
                  <a:pt x="1387" y="85"/>
                </a:cubicBezTo>
                <a:cubicBezTo>
                  <a:pt x="1401" y="100"/>
                  <a:pt x="1408" y="120"/>
                  <a:pt x="1408" y="146"/>
                </a:cubicBezTo>
                <a:cubicBezTo>
                  <a:pt x="1408" y="167"/>
                  <a:pt x="1405" y="184"/>
                  <a:pt x="1399" y="196"/>
                </a:cubicBezTo>
                <a:cubicBezTo>
                  <a:pt x="1393" y="208"/>
                  <a:pt x="1384" y="218"/>
                  <a:pt x="1373" y="224"/>
                </a:cubicBezTo>
                <a:cubicBezTo>
                  <a:pt x="1361" y="231"/>
                  <a:pt x="1349" y="235"/>
                  <a:pt x="1336" y="235"/>
                </a:cubicBezTo>
                <a:cubicBezTo>
                  <a:pt x="1314" y="235"/>
                  <a:pt x="1297" y="227"/>
                  <a:pt x="1284" y="212"/>
                </a:cubicBezTo>
                <a:cubicBezTo>
                  <a:pt x="1270" y="198"/>
                  <a:pt x="1264" y="176"/>
                  <a:pt x="1264" y="149"/>
                </a:cubicBezTo>
                <a:close/>
                <a:moveTo>
                  <a:pt x="1290" y="149"/>
                </a:moveTo>
                <a:cubicBezTo>
                  <a:pt x="1290" y="170"/>
                  <a:pt x="1295" y="186"/>
                  <a:pt x="1303" y="196"/>
                </a:cubicBezTo>
                <a:cubicBezTo>
                  <a:pt x="1312" y="206"/>
                  <a:pt x="1323" y="212"/>
                  <a:pt x="1336" y="212"/>
                </a:cubicBezTo>
                <a:cubicBezTo>
                  <a:pt x="1349" y="212"/>
                  <a:pt x="1359" y="206"/>
                  <a:pt x="1368" y="196"/>
                </a:cubicBezTo>
                <a:cubicBezTo>
                  <a:pt x="1377" y="185"/>
                  <a:pt x="1381" y="169"/>
                  <a:pt x="1381" y="148"/>
                </a:cubicBezTo>
                <a:cubicBezTo>
                  <a:pt x="1381" y="127"/>
                  <a:pt x="1377" y="112"/>
                  <a:pt x="1368" y="102"/>
                </a:cubicBezTo>
                <a:cubicBezTo>
                  <a:pt x="1359" y="91"/>
                  <a:pt x="1349" y="86"/>
                  <a:pt x="1336" y="86"/>
                </a:cubicBezTo>
                <a:cubicBezTo>
                  <a:pt x="1323" y="86"/>
                  <a:pt x="1312" y="91"/>
                  <a:pt x="1303" y="102"/>
                </a:cubicBezTo>
                <a:cubicBezTo>
                  <a:pt x="1295" y="112"/>
                  <a:pt x="1290" y="128"/>
                  <a:pt x="1290" y="149"/>
                </a:cubicBezTo>
                <a:close/>
                <a:moveTo>
                  <a:pt x="1424" y="231"/>
                </a:moveTo>
                <a:lnTo>
                  <a:pt x="1424" y="66"/>
                </a:lnTo>
                <a:lnTo>
                  <a:pt x="1448" y="66"/>
                </a:lnTo>
                <a:lnTo>
                  <a:pt x="1448" y="90"/>
                </a:lnTo>
                <a:cubicBezTo>
                  <a:pt x="1459" y="72"/>
                  <a:pt x="1475" y="63"/>
                  <a:pt x="1496" y="63"/>
                </a:cubicBezTo>
                <a:cubicBezTo>
                  <a:pt x="1506" y="63"/>
                  <a:pt x="1514" y="65"/>
                  <a:pt x="1522" y="68"/>
                </a:cubicBezTo>
                <a:cubicBezTo>
                  <a:pt x="1530" y="72"/>
                  <a:pt x="1535" y="76"/>
                  <a:pt x="1539" y="82"/>
                </a:cubicBezTo>
                <a:cubicBezTo>
                  <a:pt x="1543" y="88"/>
                  <a:pt x="1546" y="95"/>
                  <a:pt x="1547" y="103"/>
                </a:cubicBezTo>
                <a:cubicBezTo>
                  <a:pt x="1548" y="108"/>
                  <a:pt x="1549" y="117"/>
                  <a:pt x="1549" y="130"/>
                </a:cubicBezTo>
                <a:lnTo>
                  <a:pt x="1549" y="231"/>
                </a:lnTo>
                <a:lnTo>
                  <a:pt x="1523" y="231"/>
                </a:lnTo>
                <a:lnTo>
                  <a:pt x="1523" y="131"/>
                </a:lnTo>
                <a:cubicBezTo>
                  <a:pt x="1523" y="120"/>
                  <a:pt x="1522" y="111"/>
                  <a:pt x="1520" y="105"/>
                </a:cubicBezTo>
                <a:cubicBezTo>
                  <a:pt x="1518" y="100"/>
                  <a:pt x="1514" y="95"/>
                  <a:pt x="1509" y="92"/>
                </a:cubicBezTo>
                <a:cubicBezTo>
                  <a:pt x="1504" y="89"/>
                  <a:pt x="1498" y="87"/>
                  <a:pt x="1491" y="87"/>
                </a:cubicBezTo>
                <a:cubicBezTo>
                  <a:pt x="1480" y="87"/>
                  <a:pt x="1470" y="91"/>
                  <a:pt x="1462" y="98"/>
                </a:cubicBezTo>
                <a:cubicBezTo>
                  <a:pt x="1454" y="106"/>
                  <a:pt x="1450" y="120"/>
                  <a:pt x="1450" y="141"/>
                </a:cubicBezTo>
                <a:lnTo>
                  <a:pt x="1450" y="231"/>
                </a:lnTo>
                <a:lnTo>
                  <a:pt x="1424" y="2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3" name="Freeform 93">
            <a:extLst>
              <a:ext uri="{FF2B5EF4-FFF2-40B4-BE49-F238E27FC236}">
                <a16:creationId xmlns:a16="http://schemas.microsoft.com/office/drawing/2014/main" id="{774959B2-C928-4627-9BBF-E33D558242BC}"/>
              </a:ext>
            </a:extLst>
          </p:cNvPr>
          <p:cNvSpPr>
            <a:spLocks noEditPoints="1"/>
          </p:cNvSpPr>
          <p:nvPr/>
        </p:nvSpPr>
        <p:spPr bwMode="auto">
          <a:xfrm>
            <a:off x="4383088" y="4048126"/>
            <a:ext cx="234950" cy="107950"/>
          </a:xfrm>
          <a:custGeom>
            <a:avLst/>
            <a:gdLst>
              <a:gd name="T0" fmla="*/ 187 w 653"/>
              <a:gd name="T1" fmla="*/ 159 h 297"/>
              <a:gd name="T2" fmla="*/ 99 w 653"/>
              <a:gd name="T3" fmla="*/ 235 h 297"/>
              <a:gd name="T4" fmla="*/ 11 w 653"/>
              <a:gd name="T5" fmla="*/ 176 h 297"/>
              <a:gd name="T6" fmla="*/ 12 w 653"/>
              <a:gd name="T7" fmla="*/ 54 h 297"/>
              <a:gd name="T8" fmla="*/ 100 w 653"/>
              <a:gd name="T9" fmla="*/ 0 h 297"/>
              <a:gd name="T10" fmla="*/ 183 w 653"/>
              <a:gd name="T11" fmla="*/ 66 h 297"/>
              <a:gd name="T12" fmla="*/ 134 w 653"/>
              <a:gd name="T13" fmla="*/ 37 h 297"/>
              <a:gd name="T14" fmla="*/ 58 w 653"/>
              <a:gd name="T15" fmla="*/ 38 h 297"/>
              <a:gd name="T16" fmla="*/ 29 w 653"/>
              <a:gd name="T17" fmla="*/ 115 h 297"/>
              <a:gd name="T18" fmla="*/ 61 w 653"/>
              <a:gd name="T19" fmla="*/ 198 h 297"/>
              <a:gd name="T20" fmla="*/ 137 w 653"/>
              <a:gd name="T21" fmla="*/ 194 h 297"/>
              <a:gd name="T22" fmla="*/ 203 w 653"/>
              <a:gd name="T23" fmla="*/ 294 h 297"/>
              <a:gd name="T24" fmla="*/ 215 w 653"/>
              <a:gd name="T25" fmla="*/ 271 h 297"/>
              <a:gd name="T26" fmla="*/ 238 w 653"/>
              <a:gd name="T27" fmla="*/ 259 h 297"/>
              <a:gd name="T28" fmla="*/ 248 w 653"/>
              <a:gd name="T29" fmla="*/ 231 h 297"/>
              <a:gd name="T30" fmla="*/ 217 w 653"/>
              <a:gd name="T31" fmla="*/ 66 h 297"/>
              <a:gd name="T32" fmla="*/ 261 w 653"/>
              <a:gd name="T33" fmla="*/ 199 h 297"/>
              <a:gd name="T34" fmla="*/ 304 w 653"/>
              <a:gd name="T35" fmla="*/ 66 h 297"/>
              <a:gd name="T36" fmla="*/ 272 w 653"/>
              <a:gd name="T37" fmla="*/ 234 h 297"/>
              <a:gd name="T38" fmla="*/ 241 w 653"/>
              <a:gd name="T39" fmla="*/ 291 h 297"/>
              <a:gd name="T40" fmla="*/ 203 w 653"/>
              <a:gd name="T41" fmla="*/ 294 h 297"/>
              <a:gd name="T42" fmla="*/ 460 w 653"/>
              <a:gd name="T43" fmla="*/ 174 h 297"/>
              <a:gd name="T44" fmla="*/ 396 w 653"/>
              <a:gd name="T45" fmla="*/ 234 h 297"/>
              <a:gd name="T46" fmla="*/ 326 w 653"/>
              <a:gd name="T47" fmla="*/ 149 h 297"/>
              <a:gd name="T48" fmla="*/ 360 w 653"/>
              <a:gd name="T49" fmla="*/ 73 h 297"/>
              <a:gd name="T50" fmla="*/ 437 w 653"/>
              <a:gd name="T51" fmla="*/ 76 h 297"/>
              <a:gd name="T52" fmla="*/ 432 w 653"/>
              <a:gd name="T53" fmla="*/ 119 h 297"/>
              <a:gd name="T54" fmla="*/ 397 w 653"/>
              <a:gd name="T55" fmla="*/ 85 h 297"/>
              <a:gd name="T56" fmla="*/ 353 w 653"/>
              <a:gd name="T57" fmla="*/ 148 h 297"/>
              <a:gd name="T58" fmla="*/ 396 w 653"/>
              <a:gd name="T59" fmla="*/ 211 h 297"/>
              <a:gd name="T60" fmla="*/ 434 w 653"/>
              <a:gd name="T61" fmla="*/ 170 h 297"/>
              <a:gd name="T62" fmla="*/ 468 w 653"/>
              <a:gd name="T63" fmla="*/ 3 h 297"/>
              <a:gd name="T64" fmla="*/ 494 w 653"/>
              <a:gd name="T65" fmla="*/ 231 h 297"/>
              <a:gd name="T66" fmla="*/ 625 w 653"/>
              <a:gd name="T67" fmla="*/ 177 h 297"/>
              <a:gd name="T68" fmla="*/ 628 w 653"/>
              <a:gd name="T69" fmla="*/ 220 h 297"/>
              <a:gd name="T70" fmla="*/ 531 w 653"/>
              <a:gd name="T71" fmla="*/ 212 h 297"/>
              <a:gd name="T72" fmla="*/ 531 w 653"/>
              <a:gd name="T73" fmla="*/ 85 h 297"/>
              <a:gd name="T74" fmla="*/ 633 w 653"/>
              <a:gd name="T75" fmla="*/ 85 h 297"/>
              <a:gd name="T76" fmla="*/ 652 w 653"/>
              <a:gd name="T77" fmla="*/ 156 h 297"/>
              <a:gd name="T78" fmla="*/ 552 w 653"/>
              <a:gd name="T79" fmla="*/ 197 h 297"/>
              <a:gd name="T80" fmla="*/ 609 w 653"/>
              <a:gd name="T81" fmla="*/ 203 h 297"/>
              <a:gd name="T82" fmla="*/ 540 w 653"/>
              <a:gd name="T83" fmla="*/ 133 h 297"/>
              <a:gd name="T84" fmla="*/ 615 w 653"/>
              <a:gd name="T85" fmla="*/ 102 h 297"/>
              <a:gd name="T86" fmla="*/ 553 w 653"/>
              <a:gd name="T87" fmla="*/ 98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53" h="297">
                <a:moveTo>
                  <a:pt x="159" y="151"/>
                </a:moveTo>
                <a:lnTo>
                  <a:pt x="187" y="159"/>
                </a:lnTo>
                <a:cubicBezTo>
                  <a:pt x="181" y="183"/>
                  <a:pt x="170" y="202"/>
                  <a:pt x="155" y="215"/>
                </a:cubicBezTo>
                <a:cubicBezTo>
                  <a:pt x="140" y="228"/>
                  <a:pt x="121" y="235"/>
                  <a:pt x="99" y="235"/>
                </a:cubicBezTo>
                <a:cubicBezTo>
                  <a:pt x="76" y="235"/>
                  <a:pt x="58" y="230"/>
                  <a:pt x="44" y="220"/>
                </a:cubicBezTo>
                <a:cubicBezTo>
                  <a:pt x="29" y="210"/>
                  <a:pt x="18" y="195"/>
                  <a:pt x="11" y="176"/>
                </a:cubicBezTo>
                <a:cubicBezTo>
                  <a:pt x="4" y="157"/>
                  <a:pt x="0" y="137"/>
                  <a:pt x="0" y="115"/>
                </a:cubicBezTo>
                <a:cubicBezTo>
                  <a:pt x="0" y="92"/>
                  <a:pt x="4" y="71"/>
                  <a:pt x="12" y="54"/>
                </a:cubicBezTo>
                <a:cubicBezTo>
                  <a:pt x="21" y="36"/>
                  <a:pt x="33" y="23"/>
                  <a:pt x="48" y="13"/>
                </a:cubicBezTo>
                <a:cubicBezTo>
                  <a:pt x="64" y="4"/>
                  <a:pt x="81" y="0"/>
                  <a:pt x="100" y="0"/>
                </a:cubicBezTo>
                <a:cubicBezTo>
                  <a:pt x="121" y="0"/>
                  <a:pt x="139" y="5"/>
                  <a:pt x="153" y="17"/>
                </a:cubicBezTo>
                <a:cubicBezTo>
                  <a:pt x="167" y="29"/>
                  <a:pt x="178" y="45"/>
                  <a:pt x="183" y="66"/>
                </a:cubicBezTo>
                <a:lnTo>
                  <a:pt x="156" y="73"/>
                </a:lnTo>
                <a:cubicBezTo>
                  <a:pt x="151" y="56"/>
                  <a:pt x="144" y="44"/>
                  <a:pt x="134" y="37"/>
                </a:cubicBezTo>
                <a:cubicBezTo>
                  <a:pt x="125" y="29"/>
                  <a:pt x="113" y="25"/>
                  <a:pt x="99" y="25"/>
                </a:cubicBezTo>
                <a:cubicBezTo>
                  <a:pt x="83" y="25"/>
                  <a:pt x="69" y="30"/>
                  <a:pt x="58" y="38"/>
                </a:cubicBezTo>
                <a:cubicBezTo>
                  <a:pt x="47" y="46"/>
                  <a:pt x="40" y="58"/>
                  <a:pt x="35" y="72"/>
                </a:cubicBezTo>
                <a:cubicBezTo>
                  <a:pt x="31" y="86"/>
                  <a:pt x="29" y="100"/>
                  <a:pt x="29" y="115"/>
                </a:cubicBezTo>
                <a:cubicBezTo>
                  <a:pt x="29" y="135"/>
                  <a:pt x="31" y="151"/>
                  <a:pt x="37" y="166"/>
                </a:cubicBezTo>
                <a:cubicBezTo>
                  <a:pt x="42" y="180"/>
                  <a:pt x="50" y="191"/>
                  <a:pt x="61" y="198"/>
                </a:cubicBezTo>
                <a:cubicBezTo>
                  <a:pt x="72" y="205"/>
                  <a:pt x="84" y="209"/>
                  <a:pt x="97" y="209"/>
                </a:cubicBezTo>
                <a:cubicBezTo>
                  <a:pt x="113" y="209"/>
                  <a:pt x="126" y="204"/>
                  <a:pt x="137" y="194"/>
                </a:cubicBezTo>
                <a:cubicBezTo>
                  <a:pt x="147" y="185"/>
                  <a:pt x="155" y="170"/>
                  <a:pt x="159" y="151"/>
                </a:cubicBezTo>
                <a:close/>
                <a:moveTo>
                  <a:pt x="203" y="294"/>
                </a:moveTo>
                <a:lnTo>
                  <a:pt x="200" y="268"/>
                </a:lnTo>
                <a:cubicBezTo>
                  <a:pt x="206" y="270"/>
                  <a:pt x="211" y="271"/>
                  <a:pt x="215" y="271"/>
                </a:cubicBezTo>
                <a:cubicBezTo>
                  <a:pt x="221" y="271"/>
                  <a:pt x="226" y="270"/>
                  <a:pt x="229" y="268"/>
                </a:cubicBezTo>
                <a:cubicBezTo>
                  <a:pt x="233" y="266"/>
                  <a:pt x="235" y="263"/>
                  <a:pt x="238" y="259"/>
                </a:cubicBezTo>
                <a:cubicBezTo>
                  <a:pt x="239" y="256"/>
                  <a:pt x="242" y="249"/>
                  <a:pt x="246" y="238"/>
                </a:cubicBezTo>
                <a:cubicBezTo>
                  <a:pt x="246" y="237"/>
                  <a:pt x="247" y="234"/>
                  <a:pt x="248" y="231"/>
                </a:cubicBezTo>
                <a:lnTo>
                  <a:pt x="190" y="66"/>
                </a:lnTo>
                <a:lnTo>
                  <a:pt x="217" y="66"/>
                </a:lnTo>
                <a:lnTo>
                  <a:pt x="249" y="161"/>
                </a:lnTo>
                <a:cubicBezTo>
                  <a:pt x="254" y="173"/>
                  <a:pt x="257" y="186"/>
                  <a:pt x="261" y="199"/>
                </a:cubicBezTo>
                <a:cubicBezTo>
                  <a:pt x="264" y="187"/>
                  <a:pt x="267" y="174"/>
                  <a:pt x="271" y="162"/>
                </a:cubicBezTo>
                <a:lnTo>
                  <a:pt x="304" y="66"/>
                </a:lnTo>
                <a:lnTo>
                  <a:pt x="330" y="66"/>
                </a:lnTo>
                <a:lnTo>
                  <a:pt x="272" y="234"/>
                </a:lnTo>
                <a:cubicBezTo>
                  <a:pt x="266" y="252"/>
                  <a:pt x="261" y="264"/>
                  <a:pt x="257" y="271"/>
                </a:cubicBezTo>
                <a:cubicBezTo>
                  <a:pt x="253" y="280"/>
                  <a:pt x="247" y="287"/>
                  <a:pt x="241" y="291"/>
                </a:cubicBezTo>
                <a:cubicBezTo>
                  <a:pt x="235" y="295"/>
                  <a:pt x="228" y="297"/>
                  <a:pt x="220" y="297"/>
                </a:cubicBezTo>
                <a:cubicBezTo>
                  <a:pt x="215" y="297"/>
                  <a:pt x="209" y="296"/>
                  <a:pt x="203" y="294"/>
                </a:cubicBezTo>
                <a:close/>
                <a:moveTo>
                  <a:pt x="434" y="170"/>
                </a:moveTo>
                <a:lnTo>
                  <a:pt x="460" y="174"/>
                </a:lnTo>
                <a:cubicBezTo>
                  <a:pt x="457" y="193"/>
                  <a:pt x="450" y="208"/>
                  <a:pt x="438" y="218"/>
                </a:cubicBezTo>
                <a:cubicBezTo>
                  <a:pt x="427" y="229"/>
                  <a:pt x="413" y="234"/>
                  <a:pt x="396" y="234"/>
                </a:cubicBezTo>
                <a:cubicBezTo>
                  <a:pt x="375" y="234"/>
                  <a:pt x="358" y="227"/>
                  <a:pt x="345" y="212"/>
                </a:cubicBezTo>
                <a:cubicBezTo>
                  <a:pt x="333" y="198"/>
                  <a:pt x="326" y="176"/>
                  <a:pt x="326" y="149"/>
                </a:cubicBezTo>
                <a:cubicBezTo>
                  <a:pt x="326" y="131"/>
                  <a:pt x="329" y="116"/>
                  <a:pt x="335" y="102"/>
                </a:cubicBezTo>
                <a:cubicBezTo>
                  <a:pt x="340" y="89"/>
                  <a:pt x="348" y="79"/>
                  <a:pt x="360" y="73"/>
                </a:cubicBezTo>
                <a:cubicBezTo>
                  <a:pt x="371" y="66"/>
                  <a:pt x="383" y="63"/>
                  <a:pt x="396" y="63"/>
                </a:cubicBezTo>
                <a:cubicBezTo>
                  <a:pt x="413" y="63"/>
                  <a:pt x="426" y="67"/>
                  <a:pt x="437" y="76"/>
                </a:cubicBezTo>
                <a:cubicBezTo>
                  <a:pt x="448" y="85"/>
                  <a:pt x="454" y="98"/>
                  <a:pt x="457" y="115"/>
                </a:cubicBezTo>
                <a:lnTo>
                  <a:pt x="432" y="119"/>
                </a:lnTo>
                <a:cubicBezTo>
                  <a:pt x="430" y="108"/>
                  <a:pt x="426" y="99"/>
                  <a:pt x="419" y="94"/>
                </a:cubicBezTo>
                <a:cubicBezTo>
                  <a:pt x="413" y="88"/>
                  <a:pt x="406" y="85"/>
                  <a:pt x="397" y="85"/>
                </a:cubicBezTo>
                <a:cubicBezTo>
                  <a:pt x="384" y="85"/>
                  <a:pt x="373" y="90"/>
                  <a:pt x="365" y="100"/>
                </a:cubicBezTo>
                <a:cubicBezTo>
                  <a:pt x="357" y="111"/>
                  <a:pt x="353" y="126"/>
                  <a:pt x="353" y="148"/>
                </a:cubicBezTo>
                <a:cubicBezTo>
                  <a:pt x="353" y="170"/>
                  <a:pt x="357" y="186"/>
                  <a:pt x="365" y="196"/>
                </a:cubicBezTo>
                <a:cubicBezTo>
                  <a:pt x="373" y="206"/>
                  <a:pt x="383" y="211"/>
                  <a:pt x="396" y="211"/>
                </a:cubicBezTo>
                <a:cubicBezTo>
                  <a:pt x="406" y="211"/>
                  <a:pt x="415" y="208"/>
                  <a:pt x="421" y="201"/>
                </a:cubicBezTo>
                <a:cubicBezTo>
                  <a:pt x="428" y="195"/>
                  <a:pt x="432" y="184"/>
                  <a:pt x="434" y="170"/>
                </a:cubicBezTo>
                <a:close/>
                <a:moveTo>
                  <a:pt x="468" y="231"/>
                </a:moveTo>
                <a:lnTo>
                  <a:pt x="468" y="3"/>
                </a:lnTo>
                <a:lnTo>
                  <a:pt x="494" y="3"/>
                </a:lnTo>
                <a:lnTo>
                  <a:pt x="494" y="231"/>
                </a:lnTo>
                <a:lnTo>
                  <a:pt x="468" y="231"/>
                </a:lnTo>
                <a:close/>
                <a:moveTo>
                  <a:pt x="625" y="177"/>
                </a:moveTo>
                <a:lnTo>
                  <a:pt x="652" y="181"/>
                </a:lnTo>
                <a:cubicBezTo>
                  <a:pt x="648" y="198"/>
                  <a:pt x="640" y="211"/>
                  <a:pt x="628" y="220"/>
                </a:cubicBezTo>
                <a:cubicBezTo>
                  <a:pt x="617" y="230"/>
                  <a:pt x="602" y="234"/>
                  <a:pt x="584" y="234"/>
                </a:cubicBezTo>
                <a:cubicBezTo>
                  <a:pt x="562" y="234"/>
                  <a:pt x="544" y="227"/>
                  <a:pt x="531" y="212"/>
                </a:cubicBezTo>
                <a:cubicBezTo>
                  <a:pt x="518" y="197"/>
                  <a:pt x="512" y="176"/>
                  <a:pt x="512" y="150"/>
                </a:cubicBezTo>
                <a:cubicBezTo>
                  <a:pt x="512" y="122"/>
                  <a:pt x="518" y="101"/>
                  <a:pt x="531" y="85"/>
                </a:cubicBezTo>
                <a:cubicBezTo>
                  <a:pt x="545" y="70"/>
                  <a:pt x="562" y="63"/>
                  <a:pt x="583" y="63"/>
                </a:cubicBezTo>
                <a:cubicBezTo>
                  <a:pt x="603" y="63"/>
                  <a:pt x="620" y="70"/>
                  <a:pt x="633" y="85"/>
                </a:cubicBezTo>
                <a:cubicBezTo>
                  <a:pt x="646" y="100"/>
                  <a:pt x="653" y="121"/>
                  <a:pt x="653" y="148"/>
                </a:cubicBezTo>
                <a:cubicBezTo>
                  <a:pt x="653" y="150"/>
                  <a:pt x="653" y="152"/>
                  <a:pt x="652" y="156"/>
                </a:cubicBezTo>
                <a:lnTo>
                  <a:pt x="538" y="156"/>
                </a:lnTo>
                <a:cubicBezTo>
                  <a:pt x="539" y="174"/>
                  <a:pt x="544" y="187"/>
                  <a:pt x="552" y="197"/>
                </a:cubicBezTo>
                <a:cubicBezTo>
                  <a:pt x="561" y="207"/>
                  <a:pt x="572" y="211"/>
                  <a:pt x="584" y="211"/>
                </a:cubicBezTo>
                <a:cubicBezTo>
                  <a:pt x="594" y="211"/>
                  <a:pt x="602" y="209"/>
                  <a:pt x="609" y="203"/>
                </a:cubicBezTo>
                <a:cubicBezTo>
                  <a:pt x="616" y="198"/>
                  <a:pt x="621" y="189"/>
                  <a:pt x="625" y="177"/>
                </a:cubicBezTo>
                <a:close/>
                <a:moveTo>
                  <a:pt x="540" y="133"/>
                </a:moveTo>
                <a:lnTo>
                  <a:pt x="625" y="133"/>
                </a:lnTo>
                <a:cubicBezTo>
                  <a:pt x="624" y="119"/>
                  <a:pt x="621" y="108"/>
                  <a:pt x="615" y="102"/>
                </a:cubicBezTo>
                <a:cubicBezTo>
                  <a:pt x="607" y="91"/>
                  <a:pt x="596" y="85"/>
                  <a:pt x="583" y="85"/>
                </a:cubicBezTo>
                <a:cubicBezTo>
                  <a:pt x="571" y="85"/>
                  <a:pt x="561" y="90"/>
                  <a:pt x="553" y="98"/>
                </a:cubicBezTo>
                <a:cubicBezTo>
                  <a:pt x="545" y="107"/>
                  <a:pt x="541" y="118"/>
                  <a:pt x="540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4" name="Freeform 94">
            <a:extLst>
              <a:ext uri="{FF2B5EF4-FFF2-40B4-BE49-F238E27FC236}">
                <a16:creationId xmlns:a16="http://schemas.microsoft.com/office/drawing/2014/main" id="{1482CB5A-786E-4BD9-A997-D4121EB5C2B5}"/>
              </a:ext>
            </a:extLst>
          </p:cNvPr>
          <p:cNvSpPr>
            <a:spLocks noEditPoints="1"/>
          </p:cNvSpPr>
          <p:nvPr/>
        </p:nvSpPr>
        <p:spPr bwMode="auto">
          <a:xfrm>
            <a:off x="6643688" y="6083301"/>
            <a:ext cx="284163" cy="104775"/>
          </a:xfrm>
          <a:custGeom>
            <a:avLst/>
            <a:gdLst>
              <a:gd name="T0" fmla="*/ 28 w 789"/>
              <a:gd name="T1" fmla="*/ 0 h 290"/>
              <a:gd name="T2" fmla="*/ 61 w 789"/>
              <a:gd name="T3" fmla="*/ 227 h 290"/>
              <a:gd name="T4" fmla="*/ 84 w 789"/>
              <a:gd name="T5" fmla="*/ 86 h 290"/>
              <a:gd name="T6" fmla="*/ 158 w 789"/>
              <a:gd name="T7" fmla="*/ 67 h 290"/>
              <a:gd name="T8" fmla="*/ 257 w 789"/>
              <a:gd name="T9" fmla="*/ 73 h 290"/>
              <a:gd name="T10" fmla="*/ 243 w 789"/>
              <a:gd name="T11" fmla="*/ 227 h 290"/>
              <a:gd name="T12" fmla="*/ 231 w 789"/>
              <a:gd name="T13" fmla="*/ 88 h 290"/>
              <a:gd name="T14" fmla="*/ 178 w 789"/>
              <a:gd name="T15" fmla="*/ 132 h 290"/>
              <a:gd name="T16" fmla="*/ 152 w 789"/>
              <a:gd name="T17" fmla="*/ 120 h 290"/>
              <a:gd name="T18" fmla="*/ 104 w 789"/>
              <a:gd name="T19" fmla="*/ 89 h 290"/>
              <a:gd name="T20" fmla="*/ 87 w 789"/>
              <a:gd name="T21" fmla="*/ 227 h 290"/>
              <a:gd name="T22" fmla="*/ 293 w 789"/>
              <a:gd name="T23" fmla="*/ 63 h 290"/>
              <a:gd name="T24" fmla="*/ 336 w 789"/>
              <a:gd name="T25" fmla="*/ 65 h 290"/>
              <a:gd name="T26" fmla="*/ 419 w 789"/>
              <a:gd name="T27" fmla="*/ 100 h 290"/>
              <a:gd name="T28" fmla="*/ 393 w 789"/>
              <a:gd name="T29" fmla="*/ 220 h 290"/>
              <a:gd name="T30" fmla="*/ 319 w 789"/>
              <a:gd name="T31" fmla="*/ 210 h 290"/>
              <a:gd name="T32" fmla="*/ 317 w 789"/>
              <a:gd name="T33" fmla="*/ 146 h 290"/>
              <a:gd name="T34" fmla="*/ 387 w 789"/>
              <a:gd name="T35" fmla="*/ 192 h 290"/>
              <a:gd name="T36" fmla="*/ 359 w 789"/>
              <a:gd name="T37" fmla="*/ 81 h 290"/>
              <a:gd name="T38" fmla="*/ 544 w 789"/>
              <a:gd name="T39" fmla="*/ 207 h 290"/>
              <a:gd name="T40" fmla="*/ 449 w 789"/>
              <a:gd name="T41" fmla="*/ 218 h 290"/>
              <a:gd name="T42" fmla="*/ 454 w 789"/>
              <a:gd name="T43" fmla="*/ 146 h 290"/>
              <a:gd name="T44" fmla="*/ 542 w 789"/>
              <a:gd name="T45" fmla="*/ 123 h 290"/>
              <a:gd name="T46" fmla="*/ 505 w 789"/>
              <a:gd name="T47" fmla="*/ 82 h 290"/>
              <a:gd name="T48" fmla="*/ 440 w 789"/>
              <a:gd name="T49" fmla="*/ 110 h 290"/>
              <a:gd name="T50" fmla="*/ 509 w 789"/>
              <a:gd name="T51" fmla="*/ 59 h 290"/>
              <a:gd name="T52" fmla="*/ 567 w 789"/>
              <a:gd name="T53" fmla="*/ 96 h 290"/>
              <a:gd name="T54" fmla="*/ 570 w 789"/>
              <a:gd name="T55" fmla="*/ 207 h 290"/>
              <a:gd name="T56" fmla="*/ 544 w 789"/>
              <a:gd name="T57" fmla="*/ 207 h 290"/>
              <a:gd name="T58" fmla="*/ 477 w 789"/>
              <a:gd name="T59" fmla="*/ 161 h 290"/>
              <a:gd name="T60" fmla="*/ 471 w 789"/>
              <a:gd name="T61" fmla="*/ 201 h 290"/>
              <a:gd name="T62" fmla="*/ 538 w 789"/>
              <a:gd name="T63" fmla="*/ 183 h 290"/>
              <a:gd name="T64" fmla="*/ 695 w 789"/>
              <a:gd name="T65" fmla="*/ 167 h 290"/>
              <a:gd name="T66" fmla="*/ 657 w 789"/>
              <a:gd name="T67" fmla="*/ 231 h 290"/>
              <a:gd name="T68" fmla="*/ 595 w 789"/>
              <a:gd name="T69" fmla="*/ 99 h 290"/>
              <a:gd name="T70" fmla="*/ 698 w 789"/>
              <a:gd name="T71" fmla="*/ 73 h 290"/>
              <a:gd name="T72" fmla="*/ 680 w 789"/>
              <a:gd name="T73" fmla="*/ 90 h 290"/>
              <a:gd name="T74" fmla="*/ 614 w 789"/>
              <a:gd name="T75" fmla="*/ 145 h 290"/>
              <a:gd name="T76" fmla="*/ 682 w 789"/>
              <a:gd name="T77" fmla="*/ 198 h 290"/>
              <a:gd name="T78" fmla="*/ 789 w 789"/>
              <a:gd name="T79" fmla="*/ 227 h 290"/>
              <a:gd name="T80" fmla="*/ 736 w 789"/>
              <a:gd name="T81" fmla="*/ 212 h 290"/>
              <a:gd name="T82" fmla="*/ 714 w 789"/>
              <a:gd name="T83" fmla="*/ 84 h 290"/>
              <a:gd name="T84" fmla="*/ 733 w 789"/>
              <a:gd name="T85" fmla="*/ 22 h 290"/>
              <a:gd name="T86" fmla="*/ 785 w 789"/>
              <a:gd name="T87" fmla="*/ 63 h 290"/>
              <a:gd name="T88" fmla="*/ 759 w 789"/>
              <a:gd name="T89" fmla="*/ 181 h 290"/>
              <a:gd name="T90" fmla="*/ 774 w 789"/>
              <a:gd name="T91" fmla="*/ 203 h 2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89" h="290">
                <a:moveTo>
                  <a:pt x="0" y="227"/>
                </a:moveTo>
                <a:lnTo>
                  <a:pt x="0" y="0"/>
                </a:lnTo>
                <a:lnTo>
                  <a:pt x="28" y="0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61" y="227"/>
                </a:moveTo>
                <a:lnTo>
                  <a:pt x="61" y="63"/>
                </a:lnTo>
                <a:lnTo>
                  <a:pt x="84" y="63"/>
                </a:lnTo>
                <a:lnTo>
                  <a:pt x="84" y="86"/>
                </a:lnTo>
                <a:cubicBezTo>
                  <a:pt x="89" y="78"/>
                  <a:pt x="95" y="71"/>
                  <a:pt x="103" y="66"/>
                </a:cubicBezTo>
                <a:cubicBezTo>
                  <a:pt x="111" y="61"/>
                  <a:pt x="120" y="59"/>
                  <a:pt x="130" y="59"/>
                </a:cubicBezTo>
                <a:cubicBezTo>
                  <a:pt x="142" y="59"/>
                  <a:pt x="151" y="62"/>
                  <a:pt x="158" y="67"/>
                </a:cubicBezTo>
                <a:cubicBezTo>
                  <a:pt x="166" y="72"/>
                  <a:pt x="171" y="79"/>
                  <a:pt x="174" y="88"/>
                </a:cubicBezTo>
                <a:cubicBezTo>
                  <a:pt x="186" y="69"/>
                  <a:pt x="202" y="59"/>
                  <a:pt x="221" y="59"/>
                </a:cubicBezTo>
                <a:cubicBezTo>
                  <a:pt x="237" y="59"/>
                  <a:pt x="248" y="64"/>
                  <a:pt x="257" y="73"/>
                </a:cubicBezTo>
                <a:cubicBezTo>
                  <a:pt x="265" y="82"/>
                  <a:pt x="269" y="96"/>
                  <a:pt x="269" y="114"/>
                </a:cubicBezTo>
                <a:lnTo>
                  <a:pt x="269" y="227"/>
                </a:lnTo>
                <a:lnTo>
                  <a:pt x="243" y="227"/>
                </a:lnTo>
                <a:lnTo>
                  <a:pt x="243" y="124"/>
                </a:lnTo>
                <a:cubicBezTo>
                  <a:pt x="243" y="112"/>
                  <a:pt x="242" y="104"/>
                  <a:pt x="240" y="100"/>
                </a:cubicBezTo>
                <a:cubicBezTo>
                  <a:pt x="239" y="95"/>
                  <a:pt x="236" y="91"/>
                  <a:pt x="231" y="88"/>
                </a:cubicBezTo>
                <a:cubicBezTo>
                  <a:pt x="227" y="85"/>
                  <a:pt x="221" y="83"/>
                  <a:pt x="215" y="83"/>
                </a:cubicBezTo>
                <a:cubicBezTo>
                  <a:pt x="205" y="83"/>
                  <a:pt x="196" y="87"/>
                  <a:pt x="189" y="95"/>
                </a:cubicBezTo>
                <a:cubicBezTo>
                  <a:pt x="181" y="102"/>
                  <a:pt x="178" y="115"/>
                  <a:pt x="178" y="132"/>
                </a:cubicBezTo>
                <a:lnTo>
                  <a:pt x="178" y="227"/>
                </a:lnTo>
                <a:lnTo>
                  <a:pt x="152" y="227"/>
                </a:lnTo>
                <a:lnTo>
                  <a:pt x="152" y="120"/>
                </a:lnTo>
                <a:cubicBezTo>
                  <a:pt x="152" y="108"/>
                  <a:pt x="150" y="99"/>
                  <a:pt x="145" y="92"/>
                </a:cubicBezTo>
                <a:cubicBezTo>
                  <a:pt x="141" y="86"/>
                  <a:pt x="134" y="83"/>
                  <a:pt x="125" y="83"/>
                </a:cubicBezTo>
                <a:cubicBezTo>
                  <a:pt x="117" y="83"/>
                  <a:pt x="111" y="85"/>
                  <a:pt x="104" y="89"/>
                </a:cubicBezTo>
                <a:cubicBezTo>
                  <a:pt x="98" y="93"/>
                  <a:pt x="94" y="100"/>
                  <a:pt x="91" y="107"/>
                </a:cubicBezTo>
                <a:cubicBezTo>
                  <a:pt x="88" y="115"/>
                  <a:pt x="87" y="127"/>
                  <a:pt x="87" y="142"/>
                </a:cubicBezTo>
                <a:lnTo>
                  <a:pt x="87" y="227"/>
                </a:lnTo>
                <a:lnTo>
                  <a:pt x="61" y="227"/>
                </a:lnTo>
                <a:close/>
                <a:moveTo>
                  <a:pt x="293" y="290"/>
                </a:moveTo>
                <a:lnTo>
                  <a:pt x="293" y="63"/>
                </a:lnTo>
                <a:lnTo>
                  <a:pt x="317" y="63"/>
                </a:lnTo>
                <a:lnTo>
                  <a:pt x="317" y="84"/>
                </a:lnTo>
                <a:cubicBezTo>
                  <a:pt x="323" y="76"/>
                  <a:pt x="329" y="69"/>
                  <a:pt x="336" y="65"/>
                </a:cubicBezTo>
                <a:cubicBezTo>
                  <a:pt x="343" y="61"/>
                  <a:pt x="351" y="59"/>
                  <a:pt x="361" y="59"/>
                </a:cubicBezTo>
                <a:cubicBezTo>
                  <a:pt x="375" y="59"/>
                  <a:pt x="386" y="63"/>
                  <a:pt x="396" y="70"/>
                </a:cubicBezTo>
                <a:cubicBezTo>
                  <a:pt x="406" y="77"/>
                  <a:pt x="414" y="87"/>
                  <a:pt x="419" y="100"/>
                </a:cubicBezTo>
                <a:cubicBezTo>
                  <a:pt x="424" y="114"/>
                  <a:pt x="426" y="128"/>
                  <a:pt x="426" y="144"/>
                </a:cubicBezTo>
                <a:cubicBezTo>
                  <a:pt x="426" y="160"/>
                  <a:pt x="424" y="176"/>
                  <a:pt x="418" y="189"/>
                </a:cubicBezTo>
                <a:cubicBezTo>
                  <a:pt x="412" y="203"/>
                  <a:pt x="404" y="213"/>
                  <a:pt x="393" y="220"/>
                </a:cubicBezTo>
                <a:cubicBezTo>
                  <a:pt x="383" y="227"/>
                  <a:pt x="371" y="231"/>
                  <a:pt x="360" y="231"/>
                </a:cubicBezTo>
                <a:cubicBezTo>
                  <a:pt x="351" y="231"/>
                  <a:pt x="343" y="229"/>
                  <a:pt x="336" y="225"/>
                </a:cubicBezTo>
                <a:cubicBezTo>
                  <a:pt x="329" y="221"/>
                  <a:pt x="324" y="216"/>
                  <a:pt x="319" y="210"/>
                </a:cubicBezTo>
                <a:lnTo>
                  <a:pt x="319" y="290"/>
                </a:lnTo>
                <a:lnTo>
                  <a:pt x="293" y="290"/>
                </a:lnTo>
                <a:close/>
                <a:moveTo>
                  <a:pt x="317" y="146"/>
                </a:moveTo>
                <a:cubicBezTo>
                  <a:pt x="317" y="167"/>
                  <a:pt x="321" y="183"/>
                  <a:pt x="329" y="193"/>
                </a:cubicBezTo>
                <a:cubicBezTo>
                  <a:pt x="337" y="203"/>
                  <a:pt x="347" y="208"/>
                  <a:pt x="358" y="208"/>
                </a:cubicBezTo>
                <a:cubicBezTo>
                  <a:pt x="369" y="208"/>
                  <a:pt x="379" y="203"/>
                  <a:pt x="387" y="192"/>
                </a:cubicBezTo>
                <a:cubicBezTo>
                  <a:pt x="396" y="182"/>
                  <a:pt x="400" y="166"/>
                  <a:pt x="400" y="144"/>
                </a:cubicBezTo>
                <a:cubicBezTo>
                  <a:pt x="400" y="123"/>
                  <a:pt x="396" y="107"/>
                  <a:pt x="388" y="97"/>
                </a:cubicBezTo>
                <a:cubicBezTo>
                  <a:pt x="380" y="86"/>
                  <a:pt x="370" y="81"/>
                  <a:pt x="359" y="81"/>
                </a:cubicBezTo>
                <a:cubicBezTo>
                  <a:pt x="348" y="81"/>
                  <a:pt x="338" y="86"/>
                  <a:pt x="330" y="98"/>
                </a:cubicBezTo>
                <a:cubicBezTo>
                  <a:pt x="321" y="109"/>
                  <a:pt x="317" y="125"/>
                  <a:pt x="317" y="146"/>
                </a:cubicBezTo>
                <a:close/>
                <a:moveTo>
                  <a:pt x="544" y="207"/>
                </a:moveTo>
                <a:cubicBezTo>
                  <a:pt x="535" y="215"/>
                  <a:pt x="525" y="222"/>
                  <a:pt x="516" y="225"/>
                </a:cubicBezTo>
                <a:cubicBezTo>
                  <a:pt x="507" y="229"/>
                  <a:pt x="498" y="231"/>
                  <a:pt x="488" y="231"/>
                </a:cubicBezTo>
                <a:cubicBezTo>
                  <a:pt x="471" y="231"/>
                  <a:pt x="458" y="226"/>
                  <a:pt x="449" y="218"/>
                </a:cubicBezTo>
                <a:cubicBezTo>
                  <a:pt x="440" y="209"/>
                  <a:pt x="435" y="198"/>
                  <a:pt x="435" y="184"/>
                </a:cubicBezTo>
                <a:cubicBezTo>
                  <a:pt x="435" y="176"/>
                  <a:pt x="437" y="168"/>
                  <a:pt x="440" y="162"/>
                </a:cubicBezTo>
                <a:cubicBezTo>
                  <a:pt x="444" y="155"/>
                  <a:pt x="448" y="150"/>
                  <a:pt x="454" y="146"/>
                </a:cubicBezTo>
                <a:cubicBezTo>
                  <a:pt x="459" y="142"/>
                  <a:pt x="466" y="139"/>
                  <a:pt x="472" y="137"/>
                </a:cubicBezTo>
                <a:cubicBezTo>
                  <a:pt x="478" y="135"/>
                  <a:pt x="485" y="134"/>
                  <a:pt x="496" y="132"/>
                </a:cubicBezTo>
                <a:cubicBezTo>
                  <a:pt x="517" y="130"/>
                  <a:pt x="532" y="127"/>
                  <a:pt x="542" y="123"/>
                </a:cubicBezTo>
                <a:cubicBezTo>
                  <a:pt x="542" y="119"/>
                  <a:pt x="542" y="117"/>
                  <a:pt x="542" y="116"/>
                </a:cubicBezTo>
                <a:cubicBezTo>
                  <a:pt x="542" y="104"/>
                  <a:pt x="540" y="96"/>
                  <a:pt x="535" y="92"/>
                </a:cubicBezTo>
                <a:cubicBezTo>
                  <a:pt x="528" y="85"/>
                  <a:pt x="518" y="82"/>
                  <a:pt x="505" y="82"/>
                </a:cubicBezTo>
                <a:cubicBezTo>
                  <a:pt x="493" y="82"/>
                  <a:pt x="484" y="85"/>
                  <a:pt x="478" y="89"/>
                </a:cubicBezTo>
                <a:cubicBezTo>
                  <a:pt x="472" y="94"/>
                  <a:pt x="468" y="102"/>
                  <a:pt x="465" y="114"/>
                </a:cubicBezTo>
                <a:lnTo>
                  <a:pt x="440" y="110"/>
                </a:lnTo>
                <a:cubicBezTo>
                  <a:pt x="442" y="98"/>
                  <a:pt x="446" y="89"/>
                  <a:pt x="451" y="81"/>
                </a:cubicBezTo>
                <a:cubicBezTo>
                  <a:pt x="456" y="74"/>
                  <a:pt x="464" y="69"/>
                  <a:pt x="474" y="65"/>
                </a:cubicBezTo>
                <a:cubicBezTo>
                  <a:pt x="484" y="61"/>
                  <a:pt x="496" y="59"/>
                  <a:pt x="509" y="59"/>
                </a:cubicBezTo>
                <a:cubicBezTo>
                  <a:pt x="522" y="59"/>
                  <a:pt x="533" y="61"/>
                  <a:pt x="541" y="64"/>
                </a:cubicBezTo>
                <a:cubicBezTo>
                  <a:pt x="549" y="67"/>
                  <a:pt x="555" y="71"/>
                  <a:pt x="559" y="76"/>
                </a:cubicBezTo>
                <a:cubicBezTo>
                  <a:pt x="563" y="82"/>
                  <a:pt x="566" y="88"/>
                  <a:pt x="567" y="96"/>
                </a:cubicBezTo>
                <a:cubicBezTo>
                  <a:pt x="568" y="100"/>
                  <a:pt x="569" y="109"/>
                  <a:pt x="569" y="121"/>
                </a:cubicBezTo>
                <a:lnTo>
                  <a:pt x="569" y="158"/>
                </a:lnTo>
                <a:cubicBezTo>
                  <a:pt x="569" y="184"/>
                  <a:pt x="569" y="200"/>
                  <a:pt x="570" y="207"/>
                </a:cubicBezTo>
                <a:cubicBezTo>
                  <a:pt x="571" y="214"/>
                  <a:pt x="573" y="221"/>
                  <a:pt x="577" y="227"/>
                </a:cubicBezTo>
                <a:lnTo>
                  <a:pt x="549" y="227"/>
                </a:lnTo>
                <a:cubicBezTo>
                  <a:pt x="547" y="221"/>
                  <a:pt x="545" y="215"/>
                  <a:pt x="544" y="207"/>
                </a:cubicBezTo>
                <a:close/>
                <a:moveTo>
                  <a:pt x="542" y="145"/>
                </a:moveTo>
                <a:cubicBezTo>
                  <a:pt x="533" y="149"/>
                  <a:pt x="519" y="152"/>
                  <a:pt x="500" y="155"/>
                </a:cubicBezTo>
                <a:cubicBezTo>
                  <a:pt x="489" y="157"/>
                  <a:pt x="481" y="159"/>
                  <a:pt x="477" y="161"/>
                </a:cubicBezTo>
                <a:cubicBezTo>
                  <a:pt x="472" y="163"/>
                  <a:pt x="469" y="166"/>
                  <a:pt x="467" y="170"/>
                </a:cubicBezTo>
                <a:cubicBezTo>
                  <a:pt x="464" y="174"/>
                  <a:pt x="463" y="178"/>
                  <a:pt x="463" y="183"/>
                </a:cubicBezTo>
                <a:cubicBezTo>
                  <a:pt x="463" y="190"/>
                  <a:pt x="466" y="197"/>
                  <a:pt x="471" y="201"/>
                </a:cubicBezTo>
                <a:cubicBezTo>
                  <a:pt x="476" y="206"/>
                  <a:pt x="484" y="209"/>
                  <a:pt x="494" y="209"/>
                </a:cubicBezTo>
                <a:cubicBezTo>
                  <a:pt x="504" y="209"/>
                  <a:pt x="513" y="207"/>
                  <a:pt x="521" y="202"/>
                </a:cubicBezTo>
                <a:cubicBezTo>
                  <a:pt x="528" y="197"/>
                  <a:pt x="534" y="191"/>
                  <a:pt x="538" y="183"/>
                </a:cubicBezTo>
                <a:cubicBezTo>
                  <a:pt x="541" y="176"/>
                  <a:pt x="542" y="167"/>
                  <a:pt x="542" y="155"/>
                </a:cubicBezTo>
                <a:lnTo>
                  <a:pt x="542" y="145"/>
                </a:lnTo>
                <a:close/>
                <a:moveTo>
                  <a:pt x="695" y="167"/>
                </a:moveTo>
                <a:lnTo>
                  <a:pt x="720" y="171"/>
                </a:lnTo>
                <a:cubicBezTo>
                  <a:pt x="718" y="190"/>
                  <a:pt x="711" y="204"/>
                  <a:pt x="699" y="215"/>
                </a:cubicBezTo>
                <a:cubicBezTo>
                  <a:pt x="688" y="225"/>
                  <a:pt x="673" y="231"/>
                  <a:pt x="657" y="231"/>
                </a:cubicBezTo>
                <a:cubicBezTo>
                  <a:pt x="636" y="231"/>
                  <a:pt x="619" y="223"/>
                  <a:pt x="606" y="209"/>
                </a:cubicBezTo>
                <a:cubicBezTo>
                  <a:pt x="593" y="194"/>
                  <a:pt x="587" y="173"/>
                  <a:pt x="587" y="146"/>
                </a:cubicBezTo>
                <a:cubicBezTo>
                  <a:pt x="587" y="128"/>
                  <a:pt x="590" y="112"/>
                  <a:pt x="595" y="99"/>
                </a:cubicBezTo>
                <a:cubicBezTo>
                  <a:pt x="601" y="86"/>
                  <a:pt x="609" y="76"/>
                  <a:pt x="620" y="69"/>
                </a:cubicBezTo>
                <a:cubicBezTo>
                  <a:pt x="632" y="62"/>
                  <a:pt x="644" y="59"/>
                  <a:pt x="657" y="59"/>
                </a:cubicBezTo>
                <a:cubicBezTo>
                  <a:pt x="674" y="59"/>
                  <a:pt x="687" y="64"/>
                  <a:pt x="698" y="73"/>
                </a:cubicBezTo>
                <a:cubicBezTo>
                  <a:pt x="708" y="82"/>
                  <a:pt x="715" y="94"/>
                  <a:pt x="718" y="111"/>
                </a:cubicBezTo>
                <a:lnTo>
                  <a:pt x="693" y="115"/>
                </a:lnTo>
                <a:cubicBezTo>
                  <a:pt x="691" y="104"/>
                  <a:pt x="686" y="96"/>
                  <a:pt x="680" y="90"/>
                </a:cubicBezTo>
                <a:cubicBezTo>
                  <a:pt x="674" y="85"/>
                  <a:pt x="667" y="82"/>
                  <a:pt x="658" y="82"/>
                </a:cubicBezTo>
                <a:cubicBezTo>
                  <a:pt x="645" y="82"/>
                  <a:pt x="634" y="87"/>
                  <a:pt x="626" y="97"/>
                </a:cubicBezTo>
                <a:cubicBezTo>
                  <a:pt x="618" y="107"/>
                  <a:pt x="614" y="123"/>
                  <a:pt x="614" y="145"/>
                </a:cubicBezTo>
                <a:cubicBezTo>
                  <a:pt x="614" y="167"/>
                  <a:pt x="618" y="183"/>
                  <a:pt x="626" y="193"/>
                </a:cubicBezTo>
                <a:cubicBezTo>
                  <a:pt x="633" y="203"/>
                  <a:pt x="644" y="208"/>
                  <a:pt x="656" y="208"/>
                </a:cubicBezTo>
                <a:cubicBezTo>
                  <a:pt x="667" y="208"/>
                  <a:pt x="675" y="205"/>
                  <a:pt x="682" y="198"/>
                </a:cubicBezTo>
                <a:cubicBezTo>
                  <a:pt x="689" y="191"/>
                  <a:pt x="693" y="181"/>
                  <a:pt x="695" y="167"/>
                </a:cubicBezTo>
                <a:close/>
                <a:moveTo>
                  <a:pt x="785" y="202"/>
                </a:moveTo>
                <a:lnTo>
                  <a:pt x="789" y="227"/>
                </a:lnTo>
                <a:cubicBezTo>
                  <a:pt x="782" y="229"/>
                  <a:pt x="775" y="230"/>
                  <a:pt x="769" y="230"/>
                </a:cubicBezTo>
                <a:cubicBezTo>
                  <a:pt x="760" y="230"/>
                  <a:pt x="753" y="228"/>
                  <a:pt x="747" y="225"/>
                </a:cubicBezTo>
                <a:cubicBezTo>
                  <a:pt x="742" y="221"/>
                  <a:pt x="739" y="217"/>
                  <a:pt x="736" y="212"/>
                </a:cubicBezTo>
                <a:cubicBezTo>
                  <a:pt x="734" y="207"/>
                  <a:pt x="733" y="196"/>
                  <a:pt x="733" y="179"/>
                </a:cubicBezTo>
                <a:lnTo>
                  <a:pt x="733" y="84"/>
                </a:lnTo>
                <a:lnTo>
                  <a:pt x="714" y="84"/>
                </a:lnTo>
                <a:lnTo>
                  <a:pt x="714" y="63"/>
                </a:lnTo>
                <a:lnTo>
                  <a:pt x="733" y="63"/>
                </a:lnTo>
                <a:lnTo>
                  <a:pt x="733" y="22"/>
                </a:lnTo>
                <a:lnTo>
                  <a:pt x="759" y="5"/>
                </a:lnTo>
                <a:lnTo>
                  <a:pt x="759" y="63"/>
                </a:lnTo>
                <a:lnTo>
                  <a:pt x="785" y="63"/>
                </a:lnTo>
                <a:lnTo>
                  <a:pt x="785" y="84"/>
                </a:lnTo>
                <a:lnTo>
                  <a:pt x="759" y="84"/>
                </a:lnTo>
                <a:lnTo>
                  <a:pt x="759" y="181"/>
                </a:lnTo>
                <a:cubicBezTo>
                  <a:pt x="759" y="189"/>
                  <a:pt x="760" y="194"/>
                  <a:pt x="761" y="196"/>
                </a:cubicBezTo>
                <a:cubicBezTo>
                  <a:pt x="762" y="198"/>
                  <a:pt x="763" y="200"/>
                  <a:pt x="765" y="201"/>
                </a:cubicBezTo>
                <a:cubicBezTo>
                  <a:pt x="767" y="203"/>
                  <a:pt x="770" y="203"/>
                  <a:pt x="774" y="203"/>
                </a:cubicBezTo>
                <a:cubicBezTo>
                  <a:pt x="777" y="203"/>
                  <a:pt x="781" y="203"/>
                  <a:pt x="785" y="2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5" name="Freeform 95">
            <a:extLst>
              <a:ext uri="{FF2B5EF4-FFF2-40B4-BE49-F238E27FC236}">
                <a16:creationId xmlns:a16="http://schemas.microsoft.com/office/drawing/2014/main" id="{2D23DA73-64C1-4F3E-8F73-A1A6821625F2}"/>
              </a:ext>
            </a:extLst>
          </p:cNvPr>
          <p:cNvSpPr>
            <a:spLocks noEditPoints="1"/>
          </p:cNvSpPr>
          <p:nvPr/>
        </p:nvSpPr>
        <p:spPr bwMode="auto">
          <a:xfrm>
            <a:off x="7364413" y="6083301"/>
            <a:ext cx="384175" cy="220663"/>
          </a:xfrm>
          <a:custGeom>
            <a:avLst/>
            <a:gdLst>
              <a:gd name="T0" fmla="*/ 179 w 1065"/>
              <a:gd name="T1" fmla="*/ 58 h 611"/>
              <a:gd name="T2" fmla="*/ 168 w 1065"/>
              <a:gd name="T3" fmla="*/ 212 h 611"/>
              <a:gd name="T4" fmla="*/ 112 w 1065"/>
              <a:gd name="T5" fmla="*/ 317 h 611"/>
              <a:gd name="T6" fmla="*/ 0 w 1065"/>
              <a:gd name="T7" fmla="*/ 545 h 611"/>
              <a:gd name="T8" fmla="*/ 60 w 1065"/>
              <a:gd name="T9" fmla="*/ 451 h 611"/>
              <a:gd name="T10" fmla="*/ 301 w 1065"/>
              <a:gd name="T11" fmla="*/ 382 h 611"/>
              <a:gd name="T12" fmla="*/ 302 w 1065"/>
              <a:gd name="T13" fmla="*/ 445 h 611"/>
              <a:gd name="T14" fmla="*/ 229 w 1065"/>
              <a:gd name="T15" fmla="*/ 545 h 611"/>
              <a:gd name="T16" fmla="*/ 345 w 1065"/>
              <a:gd name="T17" fmla="*/ 501 h 611"/>
              <a:gd name="T18" fmla="*/ 452 w 1065"/>
              <a:gd name="T19" fmla="*/ 433 h 611"/>
              <a:gd name="T20" fmla="*/ 361 w 1065"/>
              <a:gd name="T21" fmla="*/ 399 h 611"/>
              <a:gd name="T22" fmla="*/ 478 w 1065"/>
              <a:gd name="T23" fmla="*/ 439 h 611"/>
              <a:gd name="T24" fmla="*/ 452 w 1065"/>
              <a:gd name="T25" fmla="*/ 462 h 611"/>
              <a:gd name="T26" fmla="*/ 404 w 1065"/>
              <a:gd name="T27" fmla="*/ 526 h 611"/>
              <a:gd name="T28" fmla="*/ 504 w 1065"/>
              <a:gd name="T29" fmla="*/ 317 h 611"/>
              <a:gd name="T30" fmla="*/ 567 w 1065"/>
              <a:gd name="T31" fmla="*/ 585 h 611"/>
              <a:gd name="T32" fmla="*/ 569 w 1065"/>
              <a:gd name="T33" fmla="*/ 380 h 611"/>
              <a:gd name="T34" fmla="*/ 624 w 1065"/>
              <a:gd name="T35" fmla="*/ 548 h 611"/>
              <a:gd name="T36" fmla="*/ 754 w 1065"/>
              <a:gd name="T37" fmla="*/ 545 h 611"/>
              <a:gd name="T38" fmla="*/ 679 w 1065"/>
              <a:gd name="T39" fmla="*/ 402 h 611"/>
              <a:gd name="T40" fmla="*/ 750 w 1065"/>
              <a:gd name="T41" fmla="*/ 380 h 611"/>
              <a:gd name="T42" fmla="*/ 739 w 1065"/>
              <a:gd name="T43" fmla="*/ 521 h 611"/>
              <a:gd name="T44" fmla="*/ 762 w 1065"/>
              <a:gd name="T45" fmla="*/ 349 h 611"/>
              <a:gd name="T46" fmla="*/ 914 w 1065"/>
              <a:gd name="T47" fmla="*/ 484 h 611"/>
              <a:gd name="T48" fmla="*/ 814 w 1065"/>
              <a:gd name="T49" fmla="*/ 416 h 611"/>
              <a:gd name="T50" fmla="*/ 899 w 1065"/>
              <a:gd name="T51" fmla="*/ 408 h 611"/>
              <a:gd name="T52" fmla="*/ 901 w 1065"/>
              <a:gd name="T53" fmla="*/ 515 h 611"/>
              <a:gd name="T54" fmla="*/ 1030 w 1065"/>
              <a:gd name="T55" fmla="*/ 518 h 611"/>
              <a:gd name="T56" fmla="*/ 942 w 1065"/>
              <a:gd name="T57" fmla="*/ 424 h 611"/>
              <a:gd name="T58" fmla="*/ 1050 w 1065"/>
              <a:gd name="T59" fmla="*/ 397 h 611"/>
              <a:gd name="T60" fmla="*/ 967 w 1065"/>
              <a:gd name="T61" fmla="*/ 421 h 611"/>
              <a:gd name="T62" fmla="*/ 1065 w 1065"/>
              <a:gd name="T63" fmla="*/ 496 h 611"/>
              <a:gd name="T64" fmla="*/ 58 w 1065"/>
              <a:gd name="T65" fmla="*/ 96 h 611"/>
              <a:gd name="T66" fmla="*/ 132 w 1065"/>
              <a:gd name="T67" fmla="*/ 30 h 611"/>
              <a:gd name="T68" fmla="*/ 130 w 1065"/>
              <a:gd name="T69" fmla="*/ 200 h 611"/>
              <a:gd name="T70" fmla="*/ 107 w 1065"/>
              <a:gd name="T71" fmla="*/ 122 h 611"/>
              <a:gd name="T72" fmla="*/ 237 w 1065"/>
              <a:gd name="T73" fmla="*/ 32 h 611"/>
              <a:gd name="T74" fmla="*/ 211 w 1065"/>
              <a:gd name="T75" fmla="*/ 227 h 611"/>
              <a:gd name="T76" fmla="*/ 360 w 1065"/>
              <a:gd name="T77" fmla="*/ 241 h 611"/>
              <a:gd name="T78" fmla="*/ 284 w 1065"/>
              <a:gd name="T79" fmla="*/ 70 h 611"/>
              <a:gd name="T80" fmla="*/ 381 w 1065"/>
              <a:gd name="T81" fmla="*/ 259 h 611"/>
              <a:gd name="T82" fmla="*/ 291 w 1065"/>
              <a:gd name="T83" fmla="*/ 189 h 611"/>
              <a:gd name="T84" fmla="*/ 292 w 1065"/>
              <a:gd name="T85" fmla="*/ 97 h 611"/>
              <a:gd name="T86" fmla="*/ 627 w 1065"/>
              <a:gd name="T87" fmla="*/ 19 h 611"/>
              <a:gd name="T88" fmla="*/ 596 w 1065"/>
              <a:gd name="T89" fmla="*/ 223 h 611"/>
              <a:gd name="T90" fmla="*/ 610 w 1065"/>
              <a:gd name="T91" fmla="*/ 185 h 611"/>
              <a:gd name="T92" fmla="*/ 513 w 1065"/>
              <a:gd name="T93" fmla="*/ 27 h 611"/>
              <a:gd name="T94" fmla="*/ 673 w 1065"/>
              <a:gd name="T95" fmla="*/ 184 h 611"/>
              <a:gd name="T96" fmla="*/ 780 w 1065"/>
              <a:gd name="T97" fmla="*/ 116 h 611"/>
              <a:gd name="T98" fmla="*/ 689 w 1065"/>
              <a:gd name="T99" fmla="*/ 81 h 611"/>
              <a:gd name="T100" fmla="*/ 806 w 1065"/>
              <a:gd name="T101" fmla="*/ 121 h 611"/>
              <a:gd name="T102" fmla="*/ 780 w 1065"/>
              <a:gd name="T103" fmla="*/ 145 h 611"/>
              <a:gd name="T104" fmla="*/ 732 w 1065"/>
              <a:gd name="T105" fmla="*/ 209 h 611"/>
              <a:gd name="T106" fmla="*/ 893 w 1065"/>
              <a:gd name="T107" fmla="*/ 227 h 611"/>
              <a:gd name="T108" fmla="*/ 818 w 1065"/>
              <a:gd name="T109" fmla="*/ 84 h 611"/>
              <a:gd name="T110" fmla="*/ 889 w 1065"/>
              <a:gd name="T111" fmla="*/ 63 h 611"/>
              <a:gd name="T112" fmla="*/ 878 w 1065"/>
              <a:gd name="T113" fmla="*/ 203 h 611"/>
              <a:gd name="T114" fmla="*/ 894 w 1065"/>
              <a:gd name="T115" fmla="*/ 184 h 611"/>
              <a:gd name="T116" fmla="*/ 1001 w 1065"/>
              <a:gd name="T117" fmla="*/ 116 h 611"/>
              <a:gd name="T118" fmla="*/ 910 w 1065"/>
              <a:gd name="T119" fmla="*/ 81 h 611"/>
              <a:gd name="T120" fmla="*/ 1027 w 1065"/>
              <a:gd name="T121" fmla="*/ 121 h 611"/>
              <a:gd name="T122" fmla="*/ 1001 w 1065"/>
              <a:gd name="T123" fmla="*/ 145 h 611"/>
              <a:gd name="T124" fmla="*/ 952 w 1065"/>
              <a:gd name="T125" fmla="*/ 2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65" h="611">
                <a:moveTo>
                  <a:pt x="30" y="227"/>
                </a:moveTo>
                <a:lnTo>
                  <a:pt x="30" y="0"/>
                </a:lnTo>
                <a:lnTo>
                  <a:pt x="109" y="0"/>
                </a:lnTo>
                <a:cubicBezTo>
                  <a:pt x="125" y="0"/>
                  <a:pt x="138" y="2"/>
                  <a:pt x="148" y="7"/>
                </a:cubicBezTo>
                <a:cubicBezTo>
                  <a:pt x="158" y="11"/>
                  <a:pt x="165" y="19"/>
                  <a:pt x="171" y="28"/>
                </a:cubicBezTo>
                <a:cubicBezTo>
                  <a:pt x="176" y="38"/>
                  <a:pt x="179" y="48"/>
                  <a:pt x="179" y="58"/>
                </a:cubicBezTo>
                <a:cubicBezTo>
                  <a:pt x="179" y="68"/>
                  <a:pt x="177" y="77"/>
                  <a:pt x="172" y="86"/>
                </a:cubicBezTo>
                <a:cubicBezTo>
                  <a:pt x="167" y="94"/>
                  <a:pt x="160" y="101"/>
                  <a:pt x="150" y="106"/>
                </a:cubicBezTo>
                <a:cubicBezTo>
                  <a:pt x="163" y="110"/>
                  <a:pt x="172" y="117"/>
                  <a:pt x="179" y="127"/>
                </a:cubicBezTo>
                <a:cubicBezTo>
                  <a:pt x="186" y="137"/>
                  <a:pt x="190" y="148"/>
                  <a:pt x="190" y="161"/>
                </a:cubicBezTo>
                <a:cubicBezTo>
                  <a:pt x="190" y="172"/>
                  <a:pt x="187" y="182"/>
                  <a:pt x="183" y="191"/>
                </a:cubicBezTo>
                <a:cubicBezTo>
                  <a:pt x="179" y="200"/>
                  <a:pt x="174" y="207"/>
                  <a:pt x="168" y="212"/>
                </a:cubicBezTo>
                <a:cubicBezTo>
                  <a:pt x="162" y="217"/>
                  <a:pt x="154" y="221"/>
                  <a:pt x="145" y="223"/>
                </a:cubicBezTo>
                <a:cubicBezTo>
                  <a:pt x="135" y="226"/>
                  <a:pt x="124" y="227"/>
                  <a:pt x="110" y="227"/>
                </a:cubicBezTo>
                <a:lnTo>
                  <a:pt x="30" y="227"/>
                </a:lnTo>
                <a:close/>
                <a:moveTo>
                  <a:pt x="0" y="545"/>
                </a:moveTo>
                <a:lnTo>
                  <a:pt x="81" y="317"/>
                </a:lnTo>
                <a:lnTo>
                  <a:pt x="112" y="317"/>
                </a:lnTo>
                <a:lnTo>
                  <a:pt x="198" y="545"/>
                </a:lnTo>
                <a:lnTo>
                  <a:pt x="166" y="545"/>
                </a:lnTo>
                <a:lnTo>
                  <a:pt x="141" y="476"/>
                </a:lnTo>
                <a:lnTo>
                  <a:pt x="52" y="476"/>
                </a:lnTo>
                <a:lnTo>
                  <a:pt x="29" y="545"/>
                </a:lnTo>
                <a:lnTo>
                  <a:pt x="0" y="545"/>
                </a:lnTo>
                <a:close/>
                <a:moveTo>
                  <a:pt x="60" y="451"/>
                </a:moveTo>
                <a:lnTo>
                  <a:pt x="133" y="451"/>
                </a:lnTo>
                <a:lnTo>
                  <a:pt x="111" y="388"/>
                </a:lnTo>
                <a:cubicBezTo>
                  <a:pt x="104" y="369"/>
                  <a:pt x="99" y="353"/>
                  <a:pt x="95" y="341"/>
                </a:cubicBezTo>
                <a:cubicBezTo>
                  <a:pt x="92" y="356"/>
                  <a:pt x="89" y="370"/>
                  <a:pt x="84" y="385"/>
                </a:cubicBezTo>
                <a:lnTo>
                  <a:pt x="60" y="451"/>
                </a:lnTo>
                <a:close/>
                <a:moveTo>
                  <a:pt x="203" y="545"/>
                </a:moveTo>
                <a:lnTo>
                  <a:pt x="203" y="380"/>
                </a:lnTo>
                <a:lnTo>
                  <a:pt x="226" y="380"/>
                </a:lnTo>
                <a:lnTo>
                  <a:pt x="226" y="403"/>
                </a:lnTo>
                <a:cubicBezTo>
                  <a:pt x="238" y="385"/>
                  <a:pt x="254" y="377"/>
                  <a:pt x="275" y="377"/>
                </a:cubicBezTo>
                <a:cubicBezTo>
                  <a:pt x="284" y="377"/>
                  <a:pt x="293" y="378"/>
                  <a:pt x="301" y="382"/>
                </a:cubicBezTo>
                <a:cubicBezTo>
                  <a:pt x="308" y="385"/>
                  <a:pt x="314" y="390"/>
                  <a:pt x="318" y="396"/>
                </a:cubicBezTo>
                <a:cubicBezTo>
                  <a:pt x="322" y="402"/>
                  <a:pt x="325" y="409"/>
                  <a:pt x="326" y="416"/>
                </a:cubicBezTo>
                <a:cubicBezTo>
                  <a:pt x="327" y="422"/>
                  <a:pt x="328" y="431"/>
                  <a:pt x="328" y="444"/>
                </a:cubicBezTo>
                <a:lnTo>
                  <a:pt x="328" y="545"/>
                </a:lnTo>
                <a:lnTo>
                  <a:pt x="302" y="545"/>
                </a:lnTo>
                <a:lnTo>
                  <a:pt x="302" y="445"/>
                </a:lnTo>
                <a:cubicBezTo>
                  <a:pt x="302" y="433"/>
                  <a:pt x="301" y="425"/>
                  <a:pt x="299" y="419"/>
                </a:cubicBezTo>
                <a:cubicBezTo>
                  <a:pt x="297" y="414"/>
                  <a:pt x="293" y="409"/>
                  <a:pt x="288" y="406"/>
                </a:cubicBezTo>
                <a:cubicBezTo>
                  <a:pt x="283" y="402"/>
                  <a:pt x="277" y="401"/>
                  <a:pt x="270" y="401"/>
                </a:cubicBezTo>
                <a:cubicBezTo>
                  <a:pt x="259" y="401"/>
                  <a:pt x="249" y="404"/>
                  <a:pt x="241" y="412"/>
                </a:cubicBezTo>
                <a:cubicBezTo>
                  <a:pt x="233" y="419"/>
                  <a:pt x="229" y="434"/>
                  <a:pt x="229" y="455"/>
                </a:cubicBezTo>
                <a:lnTo>
                  <a:pt x="229" y="545"/>
                </a:lnTo>
                <a:lnTo>
                  <a:pt x="203" y="545"/>
                </a:lnTo>
                <a:close/>
                <a:moveTo>
                  <a:pt x="454" y="524"/>
                </a:moveTo>
                <a:cubicBezTo>
                  <a:pt x="444" y="533"/>
                  <a:pt x="435" y="539"/>
                  <a:pt x="426" y="543"/>
                </a:cubicBezTo>
                <a:cubicBezTo>
                  <a:pt x="417" y="546"/>
                  <a:pt x="408" y="548"/>
                  <a:pt x="397" y="548"/>
                </a:cubicBezTo>
                <a:cubicBezTo>
                  <a:pt x="381" y="548"/>
                  <a:pt x="368" y="544"/>
                  <a:pt x="359" y="535"/>
                </a:cubicBezTo>
                <a:cubicBezTo>
                  <a:pt x="349" y="526"/>
                  <a:pt x="345" y="515"/>
                  <a:pt x="345" y="501"/>
                </a:cubicBezTo>
                <a:cubicBezTo>
                  <a:pt x="345" y="493"/>
                  <a:pt x="347" y="486"/>
                  <a:pt x="350" y="479"/>
                </a:cubicBezTo>
                <a:cubicBezTo>
                  <a:pt x="353" y="473"/>
                  <a:pt x="358" y="467"/>
                  <a:pt x="363" y="463"/>
                </a:cubicBezTo>
                <a:cubicBezTo>
                  <a:pt x="369" y="459"/>
                  <a:pt x="375" y="456"/>
                  <a:pt x="382" y="454"/>
                </a:cubicBezTo>
                <a:cubicBezTo>
                  <a:pt x="387" y="453"/>
                  <a:pt x="395" y="451"/>
                  <a:pt x="405" y="450"/>
                </a:cubicBezTo>
                <a:cubicBezTo>
                  <a:pt x="426" y="447"/>
                  <a:pt x="442" y="444"/>
                  <a:pt x="452" y="440"/>
                </a:cubicBezTo>
                <a:cubicBezTo>
                  <a:pt x="452" y="437"/>
                  <a:pt x="452" y="434"/>
                  <a:pt x="452" y="433"/>
                </a:cubicBezTo>
                <a:cubicBezTo>
                  <a:pt x="452" y="422"/>
                  <a:pt x="450" y="414"/>
                  <a:pt x="445" y="409"/>
                </a:cubicBezTo>
                <a:cubicBezTo>
                  <a:pt x="438" y="403"/>
                  <a:pt x="428" y="400"/>
                  <a:pt x="415" y="400"/>
                </a:cubicBezTo>
                <a:cubicBezTo>
                  <a:pt x="403" y="400"/>
                  <a:pt x="394" y="402"/>
                  <a:pt x="388" y="407"/>
                </a:cubicBezTo>
                <a:cubicBezTo>
                  <a:pt x="382" y="411"/>
                  <a:pt x="378" y="419"/>
                  <a:pt x="375" y="431"/>
                </a:cubicBezTo>
                <a:lnTo>
                  <a:pt x="349" y="427"/>
                </a:lnTo>
                <a:cubicBezTo>
                  <a:pt x="352" y="416"/>
                  <a:pt x="355" y="406"/>
                  <a:pt x="361" y="399"/>
                </a:cubicBezTo>
                <a:cubicBezTo>
                  <a:pt x="366" y="392"/>
                  <a:pt x="374" y="386"/>
                  <a:pt x="384" y="382"/>
                </a:cubicBezTo>
                <a:cubicBezTo>
                  <a:pt x="394" y="378"/>
                  <a:pt x="406" y="377"/>
                  <a:pt x="419" y="377"/>
                </a:cubicBezTo>
                <a:cubicBezTo>
                  <a:pt x="432" y="377"/>
                  <a:pt x="443" y="378"/>
                  <a:pt x="451" y="381"/>
                </a:cubicBezTo>
                <a:cubicBezTo>
                  <a:pt x="459" y="385"/>
                  <a:pt x="465" y="389"/>
                  <a:pt x="469" y="394"/>
                </a:cubicBezTo>
                <a:cubicBezTo>
                  <a:pt x="473" y="399"/>
                  <a:pt x="475" y="405"/>
                  <a:pt x="477" y="413"/>
                </a:cubicBezTo>
                <a:cubicBezTo>
                  <a:pt x="478" y="418"/>
                  <a:pt x="478" y="426"/>
                  <a:pt x="478" y="439"/>
                </a:cubicBezTo>
                <a:lnTo>
                  <a:pt x="478" y="476"/>
                </a:lnTo>
                <a:cubicBezTo>
                  <a:pt x="478" y="502"/>
                  <a:pt x="479" y="518"/>
                  <a:pt x="480" y="525"/>
                </a:cubicBezTo>
                <a:cubicBezTo>
                  <a:pt x="481" y="532"/>
                  <a:pt x="483" y="538"/>
                  <a:pt x="486" y="545"/>
                </a:cubicBezTo>
                <a:lnTo>
                  <a:pt x="459" y="545"/>
                </a:lnTo>
                <a:cubicBezTo>
                  <a:pt x="456" y="539"/>
                  <a:pt x="455" y="532"/>
                  <a:pt x="454" y="524"/>
                </a:cubicBezTo>
                <a:close/>
                <a:moveTo>
                  <a:pt x="452" y="462"/>
                </a:moveTo>
                <a:cubicBezTo>
                  <a:pt x="443" y="466"/>
                  <a:pt x="428" y="470"/>
                  <a:pt x="409" y="473"/>
                </a:cubicBezTo>
                <a:cubicBezTo>
                  <a:pt x="399" y="474"/>
                  <a:pt x="391" y="476"/>
                  <a:pt x="387" y="478"/>
                </a:cubicBezTo>
                <a:cubicBezTo>
                  <a:pt x="382" y="480"/>
                  <a:pt x="379" y="483"/>
                  <a:pt x="376" y="487"/>
                </a:cubicBezTo>
                <a:cubicBezTo>
                  <a:pt x="374" y="491"/>
                  <a:pt x="373" y="496"/>
                  <a:pt x="373" y="501"/>
                </a:cubicBezTo>
                <a:cubicBezTo>
                  <a:pt x="373" y="508"/>
                  <a:pt x="375" y="514"/>
                  <a:pt x="381" y="519"/>
                </a:cubicBezTo>
                <a:cubicBezTo>
                  <a:pt x="386" y="524"/>
                  <a:pt x="394" y="526"/>
                  <a:pt x="404" y="526"/>
                </a:cubicBezTo>
                <a:cubicBezTo>
                  <a:pt x="414" y="526"/>
                  <a:pt x="423" y="524"/>
                  <a:pt x="430" y="519"/>
                </a:cubicBezTo>
                <a:cubicBezTo>
                  <a:pt x="438" y="515"/>
                  <a:pt x="444" y="508"/>
                  <a:pt x="448" y="500"/>
                </a:cubicBezTo>
                <a:cubicBezTo>
                  <a:pt x="450" y="494"/>
                  <a:pt x="452" y="485"/>
                  <a:pt x="452" y="472"/>
                </a:cubicBezTo>
                <a:lnTo>
                  <a:pt x="452" y="462"/>
                </a:lnTo>
                <a:close/>
                <a:moveTo>
                  <a:pt x="504" y="545"/>
                </a:moveTo>
                <a:lnTo>
                  <a:pt x="504" y="317"/>
                </a:lnTo>
                <a:lnTo>
                  <a:pt x="530" y="317"/>
                </a:lnTo>
                <a:lnTo>
                  <a:pt x="530" y="545"/>
                </a:lnTo>
                <a:lnTo>
                  <a:pt x="504" y="545"/>
                </a:lnTo>
                <a:close/>
                <a:moveTo>
                  <a:pt x="555" y="608"/>
                </a:moveTo>
                <a:lnTo>
                  <a:pt x="552" y="582"/>
                </a:lnTo>
                <a:cubicBezTo>
                  <a:pt x="558" y="584"/>
                  <a:pt x="563" y="585"/>
                  <a:pt x="567" y="585"/>
                </a:cubicBezTo>
                <a:cubicBezTo>
                  <a:pt x="573" y="585"/>
                  <a:pt x="578" y="584"/>
                  <a:pt x="581" y="582"/>
                </a:cubicBezTo>
                <a:cubicBezTo>
                  <a:pt x="585" y="580"/>
                  <a:pt x="587" y="577"/>
                  <a:pt x="590" y="573"/>
                </a:cubicBezTo>
                <a:cubicBezTo>
                  <a:pt x="591" y="570"/>
                  <a:pt x="594" y="563"/>
                  <a:pt x="598" y="552"/>
                </a:cubicBezTo>
                <a:cubicBezTo>
                  <a:pt x="598" y="551"/>
                  <a:pt x="599" y="548"/>
                  <a:pt x="600" y="545"/>
                </a:cubicBezTo>
                <a:lnTo>
                  <a:pt x="542" y="380"/>
                </a:lnTo>
                <a:lnTo>
                  <a:pt x="569" y="380"/>
                </a:lnTo>
                <a:lnTo>
                  <a:pt x="602" y="475"/>
                </a:lnTo>
                <a:cubicBezTo>
                  <a:pt x="606" y="487"/>
                  <a:pt x="609" y="500"/>
                  <a:pt x="613" y="513"/>
                </a:cubicBezTo>
                <a:cubicBezTo>
                  <a:pt x="616" y="501"/>
                  <a:pt x="619" y="488"/>
                  <a:pt x="623" y="476"/>
                </a:cubicBezTo>
                <a:lnTo>
                  <a:pt x="656" y="380"/>
                </a:lnTo>
                <a:lnTo>
                  <a:pt x="682" y="380"/>
                </a:lnTo>
                <a:lnTo>
                  <a:pt x="624" y="548"/>
                </a:lnTo>
                <a:cubicBezTo>
                  <a:pt x="618" y="566"/>
                  <a:pt x="613" y="578"/>
                  <a:pt x="609" y="585"/>
                </a:cubicBezTo>
                <a:cubicBezTo>
                  <a:pt x="605" y="594"/>
                  <a:pt x="599" y="601"/>
                  <a:pt x="594" y="605"/>
                </a:cubicBezTo>
                <a:cubicBezTo>
                  <a:pt x="587" y="609"/>
                  <a:pt x="580" y="611"/>
                  <a:pt x="572" y="611"/>
                </a:cubicBezTo>
                <a:cubicBezTo>
                  <a:pt x="567" y="611"/>
                  <a:pt x="561" y="610"/>
                  <a:pt x="555" y="608"/>
                </a:cubicBezTo>
                <a:close/>
                <a:moveTo>
                  <a:pt x="750" y="520"/>
                </a:moveTo>
                <a:lnTo>
                  <a:pt x="754" y="545"/>
                </a:lnTo>
                <a:cubicBezTo>
                  <a:pt x="746" y="546"/>
                  <a:pt x="740" y="547"/>
                  <a:pt x="734" y="547"/>
                </a:cubicBezTo>
                <a:cubicBezTo>
                  <a:pt x="725" y="547"/>
                  <a:pt x="717" y="545"/>
                  <a:pt x="712" y="542"/>
                </a:cubicBezTo>
                <a:cubicBezTo>
                  <a:pt x="707" y="539"/>
                  <a:pt x="703" y="535"/>
                  <a:pt x="701" y="530"/>
                </a:cubicBezTo>
                <a:cubicBezTo>
                  <a:pt x="699" y="524"/>
                  <a:pt x="698" y="513"/>
                  <a:pt x="698" y="497"/>
                </a:cubicBezTo>
                <a:lnTo>
                  <a:pt x="698" y="402"/>
                </a:lnTo>
                <a:lnTo>
                  <a:pt x="679" y="402"/>
                </a:lnTo>
                <a:lnTo>
                  <a:pt x="679" y="380"/>
                </a:lnTo>
                <a:lnTo>
                  <a:pt x="698" y="380"/>
                </a:lnTo>
                <a:lnTo>
                  <a:pt x="698" y="339"/>
                </a:lnTo>
                <a:lnTo>
                  <a:pt x="724" y="322"/>
                </a:lnTo>
                <a:lnTo>
                  <a:pt x="724" y="380"/>
                </a:lnTo>
                <a:lnTo>
                  <a:pt x="750" y="380"/>
                </a:lnTo>
                <a:lnTo>
                  <a:pt x="750" y="402"/>
                </a:lnTo>
                <a:lnTo>
                  <a:pt x="724" y="402"/>
                </a:lnTo>
                <a:lnTo>
                  <a:pt x="724" y="498"/>
                </a:lnTo>
                <a:cubicBezTo>
                  <a:pt x="724" y="506"/>
                  <a:pt x="724" y="511"/>
                  <a:pt x="725" y="514"/>
                </a:cubicBezTo>
                <a:cubicBezTo>
                  <a:pt x="726" y="516"/>
                  <a:pt x="728" y="518"/>
                  <a:pt x="730" y="519"/>
                </a:cubicBezTo>
                <a:cubicBezTo>
                  <a:pt x="732" y="520"/>
                  <a:pt x="735" y="521"/>
                  <a:pt x="739" y="521"/>
                </a:cubicBezTo>
                <a:cubicBezTo>
                  <a:pt x="742" y="521"/>
                  <a:pt x="745" y="521"/>
                  <a:pt x="750" y="520"/>
                </a:cubicBezTo>
                <a:close/>
                <a:moveTo>
                  <a:pt x="762" y="349"/>
                </a:moveTo>
                <a:lnTo>
                  <a:pt x="762" y="317"/>
                </a:lnTo>
                <a:lnTo>
                  <a:pt x="788" y="317"/>
                </a:lnTo>
                <a:lnTo>
                  <a:pt x="788" y="349"/>
                </a:lnTo>
                <a:lnTo>
                  <a:pt x="762" y="349"/>
                </a:lnTo>
                <a:close/>
                <a:moveTo>
                  <a:pt x="762" y="545"/>
                </a:moveTo>
                <a:lnTo>
                  <a:pt x="762" y="380"/>
                </a:lnTo>
                <a:lnTo>
                  <a:pt x="788" y="380"/>
                </a:lnTo>
                <a:lnTo>
                  <a:pt x="788" y="545"/>
                </a:lnTo>
                <a:lnTo>
                  <a:pt x="762" y="545"/>
                </a:lnTo>
                <a:close/>
                <a:moveTo>
                  <a:pt x="914" y="484"/>
                </a:moveTo>
                <a:lnTo>
                  <a:pt x="940" y="488"/>
                </a:lnTo>
                <a:cubicBezTo>
                  <a:pt x="937" y="507"/>
                  <a:pt x="930" y="522"/>
                  <a:pt x="918" y="532"/>
                </a:cubicBezTo>
                <a:cubicBezTo>
                  <a:pt x="907" y="543"/>
                  <a:pt x="893" y="548"/>
                  <a:pt x="876" y="548"/>
                </a:cubicBezTo>
                <a:cubicBezTo>
                  <a:pt x="855" y="548"/>
                  <a:pt x="838" y="541"/>
                  <a:pt x="825" y="526"/>
                </a:cubicBezTo>
                <a:cubicBezTo>
                  <a:pt x="813" y="512"/>
                  <a:pt x="806" y="490"/>
                  <a:pt x="806" y="463"/>
                </a:cubicBezTo>
                <a:cubicBezTo>
                  <a:pt x="806" y="445"/>
                  <a:pt x="809" y="430"/>
                  <a:pt x="814" y="416"/>
                </a:cubicBezTo>
                <a:cubicBezTo>
                  <a:pt x="820" y="403"/>
                  <a:pt x="828" y="393"/>
                  <a:pt x="839" y="387"/>
                </a:cubicBezTo>
                <a:cubicBezTo>
                  <a:pt x="851" y="380"/>
                  <a:pt x="863" y="377"/>
                  <a:pt x="876" y="377"/>
                </a:cubicBezTo>
                <a:cubicBezTo>
                  <a:pt x="893" y="377"/>
                  <a:pt x="906" y="381"/>
                  <a:pt x="917" y="390"/>
                </a:cubicBezTo>
                <a:cubicBezTo>
                  <a:pt x="927" y="399"/>
                  <a:pt x="934" y="412"/>
                  <a:pt x="937" y="429"/>
                </a:cubicBezTo>
                <a:lnTo>
                  <a:pt x="912" y="433"/>
                </a:lnTo>
                <a:cubicBezTo>
                  <a:pt x="910" y="422"/>
                  <a:pt x="905" y="413"/>
                  <a:pt x="899" y="408"/>
                </a:cubicBezTo>
                <a:cubicBezTo>
                  <a:pt x="893" y="402"/>
                  <a:pt x="886" y="399"/>
                  <a:pt x="877" y="399"/>
                </a:cubicBezTo>
                <a:cubicBezTo>
                  <a:pt x="864" y="399"/>
                  <a:pt x="853" y="404"/>
                  <a:pt x="845" y="414"/>
                </a:cubicBezTo>
                <a:cubicBezTo>
                  <a:pt x="837" y="425"/>
                  <a:pt x="833" y="440"/>
                  <a:pt x="833" y="462"/>
                </a:cubicBezTo>
                <a:cubicBezTo>
                  <a:pt x="833" y="484"/>
                  <a:pt x="837" y="500"/>
                  <a:pt x="845" y="510"/>
                </a:cubicBezTo>
                <a:cubicBezTo>
                  <a:pt x="853" y="520"/>
                  <a:pt x="863" y="525"/>
                  <a:pt x="876" y="525"/>
                </a:cubicBezTo>
                <a:cubicBezTo>
                  <a:pt x="886" y="525"/>
                  <a:pt x="894" y="522"/>
                  <a:pt x="901" y="515"/>
                </a:cubicBezTo>
                <a:cubicBezTo>
                  <a:pt x="908" y="509"/>
                  <a:pt x="912" y="498"/>
                  <a:pt x="914" y="484"/>
                </a:cubicBezTo>
                <a:close/>
                <a:moveTo>
                  <a:pt x="938" y="496"/>
                </a:moveTo>
                <a:lnTo>
                  <a:pt x="963" y="491"/>
                </a:lnTo>
                <a:cubicBezTo>
                  <a:pt x="965" y="502"/>
                  <a:pt x="969" y="511"/>
                  <a:pt x="975" y="517"/>
                </a:cubicBezTo>
                <a:cubicBezTo>
                  <a:pt x="982" y="522"/>
                  <a:pt x="991" y="525"/>
                  <a:pt x="1003" y="525"/>
                </a:cubicBezTo>
                <a:cubicBezTo>
                  <a:pt x="1015" y="525"/>
                  <a:pt x="1024" y="523"/>
                  <a:pt x="1030" y="518"/>
                </a:cubicBezTo>
                <a:cubicBezTo>
                  <a:pt x="1036" y="512"/>
                  <a:pt x="1039" y="506"/>
                  <a:pt x="1039" y="499"/>
                </a:cubicBezTo>
                <a:cubicBezTo>
                  <a:pt x="1039" y="493"/>
                  <a:pt x="1036" y="488"/>
                  <a:pt x="1031" y="484"/>
                </a:cubicBezTo>
                <a:cubicBezTo>
                  <a:pt x="1027" y="482"/>
                  <a:pt x="1018" y="479"/>
                  <a:pt x="1004" y="475"/>
                </a:cubicBezTo>
                <a:cubicBezTo>
                  <a:pt x="985" y="470"/>
                  <a:pt x="972" y="465"/>
                  <a:pt x="965" y="462"/>
                </a:cubicBezTo>
                <a:cubicBezTo>
                  <a:pt x="957" y="458"/>
                  <a:pt x="952" y="453"/>
                  <a:pt x="948" y="446"/>
                </a:cubicBezTo>
                <a:cubicBezTo>
                  <a:pt x="944" y="439"/>
                  <a:pt x="942" y="432"/>
                  <a:pt x="942" y="424"/>
                </a:cubicBezTo>
                <a:cubicBezTo>
                  <a:pt x="942" y="417"/>
                  <a:pt x="944" y="410"/>
                  <a:pt x="947" y="404"/>
                </a:cubicBezTo>
                <a:cubicBezTo>
                  <a:pt x="950" y="397"/>
                  <a:pt x="954" y="392"/>
                  <a:pt x="960" y="388"/>
                </a:cubicBezTo>
                <a:cubicBezTo>
                  <a:pt x="964" y="385"/>
                  <a:pt x="969" y="382"/>
                  <a:pt x="976" y="380"/>
                </a:cubicBezTo>
                <a:cubicBezTo>
                  <a:pt x="983" y="378"/>
                  <a:pt x="990" y="377"/>
                  <a:pt x="998" y="377"/>
                </a:cubicBezTo>
                <a:cubicBezTo>
                  <a:pt x="1011" y="377"/>
                  <a:pt x="1021" y="378"/>
                  <a:pt x="1030" y="382"/>
                </a:cubicBezTo>
                <a:cubicBezTo>
                  <a:pt x="1039" y="386"/>
                  <a:pt x="1046" y="391"/>
                  <a:pt x="1050" y="397"/>
                </a:cubicBezTo>
                <a:cubicBezTo>
                  <a:pt x="1055" y="404"/>
                  <a:pt x="1058" y="412"/>
                  <a:pt x="1059" y="423"/>
                </a:cubicBezTo>
                <a:lnTo>
                  <a:pt x="1034" y="427"/>
                </a:lnTo>
                <a:cubicBezTo>
                  <a:pt x="1033" y="418"/>
                  <a:pt x="1029" y="411"/>
                  <a:pt x="1024" y="407"/>
                </a:cubicBezTo>
                <a:cubicBezTo>
                  <a:pt x="1018" y="402"/>
                  <a:pt x="1010" y="399"/>
                  <a:pt x="1000" y="399"/>
                </a:cubicBezTo>
                <a:cubicBezTo>
                  <a:pt x="988" y="399"/>
                  <a:pt x="980" y="401"/>
                  <a:pt x="975" y="406"/>
                </a:cubicBezTo>
                <a:cubicBezTo>
                  <a:pt x="970" y="410"/>
                  <a:pt x="967" y="415"/>
                  <a:pt x="967" y="421"/>
                </a:cubicBezTo>
                <a:cubicBezTo>
                  <a:pt x="967" y="424"/>
                  <a:pt x="968" y="427"/>
                  <a:pt x="970" y="430"/>
                </a:cubicBezTo>
                <a:cubicBezTo>
                  <a:pt x="972" y="433"/>
                  <a:pt x="976" y="436"/>
                  <a:pt x="980" y="438"/>
                </a:cubicBezTo>
                <a:cubicBezTo>
                  <a:pt x="983" y="439"/>
                  <a:pt x="991" y="441"/>
                  <a:pt x="1003" y="445"/>
                </a:cubicBezTo>
                <a:cubicBezTo>
                  <a:pt x="1022" y="450"/>
                  <a:pt x="1034" y="455"/>
                  <a:pt x="1042" y="458"/>
                </a:cubicBezTo>
                <a:cubicBezTo>
                  <a:pt x="1049" y="461"/>
                  <a:pt x="1055" y="466"/>
                  <a:pt x="1059" y="472"/>
                </a:cubicBezTo>
                <a:cubicBezTo>
                  <a:pt x="1063" y="479"/>
                  <a:pt x="1065" y="487"/>
                  <a:pt x="1065" y="496"/>
                </a:cubicBezTo>
                <a:cubicBezTo>
                  <a:pt x="1065" y="506"/>
                  <a:pt x="1063" y="514"/>
                  <a:pt x="1058" y="523"/>
                </a:cubicBezTo>
                <a:cubicBezTo>
                  <a:pt x="1052" y="531"/>
                  <a:pt x="1045" y="537"/>
                  <a:pt x="1036" y="542"/>
                </a:cubicBezTo>
                <a:cubicBezTo>
                  <a:pt x="1026" y="546"/>
                  <a:pt x="1015" y="548"/>
                  <a:pt x="1003" y="548"/>
                </a:cubicBezTo>
                <a:cubicBezTo>
                  <a:pt x="983" y="548"/>
                  <a:pt x="968" y="544"/>
                  <a:pt x="958" y="535"/>
                </a:cubicBezTo>
                <a:cubicBezTo>
                  <a:pt x="947" y="526"/>
                  <a:pt x="941" y="513"/>
                  <a:pt x="938" y="496"/>
                </a:cubicBezTo>
                <a:close/>
                <a:moveTo>
                  <a:pt x="58" y="96"/>
                </a:moveTo>
                <a:lnTo>
                  <a:pt x="103" y="96"/>
                </a:lnTo>
                <a:cubicBezTo>
                  <a:pt x="116" y="96"/>
                  <a:pt x="125" y="95"/>
                  <a:pt x="130" y="93"/>
                </a:cubicBezTo>
                <a:cubicBezTo>
                  <a:pt x="137" y="91"/>
                  <a:pt x="143" y="87"/>
                  <a:pt x="146" y="82"/>
                </a:cubicBezTo>
                <a:cubicBezTo>
                  <a:pt x="150" y="76"/>
                  <a:pt x="152" y="70"/>
                  <a:pt x="152" y="62"/>
                </a:cubicBezTo>
                <a:cubicBezTo>
                  <a:pt x="152" y="54"/>
                  <a:pt x="150" y="47"/>
                  <a:pt x="147" y="42"/>
                </a:cubicBezTo>
                <a:cubicBezTo>
                  <a:pt x="143" y="36"/>
                  <a:pt x="138" y="32"/>
                  <a:pt x="132" y="30"/>
                </a:cubicBezTo>
                <a:cubicBezTo>
                  <a:pt x="126" y="28"/>
                  <a:pt x="115" y="27"/>
                  <a:pt x="100" y="27"/>
                </a:cubicBezTo>
                <a:lnTo>
                  <a:pt x="58" y="27"/>
                </a:lnTo>
                <a:lnTo>
                  <a:pt x="58" y="96"/>
                </a:lnTo>
                <a:close/>
                <a:moveTo>
                  <a:pt x="58" y="201"/>
                </a:moveTo>
                <a:lnTo>
                  <a:pt x="110" y="201"/>
                </a:lnTo>
                <a:cubicBezTo>
                  <a:pt x="120" y="201"/>
                  <a:pt x="126" y="200"/>
                  <a:pt x="130" y="200"/>
                </a:cubicBezTo>
                <a:cubicBezTo>
                  <a:pt x="136" y="198"/>
                  <a:pt x="141" y="196"/>
                  <a:pt x="146" y="193"/>
                </a:cubicBezTo>
                <a:cubicBezTo>
                  <a:pt x="150" y="190"/>
                  <a:pt x="154" y="186"/>
                  <a:pt x="156" y="181"/>
                </a:cubicBezTo>
                <a:cubicBezTo>
                  <a:pt x="159" y="175"/>
                  <a:pt x="161" y="169"/>
                  <a:pt x="161" y="161"/>
                </a:cubicBezTo>
                <a:cubicBezTo>
                  <a:pt x="161" y="153"/>
                  <a:pt x="159" y="146"/>
                  <a:pt x="155" y="139"/>
                </a:cubicBezTo>
                <a:cubicBezTo>
                  <a:pt x="150" y="133"/>
                  <a:pt x="145" y="129"/>
                  <a:pt x="138" y="126"/>
                </a:cubicBezTo>
                <a:cubicBezTo>
                  <a:pt x="130" y="123"/>
                  <a:pt x="120" y="122"/>
                  <a:pt x="107" y="122"/>
                </a:cubicBezTo>
                <a:lnTo>
                  <a:pt x="58" y="122"/>
                </a:lnTo>
                <a:lnTo>
                  <a:pt x="58" y="201"/>
                </a:lnTo>
                <a:close/>
                <a:moveTo>
                  <a:pt x="211" y="32"/>
                </a:moveTo>
                <a:lnTo>
                  <a:pt x="211" y="0"/>
                </a:lnTo>
                <a:lnTo>
                  <a:pt x="237" y="0"/>
                </a:lnTo>
                <a:lnTo>
                  <a:pt x="237" y="32"/>
                </a:lnTo>
                <a:lnTo>
                  <a:pt x="211" y="32"/>
                </a:lnTo>
                <a:close/>
                <a:moveTo>
                  <a:pt x="211" y="227"/>
                </a:moveTo>
                <a:lnTo>
                  <a:pt x="211" y="63"/>
                </a:lnTo>
                <a:lnTo>
                  <a:pt x="237" y="63"/>
                </a:lnTo>
                <a:lnTo>
                  <a:pt x="237" y="227"/>
                </a:lnTo>
                <a:lnTo>
                  <a:pt x="211" y="227"/>
                </a:lnTo>
                <a:close/>
                <a:moveTo>
                  <a:pt x="258" y="241"/>
                </a:moveTo>
                <a:lnTo>
                  <a:pt x="283" y="245"/>
                </a:lnTo>
                <a:cubicBezTo>
                  <a:pt x="284" y="253"/>
                  <a:pt x="287" y="259"/>
                  <a:pt x="292" y="263"/>
                </a:cubicBezTo>
                <a:cubicBezTo>
                  <a:pt x="299" y="268"/>
                  <a:pt x="307" y="271"/>
                  <a:pt x="319" y="271"/>
                </a:cubicBezTo>
                <a:cubicBezTo>
                  <a:pt x="331" y="271"/>
                  <a:pt x="340" y="268"/>
                  <a:pt x="347" y="263"/>
                </a:cubicBezTo>
                <a:cubicBezTo>
                  <a:pt x="353" y="258"/>
                  <a:pt x="358" y="251"/>
                  <a:pt x="360" y="241"/>
                </a:cubicBezTo>
                <a:cubicBezTo>
                  <a:pt x="361" y="236"/>
                  <a:pt x="362" y="224"/>
                  <a:pt x="362" y="206"/>
                </a:cubicBezTo>
                <a:cubicBezTo>
                  <a:pt x="350" y="220"/>
                  <a:pt x="336" y="227"/>
                  <a:pt x="319" y="227"/>
                </a:cubicBezTo>
                <a:cubicBezTo>
                  <a:pt x="298" y="227"/>
                  <a:pt x="282" y="219"/>
                  <a:pt x="270" y="203"/>
                </a:cubicBezTo>
                <a:cubicBezTo>
                  <a:pt x="259" y="186"/>
                  <a:pt x="253" y="167"/>
                  <a:pt x="253" y="144"/>
                </a:cubicBezTo>
                <a:cubicBezTo>
                  <a:pt x="253" y="128"/>
                  <a:pt x="256" y="114"/>
                  <a:pt x="261" y="101"/>
                </a:cubicBezTo>
                <a:cubicBezTo>
                  <a:pt x="266" y="87"/>
                  <a:pt x="274" y="77"/>
                  <a:pt x="284" y="70"/>
                </a:cubicBezTo>
                <a:cubicBezTo>
                  <a:pt x="294" y="63"/>
                  <a:pt x="306" y="59"/>
                  <a:pt x="319" y="59"/>
                </a:cubicBezTo>
                <a:cubicBezTo>
                  <a:pt x="337" y="59"/>
                  <a:pt x="352" y="67"/>
                  <a:pt x="364" y="83"/>
                </a:cubicBezTo>
                <a:lnTo>
                  <a:pt x="364" y="63"/>
                </a:lnTo>
                <a:lnTo>
                  <a:pt x="388" y="63"/>
                </a:lnTo>
                <a:lnTo>
                  <a:pt x="388" y="205"/>
                </a:lnTo>
                <a:cubicBezTo>
                  <a:pt x="388" y="230"/>
                  <a:pt x="386" y="249"/>
                  <a:pt x="381" y="259"/>
                </a:cubicBezTo>
                <a:cubicBezTo>
                  <a:pt x="376" y="270"/>
                  <a:pt x="368" y="278"/>
                  <a:pt x="358" y="285"/>
                </a:cubicBezTo>
                <a:cubicBezTo>
                  <a:pt x="347" y="291"/>
                  <a:pt x="334" y="294"/>
                  <a:pt x="319" y="294"/>
                </a:cubicBezTo>
                <a:cubicBezTo>
                  <a:pt x="300" y="294"/>
                  <a:pt x="286" y="290"/>
                  <a:pt x="275" y="281"/>
                </a:cubicBezTo>
                <a:cubicBezTo>
                  <a:pt x="263" y="272"/>
                  <a:pt x="258" y="259"/>
                  <a:pt x="258" y="241"/>
                </a:cubicBezTo>
                <a:close/>
                <a:moveTo>
                  <a:pt x="279" y="142"/>
                </a:moveTo>
                <a:cubicBezTo>
                  <a:pt x="279" y="164"/>
                  <a:pt x="283" y="179"/>
                  <a:pt x="291" y="189"/>
                </a:cubicBezTo>
                <a:cubicBezTo>
                  <a:pt x="300" y="199"/>
                  <a:pt x="310" y="204"/>
                  <a:pt x="322" y="204"/>
                </a:cubicBezTo>
                <a:cubicBezTo>
                  <a:pt x="334" y="204"/>
                  <a:pt x="344" y="199"/>
                  <a:pt x="352" y="189"/>
                </a:cubicBezTo>
                <a:cubicBezTo>
                  <a:pt x="360" y="180"/>
                  <a:pt x="364" y="164"/>
                  <a:pt x="364" y="143"/>
                </a:cubicBezTo>
                <a:cubicBezTo>
                  <a:pt x="364" y="123"/>
                  <a:pt x="360" y="108"/>
                  <a:pt x="351" y="97"/>
                </a:cubicBezTo>
                <a:cubicBezTo>
                  <a:pt x="343" y="87"/>
                  <a:pt x="333" y="82"/>
                  <a:pt x="321" y="82"/>
                </a:cubicBezTo>
                <a:cubicBezTo>
                  <a:pt x="310" y="82"/>
                  <a:pt x="300" y="87"/>
                  <a:pt x="292" y="97"/>
                </a:cubicBezTo>
                <a:cubicBezTo>
                  <a:pt x="284" y="107"/>
                  <a:pt x="279" y="122"/>
                  <a:pt x="279" y="142"/>
                </a:cubicBezTo>
                <a:close/>
                <a:moveTo>
                  <a:pt x="485" y="227"/>
                </a:moveTo>
                <a:lnTo>
                  <a:pt x="485" y="0"/>
                </a:lnTo>
                <a:lnTo>
                  <a:pt x="558" y="0"/>
                </a:lnTo>
                <a:cubicBezTo>
                  <a:pt x="575" y="0"/>
                  <a:pt x="587" y="1"/>
                  <a:pt x="596" y="3"/>
                </a:cubicBezTo>
                <a:cubicBezTo>
                  <a:pt x="608" y="6"/>
                  <a:pt x="619" y="12"/>
                  <a:pt x="627" y="19"/>
                </a:cubicBezTo>
                <a:cubicBezTo>
                  <a:pt x="638" y="30"/>
                  <a:pt x="647" y="43"/>
                  <a:pt x="652" y="58"/>
                </a:cubicBezTo>
                <a:cubicBezTo>
                  <a:pt x="658" y="74"/>
                  <a:pt x="660" y="92"/>
                  <a:pt x="660" y="112"/>
                </a:cubicBezTo>
                <a:cubicBezTo>
                  <a:pt x="660" y="130"/>
                  <a:pt x="659" y="145"/>
                  <a:pt x="655" y="158"/>
                </a:cubicBezTo>
                <a:cubicBezTo>
                  <a:pt x="651" y="172"/>
                  <a:pt x="646" y="183"/>
                  <a:pt x="640" y="191"/>
                </a:cubicBezTo>
                <a:cubicBezTo>
                  <a:pt x="634" y="200"/>
                  <a:pt x="628" y="207"/>
                  <a:pt x="621" y="212"/>
                </a:cubicBezTo>
                <a:cubicBezTo>
                  <a:pt x="614" y="217"/>
                  <a:pt x="606" y="221"/>
                  <a:pt x="596" y="223"/>
                </a:cubicBezTo>
                <a:cubicBezTo>
                  <a:pt x="586" y="226"/>
                  <a:pt x="575" y="227"/>
                  <a:pt x="562" y="227"/>
                </a:cubicBezTo>
                <a:lnTo>
                  <a:pt x="485" y="227"/>
                </a:lnTo>
                <a:close/>
                <a:moveTo>
                  <a:pt x="513" y="201"/>
                </a:moveTo>
                <a:lnTo>
                  <a:pt x="559" y="201"/>
                </a:lnTo>
                <a:cubicBezTo>
                  <a:pt x="573" y="201"/>
                  <a:pt x="584" y="199"/>
                  <a:pt x="591" y="196"/>
                </a:cubicBezTo>
                <a:cubicBezTo>
                  <a:pt x="599" y="194"/>
                  <a:pt x="606" y="190"/>
                  <a:pt x="610" y="185"/>
                </a:cubicBezTo>
                <a:cubicBezTo>
                  <a:pt x="617" y="178"/>
                  <a:pt x="622" y="168"/>
                  <a:pt x="626" y="156"/>
                </a:cubicBezTo>
                <a:cubicBezTo>
                  <a:pt x="630" y="144"/>
                  <a:pt x="631" y="129"/>
                  <a:pt x="631" y="112"/>
                </a:cubicBezTo>
                <a:cubicBezTo>
                  <a:pt x="631" y="88"/>
                  <a:pt x="628" y="70"/>
                  <a:pt x="621" y="57"/>
                </a:cubicBezTo>
                <a:cubicBezTo>
                  <a:pt x="613" y="44"/>
                  <a:pt x="605" y="36"/>
                  <a:pt x="594" y="31"/>
                </a:cubicBezTo>
                <a:cubicBezTo>
                  <a:pt x="587" y="28"/>
                  <a:pt x="575" y="27"/>
                  <a:pt x="558" y="27"/>
                </a:cubicBezTo>
                <a:lnTo>
                  <a:pt x="513" y="27"/>
                </a:lnTo>
                <a:lnTo>
                  <a:pt x="513" y="201"/>
                </a:lnTo>
                <a:close/>
                <a:moveTo>
                  <a:pt x="782" y="207"/>
                </a:moveTo>
                <a:cubicBezTo>
                  <a:pt x="773" y="215"/>
                  <a:pt x="763" y="222"/>
                  <a:pt x="754" y="225"/>
                </a:cubicBezTo>
                <a:cubicBezTo>
                  <a:pt x="745" y="229"/>
                  <a:pt x="736" y="231"/>
                  <a:pt x="726" y="231"/>
                </a:cubicBezTo>
                <a:cubicBezTo>
                  <a:pt x="709" y="231"/>
                  <a:pt x="696" y="226"/>
                  <a:pt x="687" y="218"/>
                </a:cubicBezTo>
                <a:cubicBezTo>
                  <a:pt x="678" y="209"/>
                  <a:pt x="673" y="198"/>
                  <a:pt x="673" y="184"/>
                </a:cubicBezTo>
                <a:cubicBezTo>
                  <a:pt x="673" y="176"/>
                  <a:pt x="675" y="168"/>
                  <a:pt x="678" y="162"/>
                </a:cubicBezTo>
                <a:cubicBezTo>
                  <a:pt x="682" y="155"/>
                  <a:pt x="686" y="150"/>
                  <a:pt x="692" y="146"/>
                </a:cubicBezTo>
                <a:cubicBezTo>
                  <a:pt x="697" y="142"/>
                  <a:pt x="703" y="139"/>
                  <a:pt x="710" y="137"/>
                </a:cubicBezTo>
                <a:cubicBezTo>
                  <a:pt x="716" y="135"/>
                  <a:pt x="723" y="134"/>
                  <a:pt x="734" y="132"/>
                </a:cubicBezTo>
                <a:cubicBezTo>
                  <a:pt x="755" y="130"/>
                  <a:pt x="770" y="127"/>
                  <a:pt x="780" y="123"/>
                </a:cubicBezTo>
                <a:cubicBezTo>
                  <a:pt x="780" y="119"/>
                  <a:pt x="780" y="117"/>
                  <a:pt x="780" y="116"/>
                </a:cubicBezTo>
                <a:cubicBezTo>
                  <a:pt x="780" y="104"/>
                  <a:pt x="778" y="96"/>
                  <a:pt x="773" y="92"/>
                </a:cubicBezTo>
                <a:cubicBezTo>
                  <a:pt x="766" y="85"/>
                  <a:pt x="756" y="82"/>
                  <a:pt x="743" y="82"/>
                </a:cubicBezTo>
                <a:cubicBezTo>
                  <a:pt x="731" y="82"/>
                  <a:pt x="722" y="85"/>
                  <a:pt x="716" y="89"/>
                </a:cubicBezTo>
                <a:cubicBezTo>
                  <a:pt x="710" y="94"/>
                  <a:pt x="706" y="102"/>
                  <a:pt x="703" y="114"/>
                </a:cubicBezTo>
                <a:lnTo>
                  <a:pt x="678" y="110"/>
                </a:lnTo>
                <a:cubicBezTo>
                  <a:pt x="680" y="98"/>
                  <a:pt x="684" y="89"/>
                  <a:pt x="689" y="81"/>
                </a:cubicBezTo>
                <a:cubicBezTo>
                  <a:pt x="694" y="74"/>
                  <a:pt x="702" y="69"/>
                  <a:pt x="712" y="65"/>
                </a:cubicBezTo>
                <a:cubicBezTo>
                  <a:pt x="722" y="61"/>
                  <a:pt x="734" y="59"/>
                  <a:pt x="747" y="59"/>
                </a:cubicBezTo>
                <a:cubicBezTo>
                  <a:pt x="760" y="59"/>
                  <a:pt x="771" y="61"/>
                  <a:pt x="779" y="64"/>
                </a:cubicBezTo>
                <a:cubicBezTo>
                  <a:pt x="787" y="67"/>
                  <a:pt x="793" y="71"/>
                  <a:pt x="797" y="76"/>
                </a:cubicBezTo>
                <a:cubicBezTo>
                  <a:pt x="801" y="82"/>
                  <a:pt x="804" y="88"/>
                  <a:pt x="805" y="96"/>
                </a:cubicBezTo>
                <a:cubicBezTo>
                  <a:pt x="806" y="100"/>
                  <a:pt x="806" y="109"/>
                  <a:pt x="806" y="121"/>
                </a:cubicBezTo>
                <a:lnTo>
                  <a:pt x="806" y="158"/>
                </a:lnTo>
                <a:cubicBezTo>
                  <a:pt x="806" y="184"/>
                  <a:pt x="807" y="200"/>
                  <a:pt x="808" y="207"/>
                </a:cubicBezTo>
                <a:cubicBezTo>
                  <a:pt x="809" y="214"/>
                  <a:pt x="811" y="221"/>
                  <a:pt x="814" y="227"/>
                </a:cubicBezTo>
                <a:lnTo>
                  <a:pt x="787" y="227"/>
                </a:lnTo>
                <a:cubicBezTo>
                  <a:pt x="785" y="221"/>
                  <a:pt x="783" y="215"/>
                  <a:pt x="782" y="207"/>
                </a:cubicBezTo>
                <a:close/>
                <a:moveTo>
                  <a:pt x="780" y="145"/>
                </a:moveTo>
                <a:cubicBezTo>
                  <a:pt x="771" y="149"/>
                  <a:pt x="756" y="152"/>
                  <a:pt x="738" y="155"/>
                </a:cubicBezTo>
                <a:cubicBezTo>
                  <a:pt x="727" y="157"/>
                  <a:pt x="719" y="159"/>
                  <a:pt x="715" y="161"/>
                </a:cubicBezTo>
                <a:cubicBezTo>
                  <a:pt x="710" y="163"/>
                  <a:pt x="707" y="166"/>
                  <a:pt x="705" y="170"/>
                </a:cubicBezTo>
                <a:cubicBezTo>
                  <a:pt x="702" y="174"/>
                  <a:pt x="701" y="178"/>
                  <a:pt x="701" y="183"/>
                </a:cubicBezTo>
                <a:cubicBezTo>
                  <a:pt x="701" y="190"/>
                  <a:pt x="703" y="197"/>
                  <a:pt x="709" y="201"/>
                </a:cubicBezTo>
                <a:cubicBezTo>
                  <a:pt x="714" y="206"/>
                  <a:pt x="722" y="209"/>
                  <a:pt x="732" y="209"/>
                </a:cubicBezTo>
                <a:cubicBezTo>
                  <a:pt x="742" y="209"/>
                  <a:pt x="751" y="207"/>
                  <a:pt x="759" y="202"/>
                </a:cubicBezTo>
                <a:cubicBezTo>
                  <a:pt x="766" y="197"/>
                  <a:pt x="772" y="191"/>
                  <a:pt x="776" y="183"/>
                </a:cubicBezTo>
                <a:cubicBezTo>
                  <a:pt x="779" y="176"/>
                  <a:pt x="780" y="167"/>
                  <a:pt x="780" y="155"/>
                </a:cubicBezTo>
                <a:lnTo>
                  <a:pt x="780" y="145"/>
                </a:lnTo>
                <a:close/>
                <a:moveTo>
                  <a:pt x="889" y="202"/>
                </a:moveTo>
                <a:lnTo>
                  <a:pt x="893" y="227"/>
                </a:lnTo>
                <a:cubicBezTo>
                  <a:pt x="885" y="229"/>
                  <a:pt x="879" y="230"/>
                  <a:pt x="873" y="230"/>
                </a:cubicBezTo>
                <a:cubicBezTo>
                  <a:pt x="864" y="230"/>
                  <a:pt x="856" y="228"/>
                  <a:pt x="851" y="225"/>
                </a:cubicBezTo>
                <a:cubicBezTo>
                  <a:pt x="846" y="221"/>
                  <a:pt x="842" y="217"/>
                  <a:pt x="840" y="212"/>
                </a:cubicBezTo>
                <a:cubicBezTo>
                  <a:pt x="838" y="207"/>
                  <a:pt x="837" y="196"/>
                  <a:pt x="837" y="179"/>
                </a:cubicBezTo>
                <a:lnTo>
                  <a:pt x="837" y="84"/>
                </a:lnTo>
                <a:lnTo>
                  <a:pt x="818" y="84"/>
                </a:lnTo>
                <a:lnTo>
                  <a:pt x="818" y="63"/>
                </a:lnTo>
                <a:lnTo>
                  <a:pt x="837" y="63"/>
                </a:lnTo>
                <a:lnTo>
                  <a:pt x="837" y="22"/>
                </a:lnTo>
                <a:lnTo>
                  <a:pt x="863" y="5"/>
                </a:lnTo>
                <a:lnTo>
                  <a:pt x="863" y="63"/>
                </a:lnTo>
                <a:lnTo>
                  <a:pt x="889" y="63"/>
                </a:lnTo>
                <a:lnTo>
                  <a:pt x="889" y="84"/>
                </a:lnTo>
                <a:lnTo>
                  <a:pt x="863" y="84"/>
                </a:lnTo>
                <a:lnTo>
                  <a:pt x="863" y="181"/>
                </a:lnTo>
                <a:cubicBezTo>
                  <a:pt x="863" y="189"/>
                  <a:pt x="864" y="194"/>
                  <a:pt x="865" y="196"/>
                </a:cubicBezTo>
                <a:cubicBezTo>
                  <a:pt x="865" y="198"/>
                  <a:pt x="867" y="200"/>
                  <a:pt x="869" y="201"/>
                </a:cubicBezTo>
                <a:cubicBezTo>
                  <a:pt x="871" y="203"/>
                  <a:pt x="874" y="203"/>
                  <a:pt x="878" y="203"/>
                </a:cubicBezTo>
                <a:cubicBezTo>
                  <a:pt x="881" y="203"/>
                  <a:pt x="885" y="203"/>
                  <a:pt x="889" y="202"/>
                </a:cubicBezTo>
                <a:close/>
                <a:moveTo>
                  <a:pt x="1003" y="207"/>
                </a:moveTo>
                <a:cubicBezTo>
                  <a:pt x="993" y="215"/>
                  <a:pt x="984" y="222"/>
                  <a:pt x="975" y="225"/>
                </a:cubicBezTo>
                <a:cubicBezTo>
                  <a:pt x="966" y="229"/>
                  <a:pt x="956" y="231"/>
                  <a:pt x="946" y="231"/>
                </a:cubicBezTo>
                <a:cubicBezTo>
                  <a:pt x="929" y="231"/>
                  <a:pt x="916" y="226"/>
                  <a:pt x="907" y="218"/>
                </a:cubicBezTo>
                <a:cubicBezTo>
                  <a:pt x="898" y="209"/>
                  <a:pt x="894" y="198"/>
                  <a:pt x="894" y="184"/>
                </a:cubicBezTo>
                <a:cubicBezTo>
                  <a:pt x="894" y="176"/>
                  <a:pt x="895" y="168"/>
                  <a:pt x="899" y="162"/>
                </a:cubicBezTo>
                <a:cubicBezTo>
                  <a:pt x="902" y="155"/>
                  <a:pt x="907" y="150"/>
                  <a:pt x="912" y="146"/>
                </a:cubicBezTo>
                <a:cubicBezTo>
                  <a:pt x="918" y="142"/>
                  <a:pt x="924" y="139"/>
                  <a:pt x="931" y="137"/>
                </a:cubicBezTo>
                <a:cubicBezTo>
                  <a:pt x="936" y="135"/>
                  <a:pt x="944" y="134"/>
                  <a:pt x="954" y="132"/>
                </a:cubicBezTo>
                <a:cubicBezTo>
                  <a:pt x="975" y="130"/>
                  <a:pt x="991" y="127"/>
                  <a:pt x="1001" y="123"/>
                </a:cubicBezTo>
                <a:cubicBezTo>
                  <a:pt x="1001" y="119"/>
                  <a:pt x="1001" y="117"/>
                  <a:pt x="1001" y="116"/>
                </a:cubicBezTo>
                <a:cubicBezTo>
                  <a:pt x="1001" y="104"/>
                  <a:pt x="998" y="96"/>
                  <a:pt x="993" y="92"/>
                </a:cubicBezTo>
                <a:cubicBezTo>
                  <a:pt x="987" y="85"/>
                  <a:pt x="977" y="82"/>
                  <a:pt x="964" y="82"/>
                </a:cubicBezTo>
                <a:cubicBezTo>
                  <a:pt x="951" y="82"/>
                  <a:pt x="942" y="85"/>
                  <a:pt x="937" y="89"/>
                </a:cubicBezTo>
                <a:cubicBezTo>
                  <a:pt x="931" y="94"/>
                  <a:pt x="926" y="102"/>
                  <a:pt x="924" y="114"/>
                </a:cubicBezTo>
                <a:lnTo>
                  <a:pt x="898" y="110"/>
                </a:lnTo>
                <a:cubicBezTo>
                  <a:pt x="900" y="98"/>
                  <a:pt x="904" y="89"/>
                  <a:pt x="910" y="81"/>
                </a:cubicBezTo>
                <a:cubicBezTo>
                  <a:pt x="915" y="74"/>
                  <a:pt x="923" y="69"/>
                  <a:pt x="933" y="65"/>
                </a:cubicBezTo>
                <a:cubicBezTo>
                  <a:pt x="943" y="61"/>
                  <a:pt x="954" y="59"/>
                  <a:pt x="968" y="59"/>
                </a:cubicBezTo>
                <a:cubicBezTo>
                  <a:pt x="981" y="59"/>
                  <a:pt x="991" y="61"/>
                  <a:pt x="1000" y="64"/>
                </a:cubicBezTo>
                <a:cubicBezTo>
                  <a:pt x="1008" y="67"/>
                  <a:pt x="1014" y="71"/>
                  <a:pt x="1018" y="76"/>
                </a:cubicBezTo>
                <a:cubicBezTo>
                  <a:pt x="1022" y="82"/>
                  <a:pt x="1024" y="88"/>
                  <a:pt x="1026" y="96"/>
                </a:cubicBezTo>
                <a:cubicBezTo>
                  <a:pt x="1027" y="100"/>
                  <a:pt x="1027" y="109"/>
                  <a:pt x="1027" y="121"/>
                </a:cubicBezTo>
                <a:lnTo>
                  <a:pt x="1027" y="158"/>
                </a:lnTo>
                <a:cubicBezTo>
                  <a:pt x="1027" y="184"/>
                  <a:pt x="1028" y="200"/>
                  <a:pt x="1029" y="207"/>
                </a:cubicBezTo>
                <a:cubicBezTo>
                  <a:pt x="1030" y="214"/>
                  <a:pt x="1032" y="221"/>
                  <a:pt x="1035" y="227"/>
                </a:cubicBezTo>
                <a:lnTo>
                  <a:pt x="1008" y="227"/>
                </a:lnTo>
                <a:cubicBezTo>
                  <a:pt x="1005" y="221"/>
                  <a:pt x="1004" y="215"/>
                  <a:pt x="1003" y="207"/>
                </a:cubicBezTo>
                <a:close/>
                <a:moveTo>
                  <a:pt x="1001" y="145"/>
                </a:moveTo>
                <a:cubicBezTo>
                  <a:pt x="991" y="149"/>
                  <a:pt x="977" y="152"/>
                  <a:pt x="958" y="155"/>
                </a:cubicBezTo>
                <a:cubicBezTo>
                  <a:pt x="947" y="157"/>
                  <a:pt x="940" y="159"/>
                  <a:pt x="935" y="161"/>
                </a:cubicBezTo>
                <a:cubicBezTo>
                  <a:pt x="931" y="163"/>
                  <a:pt x="928" y="166"/>
                  <a:pt x="925" y="170"/>
                </a:cubicBezTo>
                <a:cubicBezTo>
                  <a:pt x="923" y="174"/>
                  <a:pt x="922" y="178"/>
                  <a:pt x="922" y="183"/>
                </a:cubicBezTo>
                <a:cubicBezTo>
                  <a:pt x="922" y="190"/>
                  <a:pt x="924" y="197"/>
                  <a:pt x="929" y="201"/>
                </a:cubicBezTo>
                <a:cubicBezTo>
                  <a:pt x="935" y="206"/>
                  <a:pt x="942" y="209"/>
                  <a:pt x="952" y="209"/>
                </a:cubicBezTo>
                <a:cubicBezTo>
                  <a:pt x="962" y="209"/>
                  <a:pt x="971" y="207"/>
                  <a:pt x="979" y="202"/>
                </a:cubicBezTo>
                <a:cubicBezTo>
                  <a:pt x="987" y="197"/>
                  <a:pt x="993" y="191"/>
                  <a:pt x="996" y="183"/>
                </a:cubicBezTo>
                <a:cubicBezTo>
                  <a:pt x="999" y="176"/>
                  <a:pt x="1001" y="167"/>
                  <a:pt x="1001" y="155"/>
                </a:cubicBezTo>
                <a:lnTo>
                  <a:pt x="1001" y="1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6" name="Freeform 96">
            <a:extLst>
              <a:ext uri="{FF2B5EF4-FFF2-40B4-BE49-F238E27FC236}">
                <a16:creationId xmlns:a16="http://schemas.microsoft.com/office/drawing/2014/main" id="{1769D3D2-427F-4A52-9FB0-A0DBB485DF8E}"/>
              </a:ext>
            </a:extLst>
          </p:cNvPr>
          <p:cNvSpPr>
            <a:spLocks noEditPoints="1"/>
          </p:cNvSpPr>
          <p:nvPr/>
        </p:nvSpPr>
        <p:spPr bwMode="auto">
          <a:xfrm>
            <a:off x="8093076" y="6083301"/>
            <a:ext cx="431800" cy="198438"/>
          </a:xfrm>
          <a:custGeom>
            <a:avLst/>
            <a:gdLst>
              <a:gd name="T0" fmla="*/ 289 w 1198"/>
              <a:gd name="T1" fmla="*/ 201 h 548"/>
              <a:gd name="T2" fmla="*/ 56 w 1198"/>
              <a:gd name="T3" fmla="*/ 545 h 548"/>
              <a:gd name="T4" fmla="*/ 70 w 1198"/>
              <a:gd name="T5" fmla="*/ 513 h 548"/>
              <a:gd name="T6" fmla="*/ 184 w 1198"/>
              <a:gd name="T7" fmla="*/ 433 h 548"/>
              <a:gd name="T8" fmla="*/ 273 w 1198"/>
              <a:gd name="T9" fmla="*/ 317 h 548"/>
              <a:gd name="T10" fmla="*/ 136 w 1198"/>
              <a:gd name="T11" fmla="*/ 345 h 548"/>
              <a:gd name="T12" fmla="*/ 260 w 1198"/>
              <a:gd name="T13" fmla="*/ 462 h 548"/>
              <a:gd name="T14" fmla="*/ 404 w 1198"/>
              <a:gd name="T15" fmla="*/ 460 h 548"/>
              <a:gd name="T16" fmla="*/ 280 w 1198"/>
              <a:gd name="T17" fmla="*/ 526 h 548"/>
              <a:gd name="T18" fmla="*/ 332 w 1198"/>
              <a:gd name="T19" fmla="*/ 525 h 548"/>
              <a:gd name="T20" fmla="*/ 332 w 1198"/>
              <a:gd name="T21" fmla="*/ 400 h 548"/>
              <a:gd name="T22" fmla="*/ 420 w 1198"/>
              <a:gd name="T23" fmla="*/ 380 h 548"/>
              <a:gd name="T24" fmla="*/ 477 w 1198"/>
              <a:gd name="T25" fmla="*/ 377 h 548"/>
              <a:gd name="T26" fmla="*/ 460 w 1198"/>
              <a:gd name="T27" fmla="*/ 411 h 548"/>
              <a:gd name="T28" fmla="*/ 420 w 1198"/>
              <a:gd name="T29" fmla="*/ 545 h 548"/>
              <a:gd name="T30" fmla="*/ 532 w 1198"/>
              <a:gd name="T31" fmla="*/ 447 h 548"/>
              <a:gd name="T32" fmla="*/ 633 w 1198"/>
              <a:gd name="T33" fmla="*/ 545 h 548"/>
              <a:gd name="T34" fmla="*/ 532 w 1198"/>
              <a:gd name="T35" fmla="*/ 545 h 548"/>
              <a:gd name="T36" fmla="*/ 623 w 1198"/>
              <a:gd name="T37" fmla="*/ 402 h 548"/>
              <a:gd name="T38" fmla="*/ 649 w 1198"/>
              <a:gd name="T39" fmla="*/ 338 h 548"/>
              <a:gd name="T40" fmla="*/ 709 w 1198"/>
              <a:gd name="T41" fmla="*/ 341 h 548"/>
              <a:gd name="T42" fmla="*/ 672 w 1198"/>
              <a:gd name="T43" fmla="*/ 380 h 548"/>
              <a:gd name="T44" fmla="*/ 672 w 1198"/>
              <a:gd name="T45" fmla="*/ 545 h 548"/>
              <a:gd name="T46" fmla="*/ 763 w 1198"/>
              <a:gd name="T47" fmla="*/ 377 h 548"/>
              <a:gd name="T48" fmla="*/ 800 w 1198"/>
              <a:gd name="T49" fmla="*/ 538 h 548"/>
              <a:gd name="T50" fmla="*/ 718 w 1198"/>
              <a:gd name="T51" fmla="*/ 462 h 548"/>
              <a:gd name="T52" fmla="*/ 808 w 1198"/>
              <a:gd name="T53" fmla="*/ 462 h 548"/>
              <a:gd name="T54" fmla="*/ 718 w 1198"/>
              <a:gd name="T55" fmla="*/ 462 h 548"/>
              <a:gd name="T56" fmla="*/ 874 w 1198"/>
              <a:gd name="T57" fmla="*/ 405 h 548"/>
              <a:gd name="T58" fmla="*/ 925 w 1198"/>
              <a:gd name="T59" fmla="*/ 411 h 548"/>
              <a:gd name="T60" fmla="*/ 877 w 1198"/>
              <a:gd name="T61" fmla="*/ 459 h 548"/>
              <a:gd name="T62" fmla="*/ 1057 w 1198"/>
              <a:gd name="T63" fmla="*/ 488 h 548"/>
              <a:gd name="T64" fmla="*/ 924 w 1198"/>
              <a:gd name="T65" fmla="*/ 463 h 548"/>
              <a:gd name="T66" fmla="*/ 1035 w 1198"/>
              <a:gd name="T67" fmla="*/ 390 h 548"/>
              <a:gd name="T68" fmla="*/ 995 w 1198"/>
              <a:gd name="T69" fmla="*/ 399 h 548"/>
              <a:gd name="T70" fmla="*/ 993 w 1198"/>
              <a:gd name="T71" fmla="*/ 525 h 548"/>
              <a:gd name="T72" fmla="*/ 1197 w 1198"/>
              <a:gd name="T73" fmla="*/ 495 h 548"/>
              <a:gd name="T74" fmla="*/ 1057 w 1198"/>
              <a:gd name="T75" fmla="*/ 464 h 548"/>
              <a:gd name="T76" fmla="*/ 1198 w 1198"/>
              <a:gd name="T77" fmla="*/ 462 h 548"/>
              <a:gd name="T78" fmla="*/ 1130 w 1198"/>
              <a:gd name="T79" fmla="*/ 525 h 548"/>
              <a:gd name="T80" fmla="*/ 1171 w 1198"/>
              <a:gd name="T81" fmla="*/ 447 h 548"/>
              <a:gd name="T82" fmla="*/ 1085 w 1198"/>
              <a:gd name="T83" fmla="*/ 447 h 548"/>
              <a:gd name="T84" fmla="*/ 435 w 1198"/>
              <a:gd name="T85" fmla="*/ 32 h 548"/>
              <a:gd name="T86" fmla="*/ 435 w 1198"/>
              <a:gd name="T87" fmla="*/ 63 h 548"/>
              <a:gd name="T88" fmla="*/ 559 w 1198"/>
              <a:gd name="T89" fmla="*/ 210 h 548"/>
              <a:gd name="T90" fmla="*/ 452 w 1198"/>
              <a:gd name="T91" fmla="*/ 143 h 548"/>
              <a:gd name="T92" fmla="*/ 562 w 1198"/>
              <a:gd name="T93" fmla="*/ 85 h 548"/>
              <a:gd name="T94" fmla="*/ 559 w 1198"/>
              <a:gd name="T95" fmla="*/ 290 h 548"/>
              <a:gd name="T96" fmla="*/ 550 w 1198"/>
              <a:gd name="T97" fmla="*/ 193 h 548"/>
              <a:gd name="T98" fmla="*/ 491 w 1198"/>
              <a:gd name="T99" fmla="*/ 96 h 548"/>
              <a:gd name="T100" fmla="*/ 664 w 1198"/>
              <a:gd name="T101" fmla="*/ 231 h 548"/>
              <a:gd name="T102" fmla="*/ 611 w 1198"/>
              <a:gd name="T103" fmla="*/ 164 h 548"/>
              <a:gd name="T104" fmla="*/ 639 w 1198"/>
              <a:gd name="T105" fmla="*/ 183 h 548"/>
              <a:gd name="T106" fmla="*/ 705 w 1198"/>
              <a:gd name="T107" fmla="*/ 183 h 548"/>
              <a:gd name="T108" fmla="*/ 736 w 1198"/>
              <a:gd name="T109" fmla="*/ 227 h 548"/>
              <a:gd name="T110" fmla="*/ 789 w 1198"/>
              <a:gd name="T111" fmla="*/ 0 h 548"/>
              <a:gd name="T112" fmla="*/ 763 w 1198"/>
              <a:gd name="T113" fmla="*/ 63 h 548"/>
              <a:gd name="T114" fmla="*/ 914 w 1198"/>
              <a:gd name="T115" fmla="*/ 227 h 548"/>
              <a:gd name="T116" fmla="*/ 813 w 1198"/>
              <a:gd name="T117" fmla="*/ 190 h 548"/>
              <a:gd name="T118" fmla="*/ 870 w 1198"/>
              <a:gd name="T119" fmla="*/ 59 h 548"/>
              <a:gd name="T120" fmla="*/ 938 w 1198"/>
              <a:gd name="T121" fmla="*/ 0 h 548"/>
              <a:gd name="T122" fmla="*/ 844 w 1198"/>
              <a:gd name="T123" fmla="*/ 192 h 548"/>
              <a:gd name="T124" fmla="*/ 902 w 1198"/>
              <a:gd name="T125" fmla="*/ 98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98" h="548">
                <a:moveTo>
                  <a:pt x="261" y="227"/>
                </a:moveTo>
                <a:lnTo>
                  <a:pt x="261" y="0"/>
                </a:lnTo>
                <a:lnTo>
                  <a:pt x="289" y="0"/>
                </a:lnTo>
                <a:lnTo>
                  <a:pt x="289" y="201"/>
                </a:lnTo>
                <a:lnTo>
                  <a:pt x="393" y="201"/>
                </a:lnTo>
                <a:lnTo>
                  <a:pt x="393" y="227"/>
                </a:lnTo>
                <a:lnTo>
                  <a:pt x="261" y="227"/>
                </a:lnTo>
                <a:close/>
                <a:moveTo>
                  <a:pt x="56" y="545"/>
                </a:moveTo>
                <a:lnTo>
                  <a:pt x="0" y="317"/>
                </a:lnTo>
                <a:lnTo>
                  <a:pt x="30" y="317"/>
                </a:lnTo>
                <a:lnTo>
                  <a:pt x="61" y="467"/>
                </a:lnTo>
                <a:cubicBezTo>
                  <a:pt x="65" y="482"/>
                  <a:pt x="68" y="498"/>
                  <a:pt x="70" y="513"/>
                </a:cubicBezTo>
                <a:cubicBezTo>
                  <a:pt x="76" y="489"/>
                  <a:pt x="79" y="475"/>
                  <a:pt x="80" y="471"/>
                </a:cubicBezTo>
                <a:lnTo>
                  <a:pt x="120" y="317"/>
                </a:lnTo>
                <a:lnTo>
                  <a:pt x="154" y="317"/>
                </a:lnTo>
                <a:lnTo>
                  <a:pt x="184" y="433"/>
                </a:lnTo>
                <a:cubicBezTo>
                  <a:pt x="192" y="461"/>
                  <a:pt x="197" y="488"/>
                  <a:pt x="201" y="513"/>
                </a:cubicBezTo>
                <a:cubicBezTo>
                  <a:pt x="204" y="499"/>
                  <a:pt x="207" y="482"/>
                  <a:pt x="212" y="464"/>
                </a:cubicBezTo>
                <a:lnTo>
                  <a:pt x="245" y="317"/>
                </a:lnTo>
                <a:lnTo>
                  <a:pt x="273" y="317"/>
                </a:lnTo>
                <a:lnTo>
                  <a:pt x="215" y="545"/>
                </a:lnTo>
                <a:lnTo>
                  <a:pt x="188" y="545"/>
                </a:lnTo>
                <a:lnTo>
                  <a:pt x="143" y="372"/>
                </a:lnTo>
                <a:cubicBezTo>
                  <a:pt x="140" y="357"/>
                  <a:pt x="137" y="348"/>
                  <a:pt x="136" y="345"/>
                </a:cubicBezTo>
                <a:cubicBezTo>
                  <a:pt x="134" y="355"/>
                  <a:pt x="132" y="364"/>
                  <a:pt x="130" y="372"/>
                </a:cubicBezTo>
                <a:lnTo>
                  <a:pt x="86" y="545"/>
                </a:lnTo>
                <a:lnTo>
                  <a:pt x="56" y="545"/>
                </a:lnTo>
                <a:close/>
                <a:moveTo>
                  <a:pt x="260" y="462"/>
                </a:moveTo>
                <a:cubicBezTo>
                  <a:pt x="260" y="432"/>
                  <a:pt x="268" y="409"/>
                  <a:pt x="284" y="395"/>
                </a:cubicBezTo>
                <a:cubicBezTo>
                  <a:pt x="297" y="383"/>
                  <a:pt x="313" y="377"/>
                  <a:pt x="332" y="377"/>
                </a:cubicBezTo>
                <a:cubicBezTo>
                  <a:pt x="353" y="377"/>
                  <a:pt x="371" y="384"/>
                  <a:pt x="384" y="399"/>
                </a:cubicBezTo>
                <a:cubicBezTo>
                  <a:pt x="397" y="414"/>
                  <a:pt x="404" y="434"/>
                  <a:pt x="404" y="460"/>
                </a:cubicBezTo>
                <a:cubicBezTo>
                  <a:pt x="404" y="481"/>
                  <a:pt x="401" y="498"/>
                  <a:pt x="395" y="510"/>
                </a:cubicBezTo>
                <a:cubicBezTo>
                  <a:pt x="389" y="522"/>
                  <a:pt x="381" y="532"/>
                  <a:pt x="369" y="538"/>
                </a:cubicBezTo>
                <a:cubicBezTo>
                  <a:pt x="358" y="545"/>
                  <a:pt x="346" y="548"/>
                  <a:pt x="332" y="548"/>
                </a:cubicBezTo>
                <a:cubicBezTo>
                  <a:pt x="311" y="548"/>
                  <a:pt x="293" y="541"/>
                  <a:pt x="280" y="526"/>
                </a:cubicBezTo>
                <a:cubicBezTo>
                  <a:pt x="267" y="511"/>
                  <a:pt x="260" y="490"/>
                  <a:pt x="260" y="462"/>
                </a:cubicBezTo>
                <a:close/>
                <a:moveTo>
                  <a:pt x="287" y="462"/>
                </a:moveTo>
                <a:cubicBezTo>
                  <a:pt x="287" y="484"/>
                  <a:pt x="291" y="499"/>
                  <a:pt x="300" y="510"/>
                </a:cubicBezTo>
                <a:cubicBezTo>
                  <a:pt x="308" y="520"/>
                  <a:pt x="319" y="525"/>
                  <a:pt x="332" y="525"/>
                </a:cubicBezTo>
                <a:cubicBezTo>
                  <a:pt x="345" y="525"/>
                  <a:pt x="356" y="520"/>
                  <a:pt x="365" y="510"/>
                </a:cubicBezTo>
                <a:cubicBezTo>
                  <a:pt x="373" y="499"/>
                  <a:pt x="377" y="483"/>
                  <a:pt x="377" y="462"/>
                </a:cubicBezTo>
                <a:cubicBezTo>
                  <a:pt x="377" y="441"/>
                  <a:pt x="373" y="426"/>
                  <a:pt x="364" y="415"/>
                </a:cubicBezTo>
                <a:cubicBezTo>
                  <a:pt x="356" y="405"/>
                  <a:pt x="345" y="400"/>
                  <a:pt x="332" y="400"/>
                </a:cubicBezTo>
                <a:cubicBezTo>
                  <a:pt x="319" y="400"/>
                  <a:pt x="308" y="405"/>
                  <a:pt x="300" y="415"/>
                </a:cubicBezTo>
                <a:cubicBezTo>
                  <a:pt x="291" y="426"/>
                  <a:pt x="287" y="441"/>
                  <a:pt x="287" y="462"/>
                </a:cubicBezTo>
                <a:close/>
                <a:moveTo>
                  <a:pt x="420" y="545"/>
                </a:moveTo>
                <a:lnTo>
                  <a:pt x="420" y="380"/>
                </a:lnTo>
                <a:lnTo>
                  <a:pt x="444" y="380"/>
                </a:lnTo>
                <a:lnTo>
                  <a:pt x="444" y="405"/>
                </a:lnTo>
                <a:cubicBezTo>
                  <a:pt x="450" y="394"/>
                  <a:pt x="455" y="386"/>
                  <a:pt x="460" y="382"/>
                </a:cubicBezTo>
                <a:cubicBezTo>
                  <a:pt x="466" y="378"/>
                  <a:pt x="471" y="377"/>
                  <a:pt x="477" y="377"/>
                </a:cubicBezTo>
                <a:cubicBezTo>
                  <a:pt x="486" y="377"/>
                  <a:pt x="495" y="379"/>
                  <a:pt x="504" y="385"/>
                </a:cubicBezTo>
                <a:lnTo>
                  <a:pt x="495" y="411"/>
                </a:lnTo>
                <a:cubicBezTo>
                  <a:pt x="488" y="407"/>
                  <a:pt x="482" y="405"/>
                  <a:pt x="476" y="405"/>
                </a:cubicBezTo>
                <a:cubicBezTo>
                  <a:pt x="470" y="405"/>
                  <a:pt x="465" y="407"/>
                  <a:pt x="460" y="411"/>
                </a:cubicBezTo>
                <a:cubicBezTo>
                  <a:pt x="456" y="415"/>
                  <a:pt x="453" y="420"/>
                  <a:pt x="451" y="426"/>
                </a:cubicBezTo>
                <a:cubicBezTo>
                  <a:pt x="448" y="436"/>
                  <a:pt x="447" y="447"/>
                  <a:pt x="447" y="459"/>
                </a:cubicBezTo>
                <a:lnTo>
                  <a:pt x="447" y="545"/>
                </a:lnTo>
                <a:lnTo>
                  <a:pt x="420" y="545"/>
                </a:lnTo>
                <a:close/>
                <a:moveTo>
                  <a:pt x="506" y="545"/>
                </a:moveTo>
                <a:lnTo>
                  <a:pt x="506" y="317"/>
                </a:lnTo>
                <a:lnTo>
                  <a:pt x="532" y="317"/>
                </a:lnTo>
                <a:lnTo>
                  <a:pt x="532" y="447"/>
                </a:lnTo>
                <a:lnTo>
                  <a:pt x="593" y="380"/>
                </a:lnTo>
                <a:lnTo>
                  <a:pt x="627" y="380"/>
                </a:lnTo>
                <a:lnTo>
                  <a:pt x="568" y="441"/>
                </a:lnTo>
                <a:lnTo>
                  <a:pt x="633" y="545"/>
                </a:lnTo>
                <a:lnTo>
                  <a:pt x="601" y="545"/>
                </a:lnTo>
                <a:lnTo>
                  <a:pt x="550" y="461"/>
                </a:lnTo>
                <a:lnTo>
                  <a:pt x="532" y="479"/>
                </a:lnTo>
                <a:lnTo>
                  <a:pt x="532" y="545"/>
                </a:lnTo>
                <a:lnTo>
                  <a:pt x="506" y="545"/>
                </a:lnTo>
                <a:close/>
                <a:moveTo>
                  <a:pt x="646" y="545"/>
                </a:moveTo>
                <a:lnTo>
                  <a:pt x="646" y="402"/>
                </a:lnTo>
                <a:lnTo>
                  <a:pt x="623" y="402"/>
                </a:lnTo>
                <a:lnTo>
                  <a:pt x="623" y="380"/>
                </a:lnTo>
                <a:lnTo>
                  <a:pt x="646" y="380"/>
                </a:lnTo>
                <a:lnTo>
                  <a:pt x="646" y="363"/>
                </a:lnTo>
                <a:cubicBezTo>
                  <a:pt x="646" y="351"/>
                  <a:pt x="647" y="343"/>
                  <a:pt x="649" y="338"/>
                </a:cubicBezTo>
                <a:cubicBezTo>
                  <a:pt x="651" y="331"/>
                  <a:pt x="655" y="325"/>
                  <a:pt x="662" y="320"/>
                </a:cubicBezTo>
                <a:cubicBezTo>
                  <a:pt x="668" y="316"/>
                  <a:pt x="677" y="314"/>
                  <a:pt x="688" y="314"/>
                </a:cubicBezTo>
                <a:cubicBezTo>
                  <a:pt x="696" y="314"/>
                  <a:pt x="704" y="315"/>
                  <a:pt x="712" y="316"/>
                </a:cubicBezTo>
                <a:lnTo>
                  <a:pt x="709" y="341"/>
                </a:lnTo>
                <a:cubicBezTo>
                  <a:pt x="703" y="340"/>
                  <a:pt x="698" y="339"/>
                  <a:pt x="693" y="339"/>
                </a:cubicBezTo>
                <a:cubicBezTo>
                  <a:pt x="685" y="339"/>
                  <a:pt x="680" y="341"/>
                  <a:pt x="676" y="345"/>
                </a:cubicBezTo>
                <a:cubicBezTo>
                  <a:pt x="673" y="348"/>
                  <a:pt x="672" y="355"/>
                  <a:pt x="672" y="365"/>
                </a:cubicBezTo>
                <a:lnTo>
                  <a:pt x="672" y="380"/>
                </a:lnTo>
                <a:lnTo>
                  <a:pt x="701" y="380"/>
                </a:lnTo>
                <a:lnTo>
                  <a:pt x="701" y="402"/>
                </a:lnTo>
                <a:lnTo>
                  <a:pt x="672" y="402"/>
                </a:lnTo>
                <a:lnTo>
                  <a:pt x="672" y="545"/>
                </a:lnTo>
                <a:lnTo>
                  <a:pt x="646" y="545"/>
                </a:lnTo>
                <a:close/>
                <a:moveTo>
                  <a:pt x="691" y="462"/>
                </a:moveTo>
                <a:cubicBezTo>
                  <a:pt x="691" y="432"/>
                  <a:pt x="699" y="409"/>
                  <a:pt x="715" y="395"/>
                </a:cubicBezTo>
                <a:cubicBezTo>
                  <a:pt x="728" y="383"/>
                  <a:pt x="744" y="377"/>
                  <a:pt x="763" y="377"/>
                </a:cubicBezTo>
                <a:cubicBezTo>
                  <a:pt x="784" y="377"/>
                  <a:pt x="801" y="384"/>
                  <a:pt x="815" y="399"/>
                </a:cubicBezTo>
                <a:cubicBezTo>
                  <a:pt x="828" y="414"/>
                  <a:pt x="835" y="434"/>
                  <a:pt x="835" y="460"/>
                </a:cubicBezTo>
                <a:cubicBezTo>
                  <a:pt x="835" y="481"/>
                  <a:pt x="832" y="498"/>
                  <a:pt x="826" y="510"/>
                </a:cubicBezTo>
                <a:cubicBezTo>
                  <a:pt x="820" y="522"/>
                  <a:pt x="811" y="532"/>
                  <a:pt x="800" y="538"/>
                </a:cubicBezTo>
                <a:cubicBezTo>
                  <a:pt x="789" y="545"/>
                  <a:pt x="776" y="548"/>
                  <a:pt x="763" y="548"/>
                </a:cubicBezTo>
                <a:cubicBezTo>
                  <a:pt x="741" y="548"/>
                  <a:pt x="724" y="541"/>
                  <a:pt x="711" y="526"/>
                </a:cubicBezTo>
                <a:cubicBezTo>
                  <a:pt x="698" y="511"/>
                  <a:pt x="691" y="490"/>
                  <a:pt x="691" y="462"/>
                </a:cubicBezTo>
                <a:close/>
                <a:moveTo>
                  <a:pt x="718" y="462"/>
                </a:moveTo>
                <a:cubicBezTo>
                  <a:pt x="718" y="484"/>
                  <a:pt x="722" y="499"/>
                  <a:pt x="730" y="510"/>
                </a:cubicBezTo>
                <a:cubicBezTo>
                  <a:pt x="739" y="520"/>
                  <a:pt x="750" y="525"/>
                  <a:pt x="763" y="525"/>
                </a:cubicBezTo>
                <a:cubicBezTo>
                  <a:pt x="776" y="525"/>
                  <a:pt x="787" y="520"/>
                  <a:pt x="795" y="510"/>
                </a:cubicBezTo>
                <a:cubicBezTo>
                  <a:pt x="804" y="499"/>
                  <a:pt x="808" y="483"/>
                  <a:pt x="808" y="462"/>
                </a:cubicBezTo>
                <a:cubicBezTo>
                  <a:pt x="808" y="441"/>
                  <a:pt x="804" y="426"/>
                  <a:pt x="795" y="415"/>
                </a:cubicBezTo>
                <a:cubicBezTo>
                  <a:pt x="786" y="405"/>
                  <a:pt x="776" y="400"/>
                  <a:pt x="763" y="400"/>
                </a:cubicBezTo>
                <a:cubicBezTo>
                  <a:pt x="750" y="400"/>
                  <a:pt x="739" y="405"/>
                  <a:pt x="730" y="415"/>
                </a:cubicBezTo>
                <a:cubicBezTo>
                  <a:pt x="722" y="426"/>
                  <a:pt x="718" y="441"/>
                  <a:pt x="718" y="462"/>
                </a:cubicBezTo>
                <a:close/>
                <a:moveTo>
                  <a:pt x="851" y="545"/>
                </a:moveTo>
                <a:lnTo>
                  <a:pt x="851" y="380"/>
                </a:lnTo>
                <a:lnTo>
                  <a:pt x="874" y="380"/>
                </a:lnTo>
                <a:lnTo>
                  <a:pt x="874" y="405"/>
                </a:lnTo>
                <a:cubicBezTo>
                  <a:pt x="880" y="394"/>
                  <a:pt x="886" y="386"/>
                  <a:pt x="891" y="382"/>
                </a:cubicBezTo>
                <a:cubicBezTo>
                  <a:pt x="896" y="378"/>
                  <a:pt x="902" y="377"/>
                  <a:pt x="908" y="377"/>
                </a:cubicBezTo>
                <a:cubicBezTo>
                  <a:pt x="917" y="377"/>
                  <a:pt x="925" y="379"/>
                  <a:pt x="935" y="385"/>
                </a:cubicBezTo>
                <a:lnTo>
                  <a:pt x="925" y="411"/>
                </a:lnTo>
                <a:cubicBezTo>
                  <a:pt x="919" y="407"/>
                  <a:pt x="913" y="405"/>
                  <a:pt x="906" y="405"/>
                </a:cubicBezTo>
                <a:cubicBezTo>
                  <a:pt x="901" y="405"/>
                  <a:pt x="896" y="407"/>
                  <a:pt x="891" y="411"/>
                </a:cubicBezTo>
                <a:cubicBezTo>
                  <a:pt x="887" y="415"/>
                  <a:pt x="883" y="420"/>
                  <a:pt x="881" y="426"/>
                </a:cubicBezTo>
                <a:cubicBezTo>
                  <a:pt x="879" y="436"/>
                  <a:pt x="877" y="447"/>
                  <a:pt x="877" y="459"/>
                </a:cubicBezTo>
                <a:lnTo>
                  <a:pt x="877" y="545"/>
                </a:lnTo>
                <a:lnTo>
                  <a:pt x="851" y="545"/>
                </a:lnTo>
                <a:close/>
                <a:moveTo>
                  <a:pt x="1032" y="484"/>
                </a:moveTo>
                <a:lnTo>
                  <a:pt x="1057" y="488"/>
                </a:lnTo>
                <a:cubicBezTo>
                  <a:pt x="1055" y="507"/>
                  <a:pt x="1048" y="522"/>
                  <a:pt x="1036" y="532"/>
                </a:cubicBezTo>
                <a:cubicBezTo>
                  <a:pt x="1025" y="543"/>
                  <a:pt x="1010" y="548"/>
                  <a:pt x="994" y="548"/>
                </a:cubicBezTo>
                <a:cubicBezTo>
                  <a:pt x="973" y="548"/>
                  <a:pt x="956" y="541"/>
                  <a:pt x="943" y="526"/>
                </a:cubicBezTo>
                <a:cubicBezTo>
                  <a:pt x="930" y="512"/>
                  <a:pt x="924" y="490"/>
                  <a:pt x="924" y="463"/>
                </a:cubicBezTo>
                <a:cubicBezTo>
                  <a:pt x="924" y="445"/>
                  <a:pt x="927" y="430"/>
                  <a:pt x="932" y="416"/>
                </a:cubicBezTo>
                <a:cubicBezTo>
                  <a:pt x="938" y="403"/>
                  <a:pt x="946" y="393"/>
                  <a:pt x="957" y="387"/>
                </a:cubicBezTo>
                <a:cubicBezTo>
                  <a:pt x="968" y="380"/>
                  <a:pt x="981" y="377"/>
                  <a:pt x="994" y="377"/>
                </a:cubicBezTo>
                <a:cubicBezTo>
                  <a:pt x="1010" y="377"/>
                  <a:pt x="1024" y="381"/>
                  <a:pt x="1035" y="390"/>
                </a:cubicBezTo>
                <a:cubicBezTo>
                  <a:pt x="1045" y="399"/>
                  <a:pt x="1052" y="412"/>
                  <a:pt x="1055" y="429"/>
                </a:cubicBezTo>
                <a:lnTo>
                  <a:pt x="1030" y="433"/>
                </a:lnTo>
                <a:cubicBezTo>
                  <a:pt x="1027" y="422"/>
                  <a:pt x="1023" y="413"/>
                  <a:pt x="1017" y="408"/>
                </a:cubicBezTo>
                <a:cubicBezTo>
                  <a:pt x="1011" y="402"/>
                  <a:pt x="1004" y="399"/>
                  <a:pt x="995" y="399"/>
                </a:cubicBezTo>
                <a:cubicBezTo>
                  <a:pt x="982" y="399"/>
                  <a:pt x="971" y="404"/>
                  <a:pt x="963" y="414"/>
                </a:cubicBezTo>
                <a:cubicBezTo>
                  <a:pt x="955" y="425"/>
                  <a:pt x="951" y="440"/>
                  <a:pt x="951" y="462"/>
                </a:cubicBezTo>
                <a:cubicBezTo>
                  <a:pt x="951" y="484"/>
                  <a:pt x="955" y="500"/>
                  <a:pt x="962" y="510"/>
                </a:cubicBezTo>
                <a:cubicBezTo>
                  <a:pt x="970" y="520"/>
                  <a:pt x="981" y="525"/>
                  <a:pt x="993" y="525"/>
                </a:cubicBezTo>
                <a:cubicBezTo>
                  <a:pt x="1004" y="525"/>
                  <a:pt x="1012" y="522"/>
                  <a:pt x="1019" y="515"/>
                </a:cubicBezTo>
                <a:cubicBezTo>
                  <a:pt x="1026" y="509"/>
                  <a:pt x="1030" y="498"/>
                  <a:pt x="1032" y="484"/>
                </a:cubicBezTo>
                <a:close/>
                <a:moveTo>
                  <a:pt x="1171" y="491"/>
                </a:moveTo>
                <a:lnTo>
                  <a:pt x="1197" y="495"/>
                </a:lnTo>
                <a:cubicBezTo>
                  <a:pt x="1193" y="512"/>
                  <a:pt x="1185" y="525"/>
                  <a:pt x="1174" y="534"/>
                </a:cubicBezTo>
                <a:cubicBezTo>
                  <a:pt x="1163" y="544"/>
                  <a:pt x="1148" y="548"/>
                  <a:pt x="1130" y="548"/>
                </a:cubicBezTo>
                <a:cubicBezTo>
                  <a:pt x="1108" y="548"/>
                  <a:pt x="1090" y="541"/>
                  <a:pt x="1077" y="526"/>
                </a:cubicBezTo>
                <a:cubicBezTo>
                  <a:pt x="1064" y="511"/>
                  <a:pt x="1057" y="491"/>
                  <a:pt x="1057" y="464"/>
                </a:cubicBezTo>
                <a:cubicBezTo>
                  <a:pt x="1057" y="436"/>
                  <a:pt x="1064" y="415"/>
                  <a:pt x="1077" y="399"/>
                </a:cubicBezTo>
                <a:cubicBezTo>
                  <a:pt x="1090" y="384"/>
                  <a:pt x="1108" y="377"/>
                  <a:pt x="1129" y="377"/>
                </a:cubicBezTo>
                <a:cubicBezTo>
                  <a:pt x="1149" y="377"/>
                  <a:pt x="1166" y="384"/>
                  <a:pt x="1179" y="399"/>
                </a:cubicBezTo>
                <a:cubicBezTo>
                  <a:pt x="1192" y="414"/>
                  <a:pt x="1198" y="435"/>
                  <a:pt x="1198" y="462"/>
                </a:cubicBezTo>
                <a:cubicBezTo>
                  <a:pt x="1198" y="464"/>
                  <a:pt x="1198" y="466"/>
                  <a:pt x="1198" y="470"/>
                </a:cubicBezTo>
                <a:lnTo>
                  <a:pt x="1084" y="470"/>
                </a:lnTo>
                <a:cubicBezTo>
                  <a:pt x="1085" y="488"/>
                  <a:pt x="1090" y="501"/>
                  <a:pt x="1098" y="511"/>
                </a:cubicBezTo>
                <a:cubicBezTo>
                  <a:pt x="1107" y="521"/>
                  <a:pt x="1117" y="525"/>
                  <a:pt x="1130" y="525"/>
                </a:cubicBezTo>
                <a:cubicBezTo>
                  <a:pt x="1140" y="525"/>
                  <a:pt x="1148" y="523"/>
                  <a:pt x="1155" y="517"/>
                </a:cubicBezTo>
                <a:cubicBezTo>
                  <a:pt x="1161" y="512"/>
                  <a:pt x="1167" y="503"/>
                  <a:pt x="1171" y="491"/>
                </a:cubicBezTo>
                <a:close/>
                <a:moveTo>
                  <a:pt x="1085" y="447"/>
                </a:moveTo>
                <a:lnTo>
                  <a:pt x="1171" y="447"/>
                </a:lnTo>
                <a:cubicBezTo>
                  <a:pt x="1170" y="433"/>
                  <a:pt x="1166" y="422"/>
                  <a:pt x="1161" y="416"/>
                </a:cubicBezTo>
                <a:cubicBezTo>
                  <a:pt x="1153" y="405"/>
                  <a:pt x="1142" y="399"/>
                  <a:pt x="1129" y="399"/>
                </a:cubicBezTo>
                <a:cubicBezTo>
                  <a:pt x="1117" y="399"/>
                  <a:pt x="1107" y="404"/>
                  <a:pt x="1099" y="412"/>
                </a:cubicBezTo>
                <a:cubicBezTo>
                  <a:pt x="1091" y="421"/>
                  <a:pt x="1086" y="432"/>
                  <a:pt x="1085" y="447"/>
                </a:cubicBezTo>
                <a:close/>
                <a:moveTo>
                  <a:pt x="409" y="32"/>
                </a:moveTo>
                <a:lnTo>
                  <a:pt x="409" y="0"/>
                </a:lnTo>
                <a:lnTo>
                  <a:pt x="435" y="0"/>
                </a:lnTo>
                <a:lnTo>
                  <a:pt x="435" y="32"/>
                </a:lnTo>
                <a:lnTo>
                  <a:pt x="409" y="32"/>
                </a:lnTo>
                <a:close/>
                <a:moveTo>
                  <a:pt x="409" y="227"/>
                </a:moveTo>
                <a:lnTo>
                  <a:pt x="409" y="63"/>
                </a:lnTo>
                <a:lnTo>
                  <a:pt x="435" y="63"/>
                </a:lnTo>
                <a:lnTo>
                  <a:pt x="435" y="227"/>
                </a:lnTo>
                <a:lnTo>
                  <a:pt x="409" y="227"/>
                </a:lnTo>
                <a:close/>
                <a:moveTo>
                  <a:pt x="559" y="290"/>
                </a:moveTo>
                <a:lnTo>
                  <a:pt x="559" y="210"/>
                </a:lnTo>
                <a:cubicBezTo>
                  <a:pt x="555" y="216"/>
                  <a:pt x="549" y="221"/>
                  <a:pt x="542" y="225"/>
                </a:cubicBezTo>
                <a:cubicBezTo>
                  <a:pt x="535" y="229"/>
                  <a:pt x="527" y="231"/>
                  <a:pt x="519" y="231"/>
                </a:cubicBezTo>
                <a:cubicBezTo>
                  <a:pt x="501" y="231"/>
                  <a:pt x="485" y="223"/>
                  <a:pt x="472" y="207"/>
                </a:cubicBezTo>
                <a:cubicBezTo>
                  <a:pt x="459" y="192"/>
                  <a:pt x="452" y="170"/>
                  <a:pt x="452" y="143"/>
                </a:cubicBezTo>
                <a:cubicBezTo>
                  <a:pt x="452" y="127"/>
                  <a:pt x="455" y="112"/>
                  <a:pt x="460" y="99"/>
                </a:cubicBezTo>
                <a:cubicBezTo>
                  <a:pt x="466" y="86"/>
                  <a:pt x="473" y="76"/>
                  <a:pt x="484" y="69"/>
                </a:cubicBezTo>
                <a:cubicBezTo>
                  <a:pt x="494" y="62"/>
                  <a:pt x="505" y="59"/>
                  <a:pt x="517" y="59"/>
                </a:cubicBezTo>
                <a:cubicBezTo>
                  <a:pt x="536" y="59"/>
                  <a:pt x="551" y="68"/>
                  <a:pt x="562" y="85"/>
                </a:cubicBezTo>
                <a:lnTo>
                  <a:pt x="562" y="63"/>
                </a:lnTo>
                <a:lnTo>
                  <a:pt x="585" y="63"/>
                </a:lnTo>
                <a:lnTo>
                  <a:pt x="585" y="290"/>
                </a:lnTo>
                <a:lnTo>
                  <a:pt x="559" y="290"/>
                </a:lnTo>
                <a:close/>
                <a:moveTo>
                  <a:pt x="479" y="144"/>
                </a:moveTo>
                <a:cubicBezTo>
                  <a:pt x="479" y="166"/>
                  <a:pt x="483" y="181"/>
                  <a:pt x="491" y="192"/>
                </a:cubicBezTo>
                <a:cubicBezTo>
                  <a:pt x="500" y="203"/>
                  <a:pt x="510" y="208"/>
                  <a:pt x="521" y="208"/>
                </a:cubicBezTo>
                <a:cubicBezTo>
                  <a:pt x="532" y="208"/>
                  <a:pt x="542" y="203"/>
                  <a:pt x="550" y="193"/>
                </a:cubicBezTo>
                <a:cubicBezTo>
                  <a:pt x="558" y="183"/>
                  <a:pt x="562" y="167"/>
                  <a:pt x="562" y="147"/>
                </a:cubicBezTo>
                <a:cubicBezTo>
                  <a:pt x="562" y="125"/>
                  <a:pt x="558" y="109"/>
                  <a:pt x="549" y="97"/>
                </a:cubicBezTo>
                <a:cubicBezTo>
                  <a:pt x="541" y="86"/>
                  <a:pt x="531" y="81"/>
                  <a:pt x="519" y="81"/>
                </a:cubicBezTo>
                <a:cubicBezTo>
                  <a:pt x="508" y="81"/>
                  <a:pt x="499" y="86"/>
                  <a:pt x="491" y="96"/>
                </a:cubicBezTo>
                <a:cubicBezTo>
                  <a:pt x="483" y="107"/>
                  <a:pt x="479" y="123"/>
                  <a:pt x="479" y="144"/>
                </a:cubicBezTo>
                <a:close/>
                <a:moveTo>
                  <a:pt x="712" y="227"/>
                </a:moveTo>
                <a:lnTo>
                  <a:pt x="712" y="203"/>
                </a:lnTo>
                <a:cubicBezTo>
                  <a:pt x="700" y="221"/>
                  <a:pt x="684" y="231"/>
                  <a:pt x="664" y="231"/>
                </a:cubicBezTo>
                <a:cubicBezTo>
                  <a:pt x="655" y="231"/>
                  <a:pt x="646" y="229"/>
                  <a:pt x="639" y="225"/>
                </a:cubicBezTo>
                <a:cubicBezTo>
                  <a:pt x="631" y="221"/>
                  <a:pt x="625" y="217"/>
                  <a:pt x="621" y="211"/>
                </a:cubicBezTo>
                <a:cubicBezTo>
                  <a:pt x="617" y="206"/>
                  <a:pt x="615" y="199"/>
                  <a:pt x="613" y="191"/>
                </a:cubicBezTo>
                <a:cubicBezTo>
                  <a:pt x="612" y="185"/>
                  <a:pt x="611" y="176"/>
                  <a:pt x="611" y="164"/>
                </a:cubicBezTo>
                <a:lnTo>
                  <a:pt x="611" y="63"/>
                </a:lnTo>
                <a:lnTo>
                  <a:pt x="638" y="63"/>
                </a:lnTo>
                <a:lnTo>
                  <a:pt x="638" y="154"/>
                </a:lnTo>
                <a:cubicBezTo>
                  <a:pt x="638" y="168"/>
                  <a:pt x="638" y="178"/>
                  <a:pt x="639" y="183"/>
                </a:cubicBezTo>
                <a:cubicBezTo>
                  <a:pt x="641" y="190"/>
                  <a:pt x="644" y="196"/>
                  <a:pt x="650" y="200"/>
                </a:cubicBezTo>
                <a:cubicBezTo>
                  <a:pt x="655" y="205"/>
                  <a:pt x="661" y="207"/>
                  <a:pt x="669" y="207"/>
                </a:cubicBezTo>
                <a:cubicBezTo>
                  <a:pt x="677" y="207"/>
                  <a:pt x="684" y="205"/>
                  <a:pt x="691" y="200"/>
                </a:cubicBezTo>
                <a:cubicBezTo>
                  <a:pt x="698" y="196"/>
                  <a:pt x="703" y="190"/>
                  <a:pt x="705" y="183"/>
                </a:cubicBezTo>
                <a:cubicBezTo>
                  <a:pt x="708" y="175"/>
                  <a:pt x="710" y="165"/>
                  <a:pt x="710" y="151"/>
                </a:cubicBezTo>
                <a:lnTo>
                  <a:pt x="710" y="63"/>
                </a:lnTo>
                <a:lnTo>
                  <a:pt x="736" y="63"/>
                </a:lnTo>
                <a:lnTo>
                  <a:pt x="736" y="227"/>
                </a:lnTo>
                <a:lnTo>
                  <a:pt x="712" y="227"/>
                </a:lnTo>
                <a:close/>
                <a:moveTo>
                  <a:pt x="763" y="32"/>
                </a:moveTo>
                <a:lnTo>
                  <a:pt x="763" y="0"/>
                </a:lnTo>
                <a:lnTo>
                  <a:pt x="789" y="0"/>
                </a:lnTo>
                <a:lnTo>
                  <a:pt x="789" y="32"/>
                </a:lnTo>
                <a:lnTo>
                  <a:pt x="763" y="32"/>
                </a:lnTo>
                <a:close/>
                <a:moveTo>
                  <a:pt x="763" y="227"/>
                </a:moveTo>
                <a:lnTo>
                  <a:pt x="763" y="63"/>
                </a:lnTo>
                <a:lnTo>
                  <a:pt x="789" y="63"/>
                </a:lnTo>
                <a:lnTo>
                  <a:pt x="789" y="227"/>
                </a:lnTo>
                <a:lnTo>
                  <a:pt x="763" y="227"/>
                </a:lnTo>
                <a:close/>
                <a:moveTo>
                  <a:pt x="914" y="227"/>
                </a:moveTo>
                <a:lnTo>
                  <a:pt x="914" y="206"/>
                </a:lnTo>
                <a:cubicBezTo>
                  <a:pt x="904" y="223"/>
                  <a:pt x="890" y="231"/>
                  <a:pt x="871" y="231"/>
                </a:cubicBezTo>
                <a:cubicBezTo>
                  <a:pt x="859" y="231"/>
                  <a:pt x="847" y="227"/>
                  <a:pt x="837" y="220"/>
                </a:cubicBezTo>
                <a:cubicBezTo>
                  <a:pt x="827" y="213"/>
                  <a:pt x="819" y="203"/>
                  <a:pt x="813" y="190"/>
                </a:cubicBezTo>
                <a:cubicBezTo>
                  <a:pt x="808" y="177"/>
                  <a:pt x="805" y="162"/>
                  <a:pt x="805" y="145"/>
                </a:cubicBezTo>
                <a:cubicBezTo>
                  <a:pt x="805" y="129"/>
                  <a:pt x="808" y="114"/>
                  <a:pt x="813" y="100"/>
                </a:cubicBezTo>
                <a:cubicBezTo>
                  <a:pt x="818" y="87"/>
                  <a:pt x="825" y="77"/>
                  <a:pt x="836" y="70"/>
                </a:cubicBezTo>
                <a:cubicBezTo>
                  <a:pt x="846" y="63"/>
                  <a:pt x="857" y="59"/>
                  <a:pt x="870" y="59"/>
                </a:cubicBezTo>
                <a:cubicBezTo>
                  <a:pt x="879" y="59"/>
                  <a:pt x="887" y="61"/>
                  <a:pt x="894" y="65"/>
                </a:cubicBezTo>
                <a:cubicBezTo>
                  <a:pt x="902" y="69"/>
                  <a:pt x="908" y="75"/>
                  <a:pt x="912" y="82"/>
                </a:cubicBezTo>
                <a:lnTo>
                  <a:pt x="912" y="0"/>
                </a:lnTo>
                <a:lnTo>
                  <a:pt x="938" y="0"/>
                </a:lnTo>
                <a:lnTo>
                  <a:pt x="938" y="227"/>
                </a:lnTo>
                <a:lnTo>
                  <a:pt x="914" y="227"/>
                </a:lnTo>
                <a:close/>
                <a:moveTo>
                  <a:pt x="832" y="145"/>
                </a:moveTo>
                <a:cubicBezTo>
                  <a:pt x="832" y="166"/>
                  <a:pt x="836" y="182"/>
                  <a:pt x="844" y="192"/>
                </a:cubicBezTo>
                <a:cubicBezTo>
                  <a:pt x="852" y="203"/>
                  <a:pt x="862" y="208"/>
                  <a:pt x="873" y="208"/>
                </a:cubicBezTo>
                <a:cubicBezTo>
                  <a:pt x="885" y="208"/>
                  <a:pt x="895" y="203"/>
                  <a:pt x="903" y="193"/>
                </a:cubicBezTo>
                <a:cubicBezTo>
                  <a:pt x="910" y="183"/>
                  <a:pt x="914" y="168"/>
                  <a:pt x="914" y="147"/>
                </a:cubicBezTo>
                <a:cubicBezTo>
                  <a:pt x="914" y="125"/>
                  <a:pt x="910" y="108"/>
                  <a:pt x="902" y="98"/>
                </a:cubicBezTo>
                <a:cubicBezTo>
                  <a:pt x="894" y="87"/>
                  <a:pt x="884" y="82"/>
                  <a:pt x="872" y="82"/>
                </a:cubicBezTo>
                <a:cubicBezTo>
                  <a:pt x="861" y="82"/>
                  <a:pt x="851" y="87"/>
                  <a:pt x="843" y="97"/>
                </a:cubicBezTo>
                <a:cubicBezTo>
                  <a:pt x="836" y="107"/>
                  <a:pt x="832" y="123"/>
                  <a:pt x="832" y="1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7" name="Freeform 97">
            <a:extLst>
              <a:ext uri="{FF2B5EF4-FFF2-40B4-BE49-F238E27FC236}">
                <a16:creationId xmlns:a16="http://schemas.microsoft.com/office/drawing/2014/main" id="{851F7F38-1CE1-4A5B-83A2-CC1B0A088FE6}"/>
              </a:ext>
            </a:extLst>
          </p:cNvPr>
          <p:cNvSpPr>
            <a:spLocks noEditPoints="1"/>
          </p:cNvSpPr>
          <p:nvPr/>
        </p:nvSpPr>
        <p:spPr bwMode="auto">
          <a:xfrm>
            <a:off x="423863" y="3032126"/>
            <a:ext cx="485775" cy="84138"/>
          </a:xfrm>
          <a:custGeom>
            <a:avLst/>
            <a:gdLst>
              <a:gd name="T0" fmla="*/ 198 w 1348"/>
              <a:gd name="T1" fmla="*/ 228 h 231"/>
              <a:gd name="T2" fmla="*/ 30 w 1348"/>
              <a:gd name="T3" fmla="*/ 228 h 231"/>
              <a:gd name="T4" fmla="*/ 111 w 1348"/>
              <a:gd name="T5" fmla="*/ 71 h 231"/>
              <a:gd name="T6" fmla="*/ 299 w 1348"/>
              <a:gd name="T7" fmla="*/ 228 h 231"/>
              <a:gd name="T8" fmla="*/ 208 w 1348"/>
              <a:gd name="T9" fmla="*/ 211 h 231"/>
              <a:gd name="T10" fmla="*/ 225 w 1348"/>
              <a:gd name="T11" fmla="*/ 63 h 231"/>
              <a:gd name="T12" fmla="*/ 256 w 1348"/>
              <a:gd name="T13" fmla="*/ 207 h 231"/>
              <a:gd name="T14" fmla="*/ 297 w 1348"/>
              <a:gd name="T15" fmla="*/ 63 h 231"/>
              <a:gd name="T16" fmla="*/ 406 w 1348"/>
              <a:gd name="T17" fmla="*/ 203 h 231"/>
              <a:gd name="T18" fmla="*/ 357 w 1348"/>
              <a:gd name="T19" fmla="*/ 212 h 231"/>
              <a:gd name="T20" fmla="*/ 335 w 1348"/>
              <a:gd name="T21" fmla="*/ 63 h 231"/>
              <a:gd name="T22" fmla="*/ 380 w 1348"/>
              <a:gd name="T23" fmla="*/ 63 h 231"/>
              <a:gd name="T24" fmla="*/ 380 w 1348"/>
              <a:gd name="T25" fmla="*/ 181 h 231"/>
              <a:gd name="T26" fmla="*/ 406 w 1348"/>
              <a:gd name="T27" fmla="*/ 203 h 231"/>
              <a:gd name="T28" fmla="*/ 532 w 1348"/>
              <a:gd name="T29" fmla="*/ 81 h 231"/>
              <a:gd name="T30" fmla="*/ 480 w 1348"/>
              <a:gd name="T31" fmla="*/ 231 h 231"/>
              <a:gd name="T32" fmla="*/ 448 w 1348"/>
              <a:gd name="T33" fmla="*/ 192 h 231"/>
              <a:gd name="T34" fmla="*/ 513 w 1348"/>
              <a:gd name="T35" fmla="*/ 98 h 231"/>
              <a:gd name="T36" fmla="*/ 569 w 1348"/>
              <a:gd name="T37" fmla="*/ 228 h 231"/>
              <a:gd name="T38" fmla="*/ 612 w 1348"/>
              <a:gd name="T39" fmla="*/ 67 h 231"/>
              <a:gd name="T40" fmla="*/ 730 w 1348"/>
              <a:gd name="T41" fmla="*/ 59 h 231"/>
              <a:gd name="T42" fmla="*/ 751 w 1348"/>
              <a:gd name="T43" fmla="*/ 228 h 231"/>
              <a:gd name="T44" fmla="*/ 724 w 1348"/>
              <a:gd name="T45" fmla="*/ 83 h 231"/>
              <a:gd name="T46" fmla="*/ 660 w 1348"/>
              <a:gd name="T47" fmla="*/ 228 h 231"/>
              <a:gd name="T48" fmla="*/ 613 w 1348"/>
              <a:gd name="T49" fmla="*/ 90 h 231"/>
              <a:gd name="T50" fmla="*/ 569 w 1348"/>
              <a:gd name="T51" fmla="*/ 228 h 231"/>
              <a:gd name="T52" fmla="*/ 806 w 1348"/>
              <a:gd name="T53" fmla="*/ 218 h 231"/>
              <a:gd name="T54" fmla="*/ 830 w 1348"/>
              <a:gd name="T55" fmla="*/ 137 h 231"/>
              <a:gd name="T56" fmla="*/ 892 w 1348"/>
              <a:gd name="T57" fmla="*/ 92 h 231"/>
              <a:gd name="T58" fmla="*/ 797 w 1348"/>
              <a:gd name="T59" fmla="*/ 110 h 231"/>
              <a:gd name="T60" fmla="*/ 899 w 1348"/>
              <a:gd name="T61" fmla="*/ 64 h 231"/>
              <a:gd name="T62" fmla="*/ 926 w 1348"/>
              <a:gd name="T63" fmla="*/ 158 h 231"/>
              <a:gd name="T64" fmla="*/ 902 w 1348"/>
              <a:gd name="T65" fmla="*/ 207 h 231"/>
              <a:gd name="T66" fmla="*/ 824 w 1348"/>
              <a:gd name="T67" fmla="*/ 170 h 231"/>
              <a:gd name="T68" fmla="*/ 878 w 1348"/>
              <a:gd name="T69" fmla="*/ 202 h 231"/>
              <a:gd name="T70" fmla="*/ 1009 w 1348"/>
              <a:gd name="T71" fmla="*/ 203 h 231"/>
              <a:gd name="T72" fmla="*/ 960 w 1348"/>
              <a:gd name="T73" fmla="*/ 212 h 231"/>
              <a:gd name="T74" fmla="*/ 938 w 1348"/>
              <a:gd name="T75" fmla="*/ 63 h 231"/>
              <a:gd name="T76" fmla="*/ 983 w 1348"/>
              <a:gd name="T77" fmla="*/ 63 h 231"/>
              <a:gd name="T78" fmla="*/ 983 w 1348"/>
              <a:gd name="T79" fmla="*/ 181 h 231"/>
              <a:gd name="T80" fmla="*/ 1009 w 1348"/>
              <a:gd name="T81" fmla="*/ 203 h 231"/>
              <a:gd name="T82" fmla="*/ 1047 w 1348"/>
              <a:gd name="T83" fmla="*/ 32 h 231"/>
              <a:gd name="T84" fmla="*/ 1047 w 1348"/>
              <a:gd name="T85" fmla="*/ 63 h 231"/>
              <a:gd name="T86" fmla="*/ 1087 w 1348"/>
              <a:gd name="T87" fmla="*/ 78 h 231"/>
              <a:gd name="T88" fmla="*/ 1198 w 1348"/>
              <a:gd name="T89" fmla="*/ 193 h 231"/>
              <a:gd name="T90" fmla="*/ 1063 w 1348"/>
              <a:gd name="T91" fmla="*/ 145 h 231"/>
              <a:gd name="T92" fmla="*/ 1167 w 1348"/>
              <a:gd name="T93" fmla="*/ 192 h 231"/>
              <a:gd name="T94" fmla="*/ 1102 w 1348"/>
              <a:gd name="T95" fmla="*/ 98 h 231"/>
              <a:gd name="T96" fmla="*/ 1247 w 1348"/>
              <a:gd name="T97" fmla="*/ 63 h 231"/>
              <a:gd name="T98" fmla="*/ 1338 w 1348"/>
              <a:gd name="T99" fmla="*/ 79 h 231"/>
              <a:gd name="T100" fmla="*/ 1322 w 1348"/>
              <a:gd name="T101" fmla="*/ 228 h 231"/>
              <a:gd name="T102" fmla="*/ 1290 w 1348"/>
              <a:gd name="T103" fmla="*/ 83 h 231"/>
              <a:gd name="T104" fmla="*/ 1223 w 1348"/>
              <a:gd name="T105" fmla="*/ 228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348" h="231">
                <a:moveTo>
                  <a:pt x="0" y="228"/>
                </a:moveTo>
                <a:lnTo>
                  <a:pt x="81" y="0"/>
                </a:lnTo>
                <a:lnTo>
                  <a:pt x="112" y="0"/>
                </a:lnTo>
                <a:lnTo>
                  <a:pt x="198" y="228"/>
                </a:lnTo>
                <a:lnTo>
                  <a:pt x="166" y="228"/>
                </a:lnTo>
                <a:lnTo>
                  <a:pt x="142" y="159"/>
                </a:lnTo>
                <a:lnTo>
                  <a:pt x="53" y="159"/>
                </a:lnTo>
                <a:lnTo>
                  <a:pt x="30" y="228"/>
                </a:lnTo>
                <a:lnTo>
                  <a:pt x="0" y="228"/>
                </a:lnTo>
                <a:close/>
                <a:moveTo>
                  <a:pt x="61" y="134"/>
                </a:moveTo>
                <a:lnTo>
                  <a:pt x="133" y="134"/>
                </a:lnTo>
                <a:lnTo>
                  <a:pt x="111" y="71"/>
                </a:lnTo>
                <a:cubicBezTo>
                  <a:pt x="104" y="52"/>
                  <a:pt x="99" y="36"/>
                  <a:pt x="96" y="24"/>
                </a:cubicBezTo>
                <a:cubicBezTo>
                  <a:pt x="93" y="39"/>
                  <a:pt x="89" y="53"/>
                  <a:pt x="84" y="67"/>
                </a:cubicBezTo>
                <a:lnTo>
                  <a:pt x="61" y="134"/>
                </a:lnTo>
                <a:close/>
                <a:moveTo>
                  <a:pt x="299" y="228"/>
                </a:moveTo>
                <a:lnTo>
                  <a:pt x="299" y="203"/>
                </a:lnTo>
                <a:cubicBezTo>
                  <a:pt x="287" y="222"/>
                  <a:pt x="271" y="231"/>
                  <a:pt x="251" y="231"/>
                </a:cubicBezTo>
                <a:cubicBezTo>
                  <a:pt x="242" y="231"/>
                  <a:pt x="233" y="229"/>
                  <a:pt x="226" y="225"/>
                </a:cubicBezTo>
                <a:cubicBezTo>
                  <a:pt x="218" y="222"/>
                  <a:pt x="212" y="217"/>
                  <a:pt x="208" y="211"/>
                </a:cubicBezTo>
                <a:cubicBezTo>
                  <a:pt x="204" y="206"/>
                  <a:pt x="202" y="199"/>
                  <a:pt x="200" y="191"/>
                </a:cubicBezTo>
                <a:cubicBezTo>
                  <a:pt x="199" y="185"/>
                  <a:pt x="199" y="177"/>
                  <a:pt x="199" y="165"/>
                </a:cubicBezTo>
                <a:lnTo>
                  <a:pt x="199" y="63"/>
                </a:lnTo>
                <a:lnTo>
                  <a:pt x="225" y="63"/>
                </a:lnTo>
                <a:lnTo>
                  <a:pt x="225" y="154"/>
                </a:lnTo>
                <a:cubicBezTo>
                  <a:pt x="225" y="168"/>
                  <a:pt x="225" y="178"/>
                  <a:pt x="226" y="183"/>
                </a:cubicBezTo>
                <a:cubicBezTo>
                  <a:pt x="228" y="191"/>
                  <a:pt x="231" y="196"/>
                  <a:pt x="237" y="201"/>
                </a:cubicBezTo>
                <a:cubicBezTo>
                  <a:pt x="242" y="205"/>
                  <a:pt x="248" y="207"/>
                  <a:pt x="256" y="207"/>
                </a:cubicBezTo>
                <a:cubicBezTo>
                  <a:pt x="264" y="207"/>
                  <a:pt x="271" y="205"/>
                  <a:pt x="278" y="200"/>
                </a:cubicBezTo>
                <a:cubicBezTo>
                  <a:pt x="285" y="196"/>
                  <a:pt x="290" y="190"/>
                  <a:pt x="293" y="183"/>
                </a:cubicBezTo>
                <a:cubicBezTo>
                  <a:pt x="295" y="176"/>
                  <a:pt x="297" y="165"/>
                  <a:pt x="297" y="151"/>
                </a:cubicBezTo>
                <a:lnTo>
                  <a:pt x="297" y="63"/>
                </a:lnTo>
                <a:lnTo>
                  <a:pt x="323" y="63"/>
                </a:lnTo>
                <a:lnTo>
                  <a:pt x="323" y="228"/>
                </a:lnTo>
                <a:lnTo>
                  <a:pt x="299" y="228"/>
                </a:lnTo>
                <a:close/>
                <a:moveTo>
                  <a:pt x="406" y="203"/>
                </a:moveTo>
                <a:lnTo>
                  <a:pt x="410" y="227"/>
                </a:lnTo>
                <a:cubicBezTo>
                  <a:pt x="403" y="229"/>
                  <a:pt x="396" y="230"/>
                  <a:pt x="390" y="230"/>
                </a:cubicBezTo>
                <a:cubicBezTo>
                  <a:pt x="381" y="230"/>
                  <a:pt x="374" y="228"/>
                  <a:pt x="368" y="225"/>
                </a:cubicBezTo>
                <a:cubicBezTo>
                  <a:pt x="363" y="222"/>
                  <a:pt x="360" y="218"/>
                  <a:pt x="357" y="212"/>
                </a:cubicBezTo>
                <a:cubicBezTo>
                  <a:pt x="355" y="207"/>
                  <a:pt x="354" y="196"/>
                  <a:pt x="354" y="179"/>
                </a:cubicBezTo>
                <a:lnTo>
                  <a:pt x="354" y="84"/>
                </a:lnTo>
                <a:lnTo>
                  <a:pt x="335" y="84"/>
                </a:lnTo>
                <a:lnTo>
                  <a:pt x="335" y="63"/>
                </a:lnTo>
                <a:lnTo>
                  <a:pt x="354" y="63"/>
                </a:lnTo>
                <a:lnTo>
                  <a:pt x="354" y="22"/>
                </a:lnTo>
                <a:lnTo>
                  <a:pt x="380" y="5"/>
                </a:lnTo>
                <a:lnTo>
                  <a:pt x="380" y="63"/>
                </a:lnTo>
                <a:lnTo>
                  <a:pt x="406" y="63"/>
                </a:lnTo>
                <a:lnTo>
                  <a:pt x="406" y="84"/>
                </a:lnTo>
                <a:lnTo>
                  <a:pt x="380" y="84"/>
                </a:lnTo>
                <a:lnTo>
                  <a:pt x="380" y="181"/>
                </a:lnTo>
                <a:cubicBezTo>
                  <a:pt x="380" y="189"/>
                  <a:pt x="381" y="194"/>
                  <a:pt x="382" y="196"/>
                </a:cubicBezTo>
                <a:cubicBezTo>
                  <a:pt x="383" y="199"/>
                  <a:pt x="384" y="200"/>
                  <a:pt x="386" y="202"/>
                </a:cubicBezTo>
                <a:cubicBezTo>
                  <a:pt x="388" y="203"/>
                  <a:pt x="391" y="204"/>
                  <a:pt x="395" y="204"/>
                </a:cubicBezTo>
                <a:cubicBezTo>
                  <a:pt x="398" y="204"/>
                  <a:pt x="402" y="203"/>
                  <a:pt x="406" y="203"/>
                </a:cubicBezTo>
                <a:close/>
                <a:moveTo>
                  <a:pt x="409" y="145"/>
                </a:moveTo>
                <a:cubicBezTo>
                  <a:pt x="409" y="115"/>
                  <a:pt x="416" y="92"/>
                  <a:pt x="432" y="78"/>
                </a:cubicBezTo>
                <a:cubicBezTo>
                  <a:pt x="445" y="65"/>
                  <a:pt x="462" y="59"/>
                  <a:pt x="480" y="59"/>
                </a:cubicBezTo>
                <a:cubicBezTo>
                  <a:pt x="502" y="59"/>
                  <a:pt x="519" y="67"/>
                  <a:pt x="532" y="81"/>
                </a:cubicBezTo>
                <a:cubicBezTo>
                  <a:pt x="546" y="96"/>
                  <a:pt x="552" y="117"/>
                  <a:pt x="552" y="143"/>
                </a:cubicBezTo>
                <a:cubicBezTo>
                  <a:pt x="552" y="164"/>
                  <a:pt x="549" y="181"/>
                  <a:pt x="543" y="193"/>
                </a:cubicBezTo>
                <a:cubicBezTo>
                  <a:pt x="537" y="205"/>
                  <a:pt x="529" y="214"/>
                  <a:pt x="518" y="221"/>
                </a:cubicBezTo>
                <a:cubicBezTo>
                  <a:pt x="506" y="228"/>
                  <a:pt x="494" y="231"/>
                  <a:pt x="480" y="231"/>
                </a:cubicBezTo>
                <a:cubicBezTo>
                  <a:pt x="459" y="231"/>
                  <a:pt x="442" y="224"/>
                  <a:pt x="428" y="209"/>
                </a:cubicBezTo>
                <a:cubicBezTo>
                  <a:pt x="415" y="194"/>
                  <a:pt x="409" y="173"/>
                  <a:pt x="409" y="145"/>
                </a:cubicBezTo>
                <a:close/>
                <a:moveTo>
                  <a:pt x="435" y="145"/>
                </a:moveTo>
                <a:cubicBezTo>
                  <a:pt x="435" y="166"/>
                  <a:pt x="439" y="182"/>
                  <a:pt x="448" y="192"/>
                </a:cubicBezTo>
                <a:cubicBezTo>
                  <a:pt x="457" y="203"/>
                  <a:pt x="467" y="208"/>
                  <a:pt x="480" y="208"/>
                </a:cubicBezTo>
                <a:cubicBezTo>
                  <a:pt x="493" y="208"/>
                  <a:pt x="504" y="203"/>
                  <a:pt x="513" y="192"/>
                </a:cubicBezTo>
                <a:cubicBezTo>
                  <a:pt x="521" y="182"/>
                  <a:pt x="526" y="166"/>
                  <a:pt x="526" y="144"/>
                </a:cubicBezTo>
                <a:cubicBezTo>
                  <a:pt x="526" y="124"/>
                  <a:pt x="521" y="109"/>
                  <a:pt x="513" y="98"/>
                </a:cubicBezTo>
                <a:cubicBezTo>
                  <a:pt x="504" y="88"/>
                  <a:pt x="493" y="82"/>
                  <a:pt x="480" y="82"/>
                </a:cubicBezTo>
                <a:cubicBezTo>
                  <a:pt x="467" y="82"/>
                  <a:pt x="457" y="88"/>
                  <a:pt x="448" y="98"/>
                </a:cubicBezTo>
                <a:cubicBezTo>
                  <a:pt x="439" y="108"/>
                  <a:pt x="435" y="124"/>
                  <a:pt x="435" y="145"/>
                </a:cubicBezTo>
                <a:close/>
                <a:moveTo>
                  <a:pt x="569" y="228"/>
                </a:moveTo>
                <a:lnTo>
                  <a:pt x="569" y="63"/>
                </a:lnTo>
                <a:lnTo>
                  <a:pt x="592" y="63"/>
                </a:lnTo>
                <a:lnTo>
                  <a:pt x="592" y="86"/>
                </a:lnTo>
                <a:cubicBezTo>
                  <a:pt x="597" y="78"/>
                  <a:pt x="604" y="71"/>
                  <a:pt x="612" y="67"/>
                </a:cubicBezTo>
                <a:cubicBezTo>
                  <a:pt x="620" y="62"/>
                  <a:pt x="629" y="59"/>
                  <a:pt x="639" y="59"/>
                </a:cubicBezTo>
                <a:cubicBezTo>
                  <a:pt x="650" y="59"/>
                  <a:pt x="659" y="62"/>
                  <a:pt x="667" y="67"/>
                </a:cubicBezTo>
                <a:cubicBezTo>
                  <a:pt x="674" y="72"/>
                  <a:pt x="679" y="79"/>
                  <a:pt x="682" y="88"/>
                </a:cubicBezTo>
                <a:cubicBezTo>
                  <a:pt x="694" y="69"/>
                  <a:pt x="710" y="59"/>
                  <a:pt x="730" y="59"/>
                </a:cubicBezTo>
                <a:cubicBezTo>
                  <a:pt x="745" y="59"/>
                  <a:pt x="757" y="64"/>
                  <a:pt x="765" y="73"/>
                </a:cubicBezTo>
                <a:cubicBezTo>
                  <a:pt x="773" y="82"/>
                  <a:pt x="777" y="96"/>
                  <a:pt x="777" y="115"/>
                </a:cubicBezTo>
                <a:lnTo>
                  <a:pt x="777" y="228"/>
                </a:lnTo>
                <a:lnTo>
                  <a:pt x="751" y="228"/>
                </a:lnTo>
                <a:lnTo>
                  <a:pt x="751" y="124"/>
                </a:lnTo>
                <a:cubicBezTo>
                  <a:pt x="751" y="113"/>
                  <a:pt x="750" y="105"/>
                  <a:pt x="749" y="100"/>
                </a:cubicBezTo>
                <a:cubicBezTo>
                  <a:pt x="747" y="95"/>
                  <a:pt x="744" y="91"/>
                  <a:pt x="739" y="88"/>
                </a:cubicBezTo>
                <a:cubicBezTo>
                  <a:pt x="735" y="85"/>
                  <a:pt x="730" y="83"/>
                  <a:pt x="724" y="83"/>
                </a:cubicBezTo>
                <a:cubicBezTo>
                  <a:pt x="713" y="83"/>
                  <a:pt x="704" y="87"/>
                  <a:pt x="697" y="95"/>
                </a:cubicBezTo>
                <a:cubicBezTo>
                  <a:pt x="690" y="103"/>
                  <a:pt x="686" y="115"/>
                  <a:pt x="686" y="132"/>
                </a:cubicBezTo>
                <a:lnTo>
                  <a:pt x="686" y="228"/>
                </a:lnTo>
                <a:lnTo>
                  <a:pt x="660" y="228"/>
                </a:lnTo>
                <a:lnTo>
                  <a:pt x="660" y="121"/>
                </a:lnTo>
                <a:cubicBezTo>
                  <a:pt x="660" y="108"/>
                  <a:pt x="658" y="99"/>
                  <a:pt x="654" y="93"/>
                </a:cubicBezTo>
                <a:cubicBezTo>
                  <a:pt x="650" y="87"/>
                  <a:pt x="643" y="83"/>
                  <a:pt x="633" y="83"/>
                </a:cubicBezTo>
                <a:cubicBezTo>
                  <a:pt x="626" y="83"/>
                  <a:pt x="619" y="85"/>
                  <a:pt x="613" y="90"/>
                </a:cubicBezTo>
                <a:cubicBezTo>
                  <a:pt x="606" y="94"/>
                  <a:pt x="602" y="100"/>
                  <a:pt x="599" y="108"/>
                </a:cubicBezTo>
                <a:cubicBezTo>
                  <a:pt x="596" y="116"/>
                  <a:pt x="595" y="127"/>
                  <a:pt x="595" y="142"/>
                </a:cubicBezTo>
                <a:lnTo>
                  <a:pt x="595" y="228"/>
                </a:lnTo>
                <a:lnTo>
                  <a:pt x="569" y="228"/>
                </a:lnTo>
                <a:close/>
                <a:moveTo>
                  <a:pt x="902" y="207"/>
                </a:moveTo>
                <a:cubicBezTo>
                  <a:pt x="892" y="216"/>
                  <a:pt x="883" y="222"/>
                  <a:pt x="874" y="226"/>
                </a:cubicBezTo>
                <a:cubicBezTo>
                  <a:pt x="865" y="229"/>
                  <a:pt x="856" y="231"/>
                  <a:pt x="845" y="231"/>
                </a:cubicBezTo>
                <a:cubicBezTo>
                  <a:pt x="828" y="231"/>
                  <a:pt x="815" y="227"/>
                  <a:pt x="806" y="218"/>
                </a:cubicBezTo>
                <a:cubicBezTo>
                  <a:pt x="797" y="209"/>
                  <a:pt x="793" y="198"/>
                  <a:pt x="793" y="184"/>
                </a:cubicBezTo>
                <a:cubicBezTo>
                  <a:pt x="793" y="176"/>
                  <a:pt x="794" y="169"/>
                  <a:pt x="798" y="162"/>
                </a:cubicBezTo>
                <a:cubicBezTo>
                  <a:pt x="801" y="155"/>
                  <a:pt x="806" y="150"/>
                  <a:pt x="811" y="146"/>
                </a:cubicBezTo>
                <a:cubicBezTo>
                  <a:pt x="817" y="142"/>
                  <a:pt x="823" y="139"/>
                  <a:pt x="830" y="137"/>
                </a:cubicBezTo>
                <a:cubicBezTo>
                  <a:pt x="835" y="135"/>
                  <a:pt x="843" y="134"/>
                  <a:pt x="853" y="133"/>
                </a:cubicBezTo>
                <a:cubicBezTo>
                  <a:pt x="874" y="130"/>
                  <a:pt x="890" y="127"/>
                  <a:pt x="900" y="123"/>
                </a:cubicBezTo>
                <a:cubicBezTo>
                  <a:pt x="900" y="119"/>
                  <a:pt x="900" y="117"/>
                  <a:pt x="900" y="116"/>
                </a:cubicBezTo>
                <a:cubicBezTo>
                  <a:pt x="900" y="104"/>
                  <a:pt x="897" y="97"/>
                  <a:pt x="892" y="92"/>
                </a:cubicBezTo>
                <a:cubicBezTo>
                  <a:pt x="886" y="86"/>
                  <a:pt x="876" y="82"/>
                  <a:pt x="863" y="82"/>
                </a:cubicBezTo>
                <a:cubicBezTo>
                  <a:pt x="850" y="82"/>
                  <a:pt x="841" y="85"/>
                  <a:pt x="836" y="89"/>
                </a:cubicBezTo>
                <a:cubicBezTo>
                  <a:pt x="830" y="94"/>
                  <a:pt x="825" y="102"/>
                  <a:pt x="823" y="114"/>
                </a:cubicBezTo>
                <a:lnTo>
                  <a:pt x="797" y="110"/>
                </a:lnTo>
                <a:cubicBezTo>
                  <a:pt x="800" y="98"/>
                  <a:pt x="803" y="89"/>
                  <a:pt x="809" y="82"/>
                </a:cubicBezTo>
                <a:cubicBezTo>
                  <a:pt x="814" y="74"/>
                  <a:pt x="822" y="69"/>
                  <a:pt x="832" y="65"/>
                </a:cubicBezTo>
                <a:cubicBezTo>
                  <a:pt x="842" y="61"/>
                  <a:pt x="853" y="59"/>
                  <a:pt x="867" y="59"/>
                </a:cubicBezTo>
                <a:cubicBezTo>
                  <a:pt x="880" y="59"/>
                  <a:pt x="890" y="61"/>
                  <a:pt x="899" y="64"/>
                </a:cubicBezTo>
                <a:cubicBezTo>
                  <a:pt x="907" y="68"/>
                  <a:pt x="913" y="72"/>
                  <a:pt x="917" y="77"/>
                </a:cubicBezTo>
                <a:cubicBezTo>
                  <a:pt x="921" y="82"/>
                  <a:pt x="923" y="88"/>
                  <a:pt x="925" y="96"/>
                </a:cubicBezTo>
                <a:cubicBezTo>
                  <a:pt x="926" y="101"/>
                  <a:pt x="926" y="109"/>
                  <a:pt x="926" y="121"/>
                </a:cubicBezTo>
                <a:lnTo>
                  <a:pt x="926" y="158"/>
                </a:lnTo>
                <a:cubicBezTo>
                  <a:pt x="926" y="184"/>
                  <a:pt x="927" y="201"/>
                  <a:pt x="928" y="208"/>
                </a:cubicBezTo>
                <a:cubicBezTo>
                  <a:pt x="929" y="215"/>
                  <a:pt x="931" y="221"/>
                  <a:pt x="934" y="228"/>
                </a:cubicBezTo>
                <a:lnTo>
                  <a:pt x="907" y="228"/>
                </a:lnTo>
                <a:cubicBezTo>
                  <a:pt x="904" y="222"/>
                  <a:pt x="903" y="215"/>
                  <a:pt x="902" y="207"/>
                </a:cubicBezTo>
                <a:close/>
                <a:moveTo>
                  <a:pt x="900" y="145"/>
                </a:moveTo>
                <a:cubicBezTo>
                  <a:pt x="890" y="149"/>
                  <a:pt x="876" y="153"/>
                  <a:pt x="857" y="155"/>
                </a:cubicBezTo>
                <a:cubicBezTo>
                  <a:pt x="846" y="157"/>
                  <a:pt x="839" y="159"/>
                  <a:pt x="834" y="161"/>
                </a:cubicBezTo>
                <a:cubicBezTo>
                  <a:pt x="830" y="163"/>
                  <a:pt x="827" y="166"/>
                  <a:pt x="824" y="170"/>
                </a:cubicBezTo>
                <a:cubicBezTo>
                  <a:pt x="822" y="174"/>
                  <a:pt x="821" y="178"/>
                  <a:pt x="821" y="183"/>
                </a:cubicBezTo>
                <a:cubicBezTo>
                  <a:pt x="821" y="191"/>
                  <a:pt x="823" y="197"/>
                  <a:pt x="828" y="202"/>
                </a:cubicBezTo>
                <a:cubicBezTo>
                  <a:pt x="834" y="207"/>
                  <a:pt x="841" y="209"/>
                  <a:pt x="852" y="209"/>
                </a:cubicBezTo>
                <a:cubicBezTo>
                  <a:pt x="862" y="209"/>
                  <a:pt x="870" y="207"/>
                  <a:pt x="878" y="202"/>
                </a:cubicBezTo>
                <a:cubicBezTo>
                  <a:pt x="886" y="197"/>
                  <a:pt x="892" y="191"/>
                  <a:pt x="896" y="183"/>
                </a:cubicBezTo>
                <a:cubicBezTo>
                  <a:pt x="898" y="177"/>
                  <a:pt x="900" y="167"/>
                  <a:pt x="900" y="155"/>
                </a:cubicBezTo>
                <a:lnTo>
                  <a:pt x="900" y="145"/>
                </a:lnTo>
                <a:close/>
                <a:moveTo>
                  <a:pt x="1009" y="203"/>
                </a:moveTo>
                <a:lnTo>
                  <a:pt x="1012" y="227"/>
                </a:lnTo>
                <a:cubicBezTo>
                  <a:pt x="1005" y="229"/>
                  <a:pt x="999" y="230"/>
                  <a:pt x="993" y="230"/>
                </a:cubicBezTo>
                <a:cubicBezTo>
                  <a:pt x="983" y="230"/>
                  <a:pt x="976" y="228"/>
                  <a:pt x="971" y="225"/>
                </a:cubicBezTo>
                <a:cubicBezTo>
                  <a:pt x="966" y="222"/>
                  <a:pt x="962" y="218"/>
                  <a:pt x="960" y="212"/>
                </a:cubicBezTo>
                <a:cubicBezTo>
                  <a:pt x="958" y="207"/>
                  <a:pt x="957" y="196"/>
                  <a:pt x="957" y="179"/>
                </a:cubicBezTo>
                <a:lnTo>
                  <a:pt x="957" y="84"/>
                </a:lnTo>
                <a:lnTo>
                  <a:pt x="938" y="84"/>
                </a:lnTo>
                <a:lnTo>
                  <a:pt x="938" y="63"/>
                </a:lnTo>
                <a:lnTo>
                  <a:pt x="957" y="63"/>
                </a:lnTo>
                <a:lnTo>
                  <a:pt x="957" y="22"/>
                </a:lnTo>
                <a:lnTo>
                  <a:pt x="983" y="5"/>
                </a:lnTo>
                <a:lnTo>
                  <a:pt x="983" y="63"/>
                </a:lnTo>
                <a:lnTo>
                  <a:pt x="1009" y="63"/>
                </a:lnTo>
                <a:lnTo>
                  <a:pt x="1009" y="84"/>
                </a:lnTo>
                <a:lnTo>
                  <a:pt x="983" y="84"/>
                </a:lnTo>
                <a:lnTo>
                  <a:pt x="983" y="181"/>
                </a:lnTo>
                <a:cubicBezTo>
                  <a:pt x="983" y="189"/>
                  <a:pt x="983" y="194"/>
                  <a:pt x="984" y="196"/>
                </a:cubicBezTo>
                <a:cubicBezTo>
                  <a:pt x="985" y="199"/>
                  <a:pt x="987" y="200"/>
                  <a:pt x="989" y="202"/>
                </a:cubicBezTo>
                <a:cubicBezTo>
                  <a:pt x="991" y="203"/>
                  <a:pt x="994" y="204"/>
                  <a:pt x="998" y="204"/>
                </a:cubicBezTo>
                <a:cubicBezTo>
                  <a:pt x="1000" y="204"/>
                  <a:pt x="1004" y="203"/>
                  <a:pt x="1009" y="203"/>
                </a:cubicBezTo>
                <a:close/>
                <a:moveTo>
                  <a:pt x="1021" y="32"/>
                </a:moveTo>
                <a:lnTo>
                  <a:pt x="1021" y="0"/>
                </a:lnTo>
                <a:lnTo>
                  <a:pt x="1047" y="0"/>
                </a:lnTo>
                <a:lnTo>
                  <a:pt x="1047" y="32"/>
                </a:lnTo>
                <a:lnTo>
                  <a:pt x="1021" y="32"/>
                </a:lnTo>
                <a:close/>
                <a:moveTo>
                  <a:pt x="1021" y="228"/>
                </a:moveTo>
                <a:lnTo>
                  <a:pt x="1021" y="63"/>
                </a:lnTo>
                <a:lnTo>
                  <a:pt x="1047" y="63"/>
                </a:lnTo>
                <a:lnTo>
                  <a:pt x="1047" y="228"/>
                </a:lnTo>
                <a:lnTo>
                  <a:pt x="1021" y="228"/>
                </a:lnTo>
                <a:close/>
                <a:moveTo>
                  <a:pt x="1063" y="145"/>
                </a:moveTo>
                <a:cubicBezTo>
                  <a:pt x="1063" y="115"/>
                  <a:pt x="1071" y="92"/>
                  <a:pt x="1087" y="78"/>
                </a:cubicBezTo>
                <a:cubicBezTo>
                  <a:pt x="1100" y="65"/>
                  <a:pt x="1116" y="59"/>
                  <a:pt x="1135" y="59"/>
                </a:cubicBezTo>
                <a:cubicBezTo>
                  <a:pt x="1156" y="59"/>
                  <a:pt x="1173" y="67"/>
                  <a:pt x="1187" y="81"/>
                </a:cubicBezTo>
                <a:cubicBezTo>
                  <a:pt x="1200" y="96"/>
                  <a:pt x="1207" y="117"/>
                  <a:pt x="1207" y="143"/>
                </a:cubicBezTo>
                <a:cubicBezTo>
                  <a:pt x="1207" y="164"/>
                  <a:pt x="1204" y="181"/>
                  <a:pt x="1198" y="193"/>
                </a:cubicBezTo>
                <a:cubicBezTo>
                  <a:pt x="1192" y="205"/>
                  <a:pt x="1183" y="214"/>
                  <a:pt x="1172" y="221"/>
                </a:cubicBezTo>
                <a:cubicBezTo>
                  <a:pt x="1161" y="228"/>
                  <a:pt x="1148" y="231"/>
                  <a:pt x="1135" y="231"/>
                </a:cubicBezTo>
                <a:cubicBezTo>
                  <a:pt x="1113" y="231"/>
                  <a:pt x="1096" y="224"/>
                  <a:pt x="1083" y="209"/>
                </a:cubicBezTo>
                <a:cubicBezTo>
                  <a:pt x="1070" y="194"/>
                  <a:pt x="1063" y="173"/>
                  <a:pt x="1063" y="145"/>
                </a:cubicBezTo>
                <a:close/>
                <a:moveTo>
                  <a:pt x="1090" y="145"/>
                </a:moveTo>
                <a:cubicBezTo>
                  <a:pt x="1090" y="166"/>
                  <a:pt x="1094" y="182"/>
                  <a:pt x="1102" y="192"/>
                </a:cubicBezTo>
                <a:cubicBezTo>
                  <a:pt x="1111" y="203"/>
                  <a:pt x="1122" y="208"/>
                  <a:pt x="1135" y="208"/>
                </a:cubicBezTo>
                <a:cubicBezTo>
                  <a:pt x="1148" y="208"/>
                  <a:pt x="1159" y="203"/>
                  <a:pt x="1167" y="192"/>
                </a:cubicBezTo>
                <a:cubicBezTo>
                  <a:pt x="1176" y="182"/>
                  <a:pt x="1180" y="166"/>
                  <a:pt x="1180" y="144"/>
                </a:cubicBezTo>
                <a:cubicBezTo>
                  <a:pt x="1180" y="124"/>
                  <a:pt x="1176" y="109"/>
                  <a:pt x="1167" y="98"/>
                </a:cubicBezTo>
                <a:cubicBezTo>
                  <a:pt x="1158" y="88"/>
                  <a:pt x="1148" y="82"/>
                  <a:pt x="1135" y="82"/>
                </a:cubicBezTo>
                <a:cubicBezTo>
                  <a:pt x="1122" y="82"/>
                  <a:pt x="1111" y="88"/>
                  <a:pt x="1102" y="98"/>
                </a:cubicBezTo>
                <a:cubicBezTo>
                  <a:pt x="1094" y="108"/>
                  <a:pt x="1090" y="124"/>
                  <a:pt x="1090" y="145"/>
                </a:cubicBezTo>
                <a:close/>
                <a:moveTo>
                  <a:pt x="1223" y="228"/>
                </a:moveTo>
                <a:lnTo>
                  <a:pt x="1223" y="63"/>
                </a:lnTo>
                <a:lnTo>
                  <a:pt x="1247" y="63"/>
                </a:lnTo>
                <a:lnTo>
                  <a:pt x="1247" y="86"/>
                </a:lnTo>
                <a:cubicBezTo>
                  <a:pt x="1258" y="68"/>
                  <a:pt x="1274" y="59"/>
                  <a:pt x="1296" y="59"/>
                </a:cubicBezTo>
                <a:cubicBezTo>
                  <a:pt x="1305" y="59"/>
                  <a:pt x="1313" y="61"/>
                  <a:pt x="1321" y="65"/>
                </a:cubicBezTo>
                <a:cubicBezTo>
                  <a:pt x="1329" y="68"/>
                  <a:pt x="1335" y="73"/>
                  <a:pt x="1338" y="79"/>
                </a:cubicBezTo>
                <a:cubicBezTo>
                  <a:pt x="1342" y="84"/>
                  <a:pt x="1345" y="91"/>
                  <a:pt x="1347" y="99"/>
                </a:cubicBezTo>
                <a:cubicBezTo>
                  <a:pt x="1347" y="104"/>
                  <a:pt x="1348" y="113"/>
                  <a:pt x="1348" y="126"/>
                </a:cubicBezTo>
                <a:lnTo>
                  <a:pt x="1348" y="228"/>
                </a:lnTo>
                <a:lnTo>
                  <a:pt x="1322" y="228"/>
                </a:lnTo>
                <a:lnTo>
                  <a:pt x="1322" y="127"/>
                </a:lnTo>
                <a:cubicBezTo>
                  <a:pt x="1322" y="116"/>
                  <a:pt x="1321" y="108"/>
                  <a:pt x="1319" y="102"/>
                </a:cubicBezTo>
                <a:cubicBezTo>
                  <a:pt x="1317" y="96"/>
                  <a:pt x="1313" y="92"/>
                  <a:pt x="1308" y="88"/>
                </a:cubicBezTo>
                <a:cubicBezTo>
                  <a:pt x="1303" y="85"/>
                  <a:pt x="1297" y="83"/>
                  <a:pt x="1290" y="83"/>
                </a:cubicBezTo>
                <a:cubicBezTo>
                  <a:pt x="1279" y="83"/>
                  <a:pt x="1270" y="87"/>
                  <a:pt x="1262" y="95"/>
                </a:cubicBezTo>
                <a:cubicBezTo>
                  <a:pt x="1253" y="102"/>
                  <a:pt x="1249" y="117"/>
                  <a:pt x="1249" y="138"/>
                </a:cubicBezTo>
                <a:lnTo>
                  <a:pt x="1249" y="228"/>
                </a:lnTo>
                <a:lnTo>
                  <a:pt x="1223" y="2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8" name="Freeform 98">
            <a:extLst>
              <a:ext uri="{FF2B5EF4-FFF2-40B4-BE49-F238E27FC236}">
                <a16:creationId xmlns:a16="http://schemas.microsoft.com/office/drawing/2014/main" id="{3B06EB9B-3DE1-4FA7-9FBF-8F5C8D2D2F26}"/>
              </a:ext>
            </a:extLst>
          </p:cNvPr>
          <p:cNvSpPr>
            <a:spLocks noEditPoints="1"/>
          </p:cNvSpPr>
          <p:nvPr/>
        </p:nvSpPr>
        <p:spPr bwMode="auto">
          <a:xfrm>
            <a:off x="1158876" y="3032126"/>
            <a:ext cx="547688" cy="198438"/>
          </a:xfrm>
          <a:custGeom>
            <a:avLst/>
            <a:gdLst>
              <a:gd name="T0" fmla="*/ 142 w 1521"/>
              <a:gd name="T1" fmla="*/ 159 h 549"/>
              <a:gd name="T2" fmla="*/ 295 w 1521"/>
              <a:gd name="T3" fmla="*/ 318 h 549"/>
              <a:gd name="T4" fmla="*/ 376 w 1521"/>
              <a:gd name="T5" fmla="*/ 545 h 549"/>
              <a:gd name="T6" fmla="*/ 460 w 1521"/>
              <a:gd name="T7" fmla="*/ 526 h 549"/>
              <a:gd name="T8" fmla="*/ 581 w 1521"/>
              <a:gd name="T9" fmla="*/ 470 h 549"/>
              <a:gd name="T10" fmla="*/ 468 w 1521"/>
              <a:gd name="T11" fmla="*/ 447 h 549"/>
              <a:gd name="T12" fmla="*/ 600 w 1521"/>
              <a:gd name="T13" fmla="*/ 545 h 549"/>
              <a:gd name="T14" fmla="*/ 719 w 1521"/>
              <a:gd name="T15" fmla="*/ 404 h 549"/>
              <a:gd name="T16" fmla="*/ 666 w 1521"/>
              <a:gd name="T17" fmla="*/ 401 h 549"/>
              <a:gd name="T18" fmla="*/ 750 w 1521"/>
              <a:gd name="T19" fmla="*/ 349 h 549"/>
              <a:gd name="T20" fmla="*/ 750 w 1521"/>
              <a:gd name="T21" fmla="*/ 380 h 549"/>
              <a:gd name="T22" fmla="*/ 907 w 1521"/>
              <a:gd name="T23" fmla="*/ 533 h 549"/>
              <a:gd name="T24" fmla="*/ 865 w 1521"/>
              <a:gd name="T25" fmla="*/ 377 h 549"/>
              <a:gd name="T26" fmla="*/ 834 w 1521"/>
              <a:gd name="T27" fmla="*/ 415 h 549"/>
              <a:gd name="T28" fmla="*/ 936 w 1521"/>
              <a:gd name="T29" fmla="*/ 545 h 549"/>
              <a:gd name="T30" fmla="*/ 1120 w 1521"/>
              <a:gd name="T31" fmla="*/ 495 h 549"/>
              <a:gd name="T32" fmla="*/ 1051 w 1521"/>
              <a:gd name="T33" fmla="*/ 377 h 549"/>
              <a:gd name="T34" fmla="*/ 1053 w 1521"/>
              <a:gd name="T35" fmla="*/ 526 h 549"/>
              <a:gd name="T36" fmla="*/ 1051 w 1521"/>
              <a:gd name="T37" fmla="*/ 400 h 549"/>
              <a:gd name="T38" fmla="*/ 1194 w 1521"/>
              <a:gd name="T39" fmla="*/ 526 h 549"/>
              <a:gd name="T40" fmla="*/ 1139 w 1521"/>
              <a:gd name="T41" fmla="*/ 446 h 549"/>
              <a:gd name="T42" fmla="*/ 1221 w 1521"/>
              <a:gd name="T43" fmla="*/ 382 h 549"/>
              <a:gd name="T44" fmla="*/ 1166 w 1521"/>
              <a:gd name="T45" fmla="*/ 406 h 549"/>
              <a:gd name="T46" fmla="*/ 1250 w 1521"/>
              <a:gd name="T47" fmla="*/ 473 h 549"/>
              <a:gd name="T48" fmla="*/ 1129 w 1521"/>
              <a:gd name="T49" fmla="*/ 496 h 549"/>
              <a:gd name="T50" fmla="*/ 61 w 1521"/>
              <a:gd name="T51" fmla="*/ 134 h 549"/>
              <a:gd name="T52" fmla="*/ 200 w 1521"/>
              <a:gd name="T53" fmla="*/ 191 h 549"/>
              <a:gd name="T54" fmla="*/ 236 w 1521"/>
              <a:gd name="T55" fmla="*/ 201 h 549"/>
              <a:gd name="T56" fmla="*/ 322 w 1521"/>
              <a:gd name="T57" fmla="*/ 63 h 549"/>
              <a:gd name="T58" fmla="*/ 368 w 1521"/>
              <a:gd name="T59" fmla="*/ 225 h 549"/>
              <a:gd name="T60" fmla="*/ 354 w 1521"/>
              <a:gd name="T61" fmla="*/ 63 h 549"/>
              <a:gd name="T62" fmla="*/ 380 w 1521"/>
              <a:gd name="T63" fmla="*/ 84 h 549"/>
              <a:gd name="T64" fmla="*/ 408 w 1521"/>
              <a:gd name="T65" fmla="*/ 145 h 549"/>
              <a:gd name="T66" fmla="*/ 517 w 1521"/>
              <a:gd name="T67" fmla="*/ 221 h 549"/>
              <a:gd name="T68" fmla="*/ 480 w 1521"/>
              <a:gd name="T69" fmla="*/ 208 h 549"/>
              <a:gd name="T70" fmla="*/ 435 w 1521"/>
              <a:gd name="T71" fmla="*/ 145 h 549"/>
              <a:gd name="T72" fmla="*/ 666 w 1521"/>
              <a:gd name="T73" fmla="*/ 65 h 549"/>
              <a:gd name="T74" fmla="*/ 667 w 1521"/>
              <a:gd name="T75" fmla="*/ 127 h 549"/>
              <a:gd name="T76" fmla="*/ 595 w 1521"/>
              <a:gd name="T77" fmla="*/ 228 h 549"/>
              <a:gd name="T78" fmla="*/ 853 w 1521"/>
              <a:gd name="T79" fmla="*/ 143 h 549"/>
              <a:gd name="T80" fmla="*/ 736 w 1521"/>
              <a:gd name="T81" fmla="*/ 145 h 549"/>
              <a:gd name="T82" fmla="*/ 782 w 1521"/>
              <a:gd name="T83" fmla="*/ 82 h 549"/>
              <a:gd name="T84" fmla="*/ 894 w 1521"/>
              <a:gd name="T85" fmla="*/ 86 h 549"/>
              <a:gd name="T86" fmla="*/ 1066 w 1521"/>
              <a:gd name="T87" fmla="*/ 73 h 549"/>
              <a:gd name="T88" fmla="*/ 1041 w 1521"/>
              <a:gd name="T89" fmla="*/ 88 h 549"/>
              <a:gd name="T90" fmla="*/ 961 w 1521"/>
              <a:gd name="T91" fmla="*/ 121 h 549"/>
              <a:gd name="T92" fmla="*/ 896 w 1521"/>
              <a:gd name="T93" fmla="*/ 228 h 549"/>
              <a:gd name="T94" fmla="*/ 1237 w 1521"/>
              <a:gd name="T95" fmla="*/ 143 h 549"/>
              <a:gd name="T96" fmla="*/ 1120 w 1521"/>
              <a:gd name="T97" fmla="*/ 145 h 549"/>
              <a:gd name="T98" fmla="*/ 1165 w 1521"/>
              <a:gd name="T99" fmla="*/ 82 h 549"/>
              <a:gd name="T100" fmla="*/ 1280 w 1521"/>
              <a:gd name="T101" fmla="*/ 225 h 549"/>
              <a:gd name="T102" fmla="*/ 1279 w 1521"/>
              <a:gd name="T103" fmla="*/ 154 h 549"/>
              <a:gd name="T104" fmla="*/ 1351 w 1521"/>
              <a:gd name="T105" fmla="*/ 151 h 549"/>
              <a:gd name="T106" fmla="*/ 1420 w 1521"/>
              <a:gd name="T107" fmla="*/ 174 h 549"/>
              <a:gd name="T108" fmla="*/ 1460 w 1521"/>
              <a:gd name="T109" fmla="*/ 158 h 549"/>
              <a:gd name="T110" fmla="*/ 1432 w 1521"/>
              <a:gd name="T111" fmla="*/ 63 h 549"/>
              <a:gd name="T112" fmla="*/ 1480 w 1521"/>
              <a:gd name="T113" fmla="*/ 89 h 549"/>
              <a:gd name="T114" fmla="*/ 1460 w 1521"/>
              <a:gd name="T115" fmla="*/ 128 h 549"/>
              <a:gd name="T116" fmla="*/ 1460 w 1521"/>
              <a:gd name="T117" fmla="*/ 231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21" h="549">
                <a:moveTo>
                  <a:pt x="0" y="228"/>
                </a:moveTo>
                <a:lnTo>
                  <a:pt x="81" y="0"/>
                </a:lnTo>
                <a:lnTo>
                  <a:pt x="112" y="0"/>
                </a:lnTo>
                <a:lnTo>
                  <a:pt x="198" y="228"/>
                </a:lnTo>
                <a:lnTo>
                  <a:pt x="166" y="228"/>
                </a:lnTo>
                <a:lnTo>
                  <a:pt x="142" y="159"/>
                </a:lnTo>
                <a:lnTo>
                  <a:pt x="52" y="159"/>
                </a:lnTo>
                <a:lnTo>
                  <a:pt x="30" y="228"/>
                </a:lnTo>
                <a:lnTo>
                  <a:pt x="0" y="228"/>
                </a:lnTo>
                <a:close/>
                <a:moveTo>
                  <a:pt x="347" y="545"/>
                </a:moveTo>
                <a:lnTo>
                  <a:pt x="265" y="318"/>
                </a:lnTo>
                <a:lnTo>
                  <a:pt x="295" y="318"/>
                </a:lnTo>
                <a:lnTo>
                  <a:pt x="350" y="483"/>
                </a:lnTo>
                <a:cubicBezTo>
                  <a:pt x="355" y="496"/>
                  <a:pt x="358" y="509"/>
                  <a:pt x="361" y="520"/>
                </a:cubicBezTo>
                <a:cubicBezTo>
                  <a:pt x="365" y="508"/>
                  <a:pt x="368" y="495"/>
                  <a:pt x="373" y="483"/>
                </a:cubicBezTo>
                <a:lnTo>
                  <a:pt x="430" y="318"/>
                </a:lnTo>
                <a:lnTo>
                  <a:pt x="458" y="318"/>
                </a:lnTo>
                <a:lnTo>
                  <a:pt x="376" y="545"/>
                </a:lnTo>
                <a:lnTo>
                  <a:pt x="347" y="545"/>
                </a:lnTo>
                <a:close/>
                <a:moveTo>
                  <a:pt x="554" y="492"/>
                </a:moveTo>
                <a:lnTo>
                  <a:pt x="581" y="495"/>
                </a:lnTo>
                <a:cubicBezTo>
                  <a:pt x="576" y="512"/>
                  <a:pt x="569" y="525"/>
                  <a:pt x="557" y="535"/>
                </a:cubicBezTo>
                <a:cubicBezTo>
                  <a:pt x="546" y="544"/>
                  <a:pt x="531" y="549"/>
                  <a:pt x="513" y="549"/>
                </a:cubicBezTo>
                <a:cubicBezTo>
                  <a:pt x="491" y="549"/>
                  <a:pt x="473" y="541"/>
                  <a:pt x="460" y="526"/>
                </a:cubicBezTo>
                <a:cubicBezTo>
                  <a:pt x="447" y="512"/>
                  <a:pt x="440" y="491"/>
                  <a:pt x="440" y="464"/>
                </a:cubicBezTo>
                <a:cubicBezTo>
                  <a:pt x="440" y="436"/>
                  <a:pt x="447" y="415"/>
                  <a:pt x="460" y="400"/>
                </a:cubicBezTo>
                <a:cubicBezTo>
                  <a:pt x="473" y="384"/>
                  <a:pt x="491" y="377"/>
                  <a:pt x="512" y="377"/>
                </a:cubicBezTo>
                <a:cubicBezTo>
                  <a:pt x="532" y="377"/>
                  <a:pt x="549" y="384"/>
                  <a:pt x="562" y="399"/>
                </a:cubicBezTo>
                <a:cubicBezTo>
                  <a:pt x="575" y="414"/>
                  <a:pt x="581" y="435"/>
                  <a:pt x="581" y="462"/>
                </a:cubicBezTo>
                <a:cubicBezTo>
                  <a:pt x="581" y="464"/>
                  <a:pt x="581" y="466"/>
                  <a:pt x="581" y="470"/>
                </a:cubicBezTo>
                <a:lnTo>
                  <a:pt x="467" y="470"/>
                </a:lnTo>
                <a:cubicBezTo>
                  <a:pt x="468" y="488"/>
                  <a:pt x="473" y="502"/>
                  <a:pt x="481" y="511"/>
                </a:cubicBezTo>
                <a:cubicBezTo>
                  <a:pt x="490" y="521"/>
                  <a:pt x="501" y="526"/>
                  <a:pt x="513" y="526"/>
                </a:cubicBezTo>
                <a:cubicBezTo>
                  <a:pt x="523" y="526"/>
                  <a:pt x="531" y="523"/>
                  <a:pt x="538" y="518"/>
                </a:cubicBezTo>
                <a:cubicBezTo>
                  <a:pt x="544" y="512"/>
                  <a:pt x="550" y="504"/>
                  <a:pt x="554" y="492"/>
                </a:cubicBezTo>
                <a:close/>
                <a:moveTo>
                  <a:pt x="468" y="447"/>
                </a:moveTo>
                <a:lnTo>
                  <a:pt x="554" y="447"/>
                </a:lnTo>
                <a:cubicBezTo>
                  <a:pt x="553" y="433"/>
                  <a:pt x="550" y="423"/>
                  <a:pt x="544" y="416"/>
                </a:cubicBezTo>
                <a:cubicBezTo>
                  <a:pt x="536" y="405"/>
                  <a:pt x="525" y="400"/>
                  <a:pt x="512" y="400"/>
                </a:cubicBezTo>
                <a:cubicBezTo>
                  <a:pt x="500" y="400"/>
                  <a:pt x="490" y="404"/>
                  <a:pt x="482" y="412"/>
                </a:cubicBezTo>
                <a:cubicBezTo>
                  <a:pt x="474" y="421"/>
                  <a:pt x="469" y="433"/>
                  <a:pt x="468" y="447"/>
                </a:cubicBezTo>
                <a:close/>
                <a:moveTo>
                  <a:pt x="600" y="545"/>
                </a:moveTo>
                <a:lnTo>
                  <a:pt x="600" y="318"/>
                </a:lnTo>
                <a:lnTo>
                  <a:pt x="626" y="318"/>
                </a:lnTo>
                <a:lnTo>
                  <a:pt x="626" y="400"/>
                </a:lnTo>
                <a:cubicBezTo>
                  <a:pt x="638" y="384"/>
                  <a:pt x="653" y="377"/>
                  <a:pt x="671" y="377"/>
                </a:cubicBezTo>
                <a:cubicBezTo>
                  <a:pt x="683" y="377"/>
                  <a:pt x="693" y="379"/>
                  <a:pt x="701" y="384"/>
                </a:cubicBezTo>
                <a:cubicBezTo>
                  <a:pt x="709" y="389"/>
                  <a:pt x="715" y="395"/>
                  <a:pt x="719" y="404"/>
                </a:cubicBezTo>
                <a:cubicBezTo>
                  <a:pt x="722" y="412"/>
                  <a:pt x="724" y="425"/>
                  <a:pt x="724" y="441"/>
                </a:cubicBezTo>
                <a:lnTo>
                  <a:pt x="724" y="545"/>
                </a:lnTo>
                <a:lnTo>
                  <a:pt x="698" y="545"/>
                </a:lnTo>
                <a:lnTo>
                  <a:pt x="698" y="441"/>
                </a:lnTo>
                <a:cubicBezTo>
                  <a:pt x="698" y="427"/>
                  <a:pt x="695" y="417"/>
                  <a:pt x="690" y="410"/>
                </a:cubicBezTo>
                <a:cubicBezTo>
                  <a:pt x="684" y="404"/>
                  <a:pt x="676" y="401"/>
                  <a:pt x="666" y="401"/>
                </a:cubicBezTo>
                <a:cubicBezTo>
                  <a:pt x="658" y="401"/>
                  <a:pt x="651" y="403"/>
                  <a:pt x="644" y="407"/>
                </a:cubicBezTo>
                <a:cubicBezTo>
                  <a:pt x="638" y="412"/>
                  <a:pt x="633" y="417"/>
                  <a:pt x="630" y="425"/>
                </a:cubicBezTo>
                <a:cubicBezTo>
                  <a:pt x="627" y="432"/>
                  <a:pt x="626" y="442"/>
                  <a:pt x="626" y="455"/>
                </a:cubicBezTo>
                <a:lnTo>
                  <a:pt x="626" y="545"/>
                </a:lnTo>
                <a:lnTo>
                  <a:pt x="600" y="545"/>
                </a:lnTo>
                <a:close/>
                <a:moveTo>
                  <a:pt x="750" y="349"/>
                </a:moveTo>
                <a:lnTo>
                  <a:pt x="750" y="318"/>
                </a:lnTo>
                <a:lnTo>
                  <a:pt x="776" y="318"/>
                </a:lnTo>
                <a:lnTo>
                  <a:pt x="776" y="349"/>
                </a:lnTo>
                <a:lnTo>
                  <a:pt x="750" y="349"/>
                </a:lnTo>
                <a:close/>
                <a:moveTo>
                  <a:pt x="750" y="545"/>
                </a:moveTo>
                <a:lnTo>
                  <a:pt x="750" y="380"/>
                </a:lnTo>
                <a:lnTo>
                  <a:pt x="776" y="380"/>
                </a:lnTo>
                <a:lnTo>
                  <a:pt x="776" y="545"/>
                </a:lnTo>
                <a:lnTo>
                  <a:pt x="750" y="545"/>
                </a:lnTo>
                <a:close/>
                <a:moveTo>
                  <a:pt x="903" y="485"/>
                </a:moveTo>
                <a:lnTo>
                  <a:pt x="928" y="489"/>
                </a:lnTo>
                <a:cubicBezTo>
                  <a:pt x="925" y="507"/>
                  <a:pt x="918" y="522"/>
                  <a:pt x="907" y="533"/>
                </a:cubicBezTo>
                <a:cubicBezTo>
                  <a:pt x="895" y="543"/>
                  <a:pt x="881" y="549"/>
                  <a:pt x="864" y="549"/>
                </a:cubicBezTo>
                <a:cubicBezTo>
                  <a:pt x="843" y="549"/>
                  <a:pt x="826" y="541"/>
                  <a:pt x="814" y="526"/>
                </a:cubicBezTo>
                <a:cubicBezTo>
                  <a:pt x="801" y="512"/>
                  <a:pt x="795" y="491"/>
                  <a:pt x="795" y="463"/>
                </a:cubicBezTo>
                <a:cubicBezTo>
                  <a:pt x="795" y="445"/>
                  <a:pt x="797" y="430"/>
                  <a:pt x="803" y="417"/>
                </a:cubicBezTo>
                <a:cubicBezTo>
                  <a:pt x="808" y="403"/>
                  <a:pt x="817" y="393"/>
                  <a:pt x="828" y="387"/>
                </a:cubicBezTo>
                <a:cubicBezTo>
                  <a:pt x="839" y="380"/>
                  <a:pt x="851" y="377"/>
                  <a:pt x="865" y="377"/>
                </a:cubicBezTo>
                <a:cubicBezTo>
                  <a:pt x="881" y="377"/>
                  <a:pt x="895" y="381"/>
                  <a:pt x="905" y="390"/>
                </a:cubicBezTo>
                <a:cubicBezTo>
                  <a:pt x="916" y="399"/>
                  <a:pt x="923" y="412"/>
                  <a:pt x="926" y="429"/>
                </a:cubicBezTo>
                <a:lnTo>
                  <a:pt x="901" y="433"/>
                </a:lnTo>
                <a:cubicBezTo>
                  <a:pt x="898" y="422"/>
                  <a:pt x="894" y="414"/>
                  <a:pt x="888" y="408"/>
                </a:cubicBezTo>
                <a:cubicBezTo>
                  <a:pt x="882" y="402"/>
                  <a:pt x="874" y="400"/>
                  <a:pt x="866" y="400"/>
                </a:cubicBezTo>
                <a:cubicBezTo>
                  <a:pt x="852" y="400"/>
                  <a:pt x="842" y="405"/>
                  <a:pt x="834" y="415"/>
                </a:cubicBezTo>
                <a:cubicBezTo>
                  <a:pt x="825" y="425"/>
                  <a:pt x="821" y="441"/>
                  <a:pt x="821" y="462"/>
                </a:cubicBezTo>
                <a:cubicBezTo>
                  <a:pt x="821" y="485"/>
                  <a:pt x="825" y="501"/>
                  <a:pt x="833" y="511"/>
                </a:cubicBezTo>
                <a:cubicBezTo>
                  <a:pt x="841" y="521"/>
                  <a:pt x="851" y="526"/>
                  <a:pt x="864" y="526"/>
                </a:cubicBezTo>
                <a:cubicBezTo>
                  <a:pt x="874" y="526"/>
                  <a:pt x="883" y="522"/>
                  <a:pt x="890" y="516"/>
                </a:cubicBezTo>
                <a:cubicBezTo>
                  <a:pt x="896" y="509"/>
                  <a:pt x="901" y="499"/>
                  <a:pt x="903" y="485"/>
                </a:cubicBezTo>
                <a:close/>
                <a:moveTo>
                  <a:pt x="936" y="545"/>
                </a:moveTo>
                <a:lnTo>
                  <a:pt x="936" y="318"/>
                </a:lnTo>
                <a:lnTo>
                  <a:pt x="962" y="318"/>
                </a:lnTo>
                <a:lnTo>
                  <a:pt x="962" y="545"/>
                </a:lnTo>
                <a:lnTo>
                  <a:pt x="936" y="545"/>
                </a:lnTo>
                <a:close/>
                <a:moveTo>
                  <a:pt x="1093" y="492"/>
                </a:moveTo>
                <a:lnTo>
                  <a:pt x="1120" y="495"/>
                </a:lnTo>
                <a:cubicBezTo>
                  <a:pt x="1116" y="512"/>
                  <a:pt x="1108" y="525"/>
                  <a:pt x="1097" y="535"/>
                </a:cubicBezTo>
                <a:cubicBezTo>
                  <a:pt x="1085" y="544"/>
                  <a:pt x="1071" y="549"/>
                  <a:pt x="1053" y="549"/>
                </a:cubicBezTo>
                <a:cubicBezTo>
                  <a:pt x="1030" y="549"/>
                  <a:pt x="1013" y="541"/>
                  <a:pt x="1000" y="526"/>
                </a:cubicBezTo>
                <a:cubicBezTo>
                  <a:pt x="986" y="512"/>
                  <a:pt x="980" y="491"/>
                  <a:pt x="980" y="464"/>
                </a:cubicBezTo>
                <a:cubicBezTo>
                  <a:pt x="980" y="436"/>
                  <a:pt x="986" y="415"/>
                  <a:pt x="1000" y="400"/>
                </a:cubicBezTo>
                <a:cubicBezTo>
                  <a:pt x="1013" y="384"/>
                  <a:pt x="1030" y="377"/>
                  <a:pt x="1051" y="377"/>
                </a:cubicBezTo>
                <a:cubicBezTo>
                  <a:pt x="1072" y="377"/>
                  <a:pt x="1088" y="384"/>
                  <a:pt x="1101" y="399"/>
                </a:cubicBezTo>
                <a:cubicBezTo>
                  <a:pt x="1114" y="414"/>
                  <a:pt x="1121" y="435"/>
                  <a:pt x="1121" y="462"/>
                </a:cubicBezTo>
                <a:cubicBezTo>
                  <a:pt x="1121" y="464"/>
                  <a:pt x="1121" y="466"/>
                  <a:pt x="1121" y="470"/>
                </a:cubicBezTo>
                <a:lnTo>
                  <a:pt x="1006" y="470"/>
                </a:lnTo>
                <a:cubicBezTo>
                  <a:pt x="1007" y="488"/>
                  <a:pt x="1012" y="502"/>
                  <a:pt x="1021" y="511"/>
                </a:cubicBezTo>
                <a:cubicBezTo>
                  <a:pt x="1029" y="521"/>
                  <a:pt x="1040" y="526"/>
                  <a:pt x="1053" y="526"/>
                </a:cubicBezTo>
                <a:cubicBezTo>
                  <a:pt x="1062" y="526"/>
                  <a:pt x="1070" y="523"/>
                  <a:pt x="1077" y="518"/>
                </a:cubicBezTo>
                <a:cubicBezTo>
                  <a:pt x="1084" y="512"/>
                  <a:pt x="1089" y="504"/>
                  <a:pt x="1093" y="492"/>
                </a:cubicBezTo>
                <a:close/>
                <a:moveTo>
                  <a:pt x="1008" y="447"/>
                </a:moveTo>
                <a:lnTo>
                  <a:pt x="1093" y="447"/>
                </a:lnTo>
                <a:cubicBezTo>
                  <a:pt x="1092" y="433"/>
                  <a:pt x="1089" y="423"/>
                  <a:pt x="1084" y="416"/>
                </a:cubicBezTo>
                <a:cubicBezTo>
                  <a:pt x="1075" y="405"/>
                  <a:pt x="1065" y="400"/>
                  <a:pt x="1051" y="400"/>
                </a:cubicBezTo>
                <a:cubicBezTo>
                  <a:pt x="1040" y="400"/>
                  <a:pt x="1030" y="404"/>
                  <a:pt x="1021" y="412"/>
                </a:cubicBezTo>
                <a:cubicBezTo>
                  <a:pt x="1013" y="421"/>
                  <a:pt x="1009" y="433"/>
                  <a:pt x="1008" y="447"/>
                </a:cubicBezTo>
                <a:close/>
                <a:moveTo>
                  <a:pt x="1129" y="496"/>
                </a:moveTo>
                <a:lnTo>
                  <a:pt x="1155" y="491"/>
                </a:lnTo>
                <a:cubicBezTo>
                  <a:pt x="1156" y="502"/>
                  <a:pt x="1160" y="511"/>
                  <a:pt x="1167" y="517"/>
                </a:cubicBezTo>
                <a:cubicBezTo>
                  <a:pt x="1173" y="523"/>
                  <a:pt x="1182" y="526"/>
                  <a:pt x="1194" y="526"/>
                </a:cubicBezTo>
                <a:cubicBezTo>
                  <a:pt x="1206" y="526"/>
                  <a:pt x="1215" y="523"/>
                  <a:pt x="1221" y="518"/>
                </a:cubicBezTo>
                <a:cubicBezTo>
                  <a:pt x="1227" y="513"/>
                  <a:pt x="1230" y="507"/>
                  <a:pt x="1230" y="499"/>
                </a:cubicBezTo>
                <a:cubicBezTo>
                  <a:pt x="1230" y="493"/>
                  <a:pt x="1227" y="488"/>
                  <a:pt x="1222" y="485"/>
                </a:cubicBezTo>
                <a:cubicBezTo>
                  <a:pt x="1218" y="482"/>
                  <a:pt x="1209" y="479"/>
                  <a:pt x="1195" y="475"/>
                </a:cubicBezTo>
                <a:cubicBezTo>
                  <a:pt x="1176" y="470"/>
                  <a:pt x="1163" y="466"/>
                  <a:pt x="1156" y="462"/>
                </a:cubicBezTo>
                <a:cubicBezTo>
                  <a:pt x="1148" y="458"/>
                  <a:pt x="1143" y="453"/>
                  <a:pt x="1139" y="446"/>
                </a:cubicBezTo>
                <a:cubicBezTo>
                  <a:pt x="1135" y="440"/>
                  <a:pt x="1133" y="432"/>
                  <a:pt x="1133" y="424"/>
                </a:cubicBezTo>
                <a:cubicBezTo>
                  <a:pt x="1133" y="417"/>
                  <a:pt x="1135" y="410"/>
                  <a:pt x="1138" y="404"/>
                </a:cubicBezTo>
                <a:cubicBezTo>
                  <a:pt x="1141" y="397"/>
                  <a:pt x="1145" y="392"/>
                  <a:pt x="1151" y="388"/>
                </a:cubicBezTo>
                <a:cubicBezTo>
                  <a:pt x="1155" y="385"/>
                  <a:pt x="1160" y="382"/>
                  <a:pt x="1167" y="380"/>
                </a:cubicBezTo>
                <a:cubicBezTo>
                  <a:pt x="1174" y="378"/>
                  <a:pt x="1182" y="377"/>
                  <a:pt x="1190" y="377"/>
                </a:cubicBezTo>
                <a:cubicBezTo>
                  <a:pt x="1202" y="377"/>
                  <a:pt x="1212" y="379"/>
                  <a:pt x="1221" y="382"/>
                </a:cubicBezTo>
                <a:cubicBezTo>
                  <a:pt x="1230" y="386"/>
                  <a:pt x="1237" y="391"/>
                  <a:pt x="1241" y="397"/>
                </a:cubicBezTo>
                <a:cubicBezTo>
                  <a:pt x="1246" y="404"/>
                  <a:pt x="1249" y="412"/>
                  <a:pt x="1250" y="423"/>
                </a:cubicBezTo>
                <a:lnTo>
                  <a:pt x="1225" y="427"/>
                </a:lnTo>
                <a:cubicBezTo>
                  <a:pt x="1224" y="418"/>
                  <a:pt x="1220" y="412"/>
                  <a:pt x="1215" y="407"/>
                </a:cubicBezTo>
                <a:cubicBezTo>
                  <a:pt x="1209" y="402"/>
                  <a:pt x="1202" y="400"/>
                  <a:pt x="1192" y="400"/>
                </a:cubicBezTo>
                <a:cubicBezTo>
                  <a:pt x="1180" y="400"/>
                  <a:pt x="1171" y="402"/>
                  <a:pt x="1166" y="406"/>
                </a:cubicBezTo>
                <a:cubicBezTo>
                  <a:pt x="1161" y="410"/>
                  <a:pt x="1158" y="415"/>
                  <a:pt x="1158" y="421"/>
                </a:cubicBezTo>
                <a:cubicBezTo>
                  <a:pt x="1158" y="424"/>
                  <a:pt x="1159" y="428"/>
                  <a:pt x="1162" y="431"/>
                </a:cubicBezTo>
                <a:cubicBezTo>
                  <a:pt x="1164" y="434"/>
                  <a:pt x="1167" y="436"/>
                  <a:pt x="1171" y="438"/>
                </a:cubicBezTo>
                <a:cubicBezTo>
                  <a:pt x="1174" y="439"/>
                  <a:pt x="1182" y="441"/>
                  <a:pt x="1194" y="445"/>
                </a:cubicBezTo>
                <a:cubicBezTo>
                  <a:pt x="1213" y="450"/>
                  <a:pt x="1226" y="455"/>
                  <a:pt x="1233" y="458"/>
                </a:cubicBezTo>
                <a:cubicBezTo>
                  <a:pt x="1240" y="461"/>
                  <a:pt x="1246" y="466"/>
                  <a:pt x="1250" y="473"/>
                </a:cubicBezTo>
                <a:cubicBezTo>
                  <a:pt x="1254" y="479"/>
                  <a:pt x="1256" y="487"/>
                  <a:pt x="1256" y="497"/>
                </a:cubicBezTo>
                <a:cubicBezTo>
                  <a:pt x="1256" y="506"/>
                  <a:pt x="1254" y="515"/>
                  <a:pt x="1249" y="523"/>
                </a:cubicBezTo>
                <a:cubicBezTo>
                  <a:pt x="1244" y="531"/>
                  <a:pt x="1236" y="537"/>
                  <a:pt x="1227" y="542"/>
                </a:cubicBezTo>
                <a:cubicBezTo>
                  <a:pt x="1217" y="546"/>
                  <a:pt x="1206" y="549"/>
                  <a:pt x="1194" y="549"/>
                </a:cubicBezTo>
                <a:cubicBezTo>
                  <a:pt x="1174" y="549"/>
                  <a:pt x="1159" y="544"/>
                  <a:pt x="1149" y="535"/>
                </a:cubicBezTo>
                <a:cubicBezTo>
                  <a:pt x="1138" y="526"/>
                  <a:pt x="1132" y="513"/>
                  <a:pt x="1129" y="496"/>
                </a:cubicBezTo>
                <a:close/>
                <a:moveTo>
                  <a:pt x="61" y="134"/>
                </a:moveTo>
                <a:lnTo>
                  <a:pt x="133" y="134"/>
                </a:lnTo>
                <a:lnTo>
                  <a:pt x="111" y="71"/>
                </a:lnTo>
                <a:cubicBezTo>
                  <a:pt x="104" y="52"/>
                  <a:pt x="99" y="36"/>
                  <a:pt x="96" y="24"/>
                </a:cubicBezTo>
                <a:cubicBezTo>
                  <a:pt x="93" y="39"/>
                  <a:pt x="89" y="53"/>
                  <a:pt x="84" y="67"/>
                </a:cubicBezTo>
                <a:lnTo>
                  <a:pt x="61" y="134"/>
                </a:lnTo>
                <a:close/>
                <a:moveTo>
                  <a:pt x="299" y="228"/>
                </a:moveTo>
                <a:lnTo>
                  <a:pt x="299" y="203"/>
                </a:lnTo>
                <a:cubicBezTo>
                  <a:pt x="287" y="222"/>
                  <a:pt x="271" y="231"/>
                  <a:pt x="251" y="231"/>
                </a:cubicBezTo>
                <a:cubicBezTo>
                  <a:pt x="242" y="231"/>
                  <a:pt x="233" y="229"/>
                  <a:pt x="225" y="225"/>
                </a:cubicBezTo>
                <a:cubicBezTo>
                  <a:pt x="217" y="222"/>
                  <a:pt x="212" y="217"/>
                  <a:pt x="208" y="211"/>
                </a:cubicBezTo>
                <a:cubicBezTo>
                  <a:pt x="204" y="206"/>
                  <a:pt x="201" y="199"/>
                  <a:pt x="200" y="191"/>
                </a:cubicBezTo>
                <a:cubicBezTo>
                  <a:pt x="199" y="185"/>
                  <a:pt x="198" y="177"/>
                  <a:pt x="198" y="165"/>
                </a:cubicBezTo>
                <a:lnTo>
                  <a:pt x="198" y="63"/>
                </a:lnTo>
                <a:lnTo>
                  <a:pt x="224" y="63"/>
                </a:lnTo>
                <a:lnTo>
                  <a:pt x="224" y="154"/>
                </a:lnTo>
                <a:cubicBezTo>
                  <a:pt x="224" y="168"/>
                  <a:pt x="225" y="178"/>
                  <a:pt x="226" y="183"/>
                </a:cubicBezTo>
                <a:cubicBezTo>
                  <a:pt x="227" y="191"/>
                  <a:pt x="231" y="196"/>
                  <a:pt x="236" y="201"/>
                </a:cubicBezTo>
                <a:cubicBezTo>
                  <a:pt x="242" y="205"/>
                  <a:pt x="248" y="207"/>
                  <a:pt x="256" y="207"/>
                </a:cubicBezTo>
                <a:cubicBezTo>
                  <a:pt x="264" y="207"/>
                  <a:pt x="271" y="205"/>
                  <a:pt x="278" y="200"/>
                </a:cubicBezTo>
                <a:cubicBezTo>
                  <a:pt x="285" y="196"/>
                  <a:pt x="289" y="190"/>
                  <a:pt x="292" y="183"/>
                </a:cubicBezTo>
                <a:cubicBezTo>
                  <a:pt x="295" y="176"/>
                  <a:pt x="296" y="165"/>
                  <a:pt x="296" y="151"/>
                </a:cubicBezTo>
                <a:lnTo>
                  <a:pt x="296" y="63"/>
                </a:lnTo>
                <a:lnTo>
                  <a:pt x="322" y="63"/>
                </a:lnTo>
                <a:lnTo>
                  <a:pt x="322" y="228"/>
                </a:lnTo>
                <a:lnTo>
                  <a:pt x="299" y="228"/>
                </a:lnTo>
                <a:close/>
                <a:moveTo>
                  <a:pt x="406" y="203"/>
                </a:moveTo>
                <a:lnTo>
                  <a:pt x="410" y="227"/>
                </a:lnTo>
                <a:cubicBezTo>
                  <a:pt x="402" y="229"/>
                  <a:pt x="396" y="230"/>
                  <a:pt x="390" y="230"/>
                </a:cubicBezTo>
                <a:cubicBezTo>
                  <a:pt x="381" y="230"/>
                  <a:pt x="373" y="228"/>
                  <a:pt x="368" y="225"/>
                </a:cubicBezTo>
                <a:cubicBezTo>
                  <a:pt x="363" y="222"/>
                  <a:pt x="359" y="218"/>
                  <a:pt x="357" y="212"/>
                </a:cubicBezTo>
                <a:cubicBezTo>
                  <a:pt x="355" y="207"/>
                  <a:pt x="354" y="196"/>
                  <a:pt x="354" y="179"/>
                </a:cubicBezTo>
                <a:lnTo>
                  <a:pt x="354" y="84"/>
                </a:lnTo>
                <a:lnTo>
                  <a:pt x="335" y="84"/>
                </a:lnTo>
                <a:lnTo>
                  <a:pt x="335" y="63"/>
                </a:lnTo>
                <a:lnTo>
                  <a:pt x="354" y="63"/>
                </a:lnTo>
                <a:lnTo>
                  <a:pt x="354" y="22"/>
                </a:lnTo>
                <a:lnTo>
                  <a:pt x="380" y="5"/>
                </a:lnTo>
                <a:lnTo>
                  <a:pt x="380" y="63"/>
                </a:lnTo>
                <a:lnTo>
                  <a:pt x="406" y="63"/>
                </a:lnTo>
                <a:lnTo>
                  <a:pt x="406" y="84"/>
                </a:lnTo>
                <a:lnTo>
                  <a:pt x="380" y="84"/>
                </a:lnTo>
                <a:lnTo>
                  <a:pt x="380" y="181"/>
                </a:lnTo>
                <a:cubicBezTo>
                  <a:pt x="380" y="189"/>
                  <a:pt x="380" y="194"/>
                  <a:pt x="381" y="196"/>
                </a:cubicBezTo>
                <a:cubicBezTo>
                  <a:pt x="382" y="199"/>
                  <a:pt x="384" y="200"/>
                  <a:pt x="386" y="202"/>
                </a:cubicBezTo>
                <a:cubicBezTo>
                  <a:pt x="388" y="203"/>
                  <a:pt x="391" y="204"/>
                  <a:pt x="395" y="204"/>
                </a:cubicBezTo>
                <a:cubicBezTo>
                  <a:pt x="398" y="204"/>
                  <a:pt x="401" y="203"/>
                  <a:pt x="406" y="203"/>
                </a:cubicBezTo>
                <a:close/>
                <a:moveTo>
                  <a:pt x="408" y="145"/>
                </a:moveTo>
                <a:cubicBezTo>
                  <a:pt x="408" y="115"/>
                  <a:pt x="416" y="92"/>
                  <a:pt x="432" y="78"/>
                </a:cubicBezTo>
                <a:cubicBezTo>
                  <a:pt x="445" y="65"/>
                  <a:pt x="461" y="59"/>
                  <a:pt x="480" y="59"/>
                </a:cubicBezTo>
                <a:cubicBezTo>
                  <a:pt x="501" y="59"/>
                  <a:pt x="518" y="67"/>
                  <a:pt x="532" y="81"/>
                </a:cubicBezTo>
                <a:cubicBezTo>
                  <a:pt x="545" y="96"/>
                  <a:pt x="552" y="117"/>
                  <a:pt x="552" y="143"/>
                </a:cubicBezTo>
                <a:cubicBezTo>
                  <a:pt x="552" y="164"/>
                  <a:pt x="549" y="181"/>
                  <a:pt x="543" y="193"/>
                </a:cubicBezTo>
                <a:cubicBezTo>
                  <a:pt x="537" y="205"/>
                  <a:pt x="529" y="214"/>
                  <a:pt x="517" y="221"/>
                </a:cubicBezTo>
                <a:cubicBezTo>
                  <a:pt x="506" y="228"/>
                  <a:pt x="494" y="231"/>
                  <a:pt x="480" y="231"/>
                </a:cubicBezTo>
                <a:cubicBezTo>
                  <a:pt x="459" y="231"/>
                  <a:pt x="441" y="224"/>
                  <a:pt x="428" y="209"/>
                </a:cubicBezTo>
                <a:cubicBezTo>
                  <a:pt x="415" y="194"/>
                  <a:pt x="408" y="173"/>
                  <a:pt x="408" y="145"/>
                </a:cubicBezTo>
                <a:close/>
                <a:moveTo>
                  <a:pt x="435" y="145"/>
                </a:moveTo>
                <a:cubicBezTo>
                  <a:pt x="435" y="166"/>
                  <a:pt x="439" y="182"/>
                  <a:pt x="448" y="192"/>
                </a:cubicBezTo>
                <a:cubicBezTo>
                  <a:pt x="456" y="203"/>
                  <a:pt x="467" y="208"/>
                  <a:pt x="480" y="208"/>
                </a:cubicBezTo>
                <a:cubicBezTo>
                  <a:pt x="493" y="208"/>
                  <a:pt x="504" y="203"/>
                  <a:pt x="512" y="192"/>
                </a:cubicBezTo>
                <a:cubicBezTo>
                  <a:pt x="521" y="182"/>
                  <a:pt x="525" y="166"/>
                  <a:pt x="525" y="144"/>
                </a:cubicBezTo>
                <a:cubicBezTo>
                  <a:pt x="525" y="124"/>
                  <a:pt x="521" y="109"/>
                  <a:pt x="512" y="98"/>
                </a:cubicBezTo>
                <a:cubicBezTo>
                  <a:pt x="504" y="88"/>
                  <a:pt x="493" y="82"/>
                  <a:pt x="480" y="82"/>
                </a:cubicBezTo>
                <a:cubicBezTo>
                  <a:pt x="467" y="82"/>
                  <a:pt x="456" y="88"/>
                  <a:pt x="448" y="98"/>
                </a:cubicBezTo>
                <a:cubicBezTo>
                  <a:pt x="439" y="108"/>
                  <a:pt x="435" y="124"/>
                  <a:pt x="435" y="145"/>
                </a:cubicBezTo>
                <a:close/>
                <a:moveTo>
                  <a:pt x="569" y="228"/>
                </a:moveTo>
                <a:lnTo>
                  <a:pt x="569" y="63"/>
                </a:lnTo>
                <a:lnTo>
                  <a:pt x="592" y="63"/>
                </a:lnTo>
                <a:lnTo>
                  <a:pt x="592" y="86"/>
                </a:lnTo>
                <a:cubicBezTo>
                  <a:pt x="603" y="68"/>
                  <a:pt x="620" y="59"/>
                  <a:pt x="641" y="59"/>
                </a:cubicBezTo>
                <a:cubicBezTo>
                  <a:pt x="650" y="59"/>
                  <a:pt x="659" y="61"/>
                  <a:pt x="666" y="65"/>
                </a:cubicBezTo>
                <a:cubicBezTo>
                  <a:pt x="674" y="68"/>
                  <a:pt x="680" y="73"/>
                  <a:pt x="684" y="79"/>
                </a:cubicBezTo>
                <a:cubicBezTo>
                  <a:pt x="688" y="84"/>
                  <a:pt x="690" y="91"/>
                  <a:pt x="692" y="99"/>
                </a:cubicBezTo>
                <a:cubicBezTo>
                  <a:pt x="693" y="104"/>
                  <a:pt x="693" y="113"/>
                  <a:pt x="693" y="126"/>
                </a:cubicBezTo>
                <a:lnTo>
                  <a:pt x="693" y="228"/>
                </a:lnTo>
                <a:lnTo>
                  <a:pt x="667" y="228"/>
                </a:lnTo>
                <a:lnTo>
                  <a:pt x="667" y="127"/>
                </a:lnTo>
                <a:cubicBezTo>
                  <a:pt x="667" y="116"/>
                  <a:pt x="666" y="108"/>
                  <a:pt x="664" y="102"/>
                </a:cubicBezTo>
                <a:cubicBezTo>
                  <a:pt x="662" y="96"/>
                  <a:pt x="659" y="92"/>
                  <a:pt x="653" y="88"/>
                </a:cubicBezTo>
                <a:cubicBezTo>
                  <a:pt x="648" y="85"/>
                  <a:pt x="642" y="83"/>
                  <a:pt x="635" y="83"/>
                </a:cubicBezTo>
                <a:cubicBezTo>
                  <a:pt x="624" y="83"/>
                  <a:pt x="615" y="87"/>
                  <a:pt x="607" y="95"/>
                </a:cubicBezTo>
                <a:cubicBezTo>
                  <a:pt x="599" y="102"/>
                  <a:pt x="595" y="117"/>
                  <a:pt x="595" y="138"/>
                </a:cubicBezTo>
                <a:lnTo>
                  <a:pt x="595" y="228"/>
                </a:lnTo>
                <a:lnTo>
                  <a:pt x="569" y="228"/>
                </a:lnTo>
                <a:close/>
                <a:moveTo>
                  <a:pt x="710" y="145"/>
                </a:moveTo>
                <a:cubicBezTo>
                  <a:pt x="710" y="115"/>
                  <a:pt x="718" y="92"/>
                  <a:pt x="733" y="78"/>
                </a:cubicBezTo>
                <a:cubicBezTo>
                  <a:pt x="747" y="65"/>
                  <a:pt x="763" y="59"/>
                  <a:pt x="782" y="59"/>
                </a:cubicBezTo>
                <a:cubicBezTo>
                  <a:pt x="803" y="59"/>
                  <a:pt x="820" y="67"/>
                  <a:pt x="833" y="81"/>
                </a:cubicBezTo>
                <a:cubicBezTo>
                  <a:pt x="847" y="96"/>
                  <a:pt x="853" y="117"/>
                  <a:pt x="853" y="143"/>
                </a:cubicBezTo>
                <a:cubicBezTo>
                  <a:pt x="853" y="164"/>
                  <a:pt x="850" y="181"/>
                  <a:pt x="845" y="193"/>
                </a:cubicBezTo>
                <a:cubicBezTo>
                  <a:pt x="839" y="205"/>
                  <a:pt x="830" y="214"/>
                  <a:pt x="819" y="221"/>
                </a:cubicBezTo>
                <a:cubicBezTo>
                  <a:pt x="807" y="228"/>
                  <a:pt x="795" y="231"/>
                  <a:pt x="782" y="231"/>
                </a:cubicBezTo>
                <a:cubicBezTo>
                  <a:pt x="760" y="231"/>
                  <a:pt x="743" y="224"/>
                  <a:pt x="730" y="209"/>
                </a:cubicBezTo>
                <a:cubicBezTo>
                  <a:pt x="716" y="194"/>
                  <a:pt x="710" y="173"/>
                  <a:pt x="710" y="145"/>
                </a:cubicBezTo>
                <a:close/>
                <a:moveTo>
                  <a:pt x="736" y="145"/>
                </a:moveTo>
                <a:cubicBezTo>
                  <a:pt x="736" y="166"/>
                  <a:pt x="741" y="182"/>
                  <a:pt x="749" y="192"/>
                </a:cubicBezTo>
                <a:cubicBezTo>
                  <a:pt x="758" y="203"/>
                  <a:pt x="769" y="208"/>
                  <a:pt x="782" y="208"/>
                </a:cubicBezTo>
                <a:cubicBezTo>
                  <a:pt x="795" y="208"/>
                  <a:pt x="805" y="203"/>
                  <a:pt x="814" y="192"/>
                </a:cubicBezTo>
                <a:cubicBezTo>
                  <a:pt x="823" y="182"/>
                  <a:pt x="827" y="166"/>
                  <a:pt x="827" y="144"/>
                </a:cubicBezTo>
                <a:cubicBezTo>
                  <a:pt x="827" y="124"/>
                  <a:pt x="822" y="109"/>
                  <a:pt x="814" y="98"/>
                </a:cubicBezTo>
                <a:cubicBezTo>
                  <a:pt x="805" y="88"/>
                  <a:pt x="794" y="82"/>
                  <a:pt x="782" y="82"/>
                </a:cubicBezTo>
                <a:cubicBezTo>
                  <a:pt x="769" y="82"/>
                  <a:pt x="758" y="88"/>
                  <a:pt x="749" y="98"/>
                </a:cubicBezTo>
                <a:cubicBezTo>
                  <a:pt x="741" y="108"/>
                  <a:pt x="736" y="124"/>
                  <a:pt x="736" y="145"/>
                </a:cubicBezTo>
                <a:close/>
                <a:moveTo>
                  <a:pt x="870" y="228"/>
                </a:moveTo>
                <a:lnTo>
                  <a:pt x="870" y="63"/>
                </a:lnTo>
                <a:lnTo>
                  <a:pt x="894" y="63"/>
                </a:lnTo>
                <a:lnTo>
                  <a:pt x="894" y="86"/>
                </a:lnTo>
                <a:cubicBezTo>
                  <a:pt x="898" y="78"/>
                  <a:pt x="905" y="71"/>
                  <a:pt x="913" y="67"/>
                </a:cubicBezTo>
                <a:cubicBezTo>
                  <a:pt x="921" y="62"/>
                  <a:pt x="930" y="59"/>
                  <a:pt x="940" y="59"/>
                </a:cubicBezTo>
                <a:cubicBezTo>
                  <a:pt x="951" y="59"/>
                  <a:pt x="961" y="62"/>
                  <a:pt x="968" y="67"/>
                </a:cubicBezTo>
                <a:cubicBezTo>
                  <a:pt x="975" y="72"/>
                  <a:pt x="980" y="79"/>
                  <a:pt x="983" y="88"/>
                </a:cubicBezTo>
                <a:cubicBezTo>
                  <a:pt x="995" y="69"/>
                  <a:pt x="1011" y="59"/>
                  <a:pt x="1031" y="59"/>
                </a:cubicBezTo>
                <a:cubicBezTo>
                  <a:pt x="1046" y="59"/>
                  <a:pt x="1058" y="64"/>
                  <a:pt x="1066" y="73"/>
                </a:cubicBezTo>
                <a:cubicBezTo>
                  <a:pt x="1074" y="82"/>
                  <a:pt x="1078" y="96"/>
                  <a:pt x="1078" y="115"/>
                </a:cubicBezTo>
                <a:lnTo>
                  <a:pt x="1078" y="228"/>
                </a:lnTo>
                <a:lnTo>
                  <a:pt x="1052" y="228"/>
                </a:lnTo>
                <a:lnTo>
                  <a:pt x="1052" y="124"/>
                </a:lnTo>
                <a:cubicBezTo>
                  <a:pt x="1052" y="113"/>
                  <a:pt x="1052" y="105"/>
                  <a:pt x="1050" y="100"/>
                </a:cubicBezTo>
                <a:cubicBezTo>
                  <a:pt x="1048" y="95"/>
                  <a:pt x="1045" y="91"/>
                  <a:pt x="1041" y="88"/>
                </a:cubicBezTo>
                <a:cubicBezTo>
                  <a:pt x="1036" y="85"/>
                  <a:pt x="1031" y="83"/>
                  <a:pt x="1025" y="83"/>
                </a:cubicBezTo>
                <a:cubicBezTo>
                  <a:pt x="1014" y="83"/>
                  <a:pt x="1005" y="87"/>
                  <a:pt x="998" y="95"/>
                </a:cubicBezTo>
                <a:cubicBezTo>
                  <a:pt x="991" y="103"/>
                  <a:pt x="987" y="115"/>
                  <a:pt x="987" y="132"/>
                </a:cubicBezTo>
                <a:lnTo>
                  <a:pt x="987" y="228"/>
                </a:lnTo>
                <a:lnTo>
                  <a:pt x="961" y="228"/>
                </a:lnTo>
                <a:lnTo>
                  <a:pt x="961" y="121"/>
                </a:lnTo>
                <a:cubicBezTo>
                  <a:pt x="961" y="108"/>
                  <a:pt x="959" y="99"/>
                  <a:pt x="955" y="93"/>
                </a:cubicBezTo>
                <a:cubicBezTo>
                  <a:pt x="951" y="87"/>
                  <a:pt x="944" y="83"/>
                  <a:pt x="934" y="83"/>
                </a:cubicBezTo>
                <a:cubicBezTo>
                  <a:pt x="927" y="83"/>
                  <a:pt x="920" y="85"/>
                  <a:pt x="914" y="90"/>
                </a:cubicBezTo>
                <a:cubicBezTo>
                  <a:pt x="908" y="94"/>
                  <a:pt x="903" y="100"/>
                  <a:pt x="900" y="108"/>
                </a:cubicBezTo>
                <a:cubicBezTo>
                  <a:pt x="898" y="116"/>
                  <a:pt x="896" y="127"/>
                  <a:pt x="896" y="142"/>
                </a:cubicBezTo>
                <a:lnTo>
                  <a:pt x="896" y="228"/>
                </a:lnTo>
                <a:lnTo>
                  <a:pt x="870" y="228"/>
                </a:lnTo>
                <a:close/>
                <a:moveTo>
                  <a:pt x="1093" y="145"/>
                </a:moveTo>
                <a:cubicBezTo>
                  <a:pt x="1093" y="115"/>
                  <a:pt x="1101" y="92"/>
                  <a:pt x="1117" y="78"/>
                </a:cubicBezTo>
                <a:cubicBezTo>
                  <a:pt x="1130" y="65"/>
                  <a:pt x="1146" y="59"/>
                  <a:pt x="1165" y="59"/>
                </a:cubicBezTo>
                <a:cubicBezTo>
                  <a:pt x="1186" y="59"/>
                  <a:pt x="1203" y="67"/>
                  <a:pt x="1217" y="81"/>
                </a:cubicBezTo>
                <a:cubicBezTo>
                  <a:pt x="1230" y="96"/>
                  <a:pt x="1237" y="117"/>
                  <a:pt x="1237" y="143"/>
                </a:cubicBezTo>
                <a:cubicBezTo>
                  <a:pt x="1237" y="164"/>
                  <a:pt x="1234" y="181"/>
                  <a:pt x="1228" y="193"/>
                </a:cubicBezTo>
                <a:cubicBezTo>
                  <a:pt x="1222" y="205"/>
                  <a:pt x="1213" y="214"/>
                  <a:pt x="1202" y="221"/>
                </a:cubicBezTo>
                <a:cubicBezTo>
                  <a:pt x="1191" y="228"/>
                  <a:pt x="1178" y="231"/>
                  <a:pt x="1165" y="231"/>
                </a:cubicBezTo>
                <a:cubicBezTo>
                  <a:pt x="1144" y="231"/>
                  <a:pt x="1126" y="224"/>
                  <a:pt x="1113" y="209"/>
                </a:cubicBezTo>
                <a:cubicBezTo>
                  <a:pt x="1100" y="194"/>
                  <a:pt x="1093" y="173"/>
                  <a:pt x="1093" y="145"/>
                </a:cubicBezTo>
                <a:close/>
                <a:moveTo>
                  <a:pt x="1120" y="145"/>
                </a:moveTo>
                <a:cubicBezTo>
                  <a:pt x="1120" y="166"/>
                  <a:pt x="1124" y="182"/>
                  <a:pt x="1133" y="192"/>
                </a:cubicBezTo>
                <a:cubicBezTo>
                  <a:pt x="1141" y="203"/>
                  <a:pt x="1152" y="208"/>
                  <a:pt x="1165" y="208"/>
                </a:cubicBezTo>
                <a:cubicBezTo>
                  <a:pt x="1178" y="208"/>
                  <a:pt x="1189" y="203"/>
                  <a:pt x="1197" y="192"/>
                </a:cubicBezTo>
                <a:cubicBezTo>
                  <a:pt x="1206" y="182"/>
                  <a:pt x="1210" y="166"/>
                  <a:pt x="1210" y="144"/>
                </a:cubicBezTo>
                <a:cubicBezTo>
                  <a:pt x="1210" y="124"/>
                  <a:pt x="1206" y="109"/>
                  <a:pt x="1197" y="98"/>
                </a:cubicBezTo>
                <a:cubicBezTo>
                  <a:pt x="1189" y="88"/>
                  <a:pt x="1178" y="82"/>
                  <a:pt x="1165" y="82"/>
                </a:cubicBezTo>
                <a:cubicBezTo>
                  <a:pt x="1152" y="82"/>
                  <a:pt x="1141" y="88"/>
                  <a:pt x="1133" y="98"/>
                </a:cubicBezTo>
                <a:cubicBezTo>
                  <a:pt x="1124" y="108"/>
                  <a:pt x="1120" y="124"/>
                  <a:pt x="1120" y="145"/>
                </a:cubicBezTo>
                <a:close/>
                <a:moveTo>
                  <a:pt x="1354" y="228"/>
                </a:moveTo>
                <a:lnTo>
                  <a:pt x="1354" y="203"/>
                </a:lnTo>
                <a:cubicBezTo>
                  <a:pt x="1342" y="222"/>
                  <a:pt x="1326" y="231"/>
                  <a:pt x="1305" y="231"/>
                </a:cubicBezTo>
                <a:cubicBezTo>
                  <a:pt x="1296" y="231"/>
                  <a:pt x="1288" y="229"/>
                  <a:pt x="1280" y="225"/>
                </a:cubicBezTo>
                <a:cubicBezTo>
                  <a:pt x="1272" y="222"/>
                  <a:pt x="1266" y="217"/>
                  <a:pt x="1263" y="211"/>
                </a:cubicBezTo>
                <a:cubicBezTo>
                  <a:pt x="1259" y="206"/>
                  <a:pt x="1256" y="199"/>
                  <a:pt x="1255" y="191"/>
                </a:cubicBezTo>
                <a:cubicBezTo>
                  <a:pt x="1253" y="185"/>
                  <a:pt x="1253" y="177"/>
                  <a:pt x="1253" y="165"/>
                </a:cubicBezTo>
                <a:lnTo>
                  <a:pt x="1253" y="63"/>
                </a:lnTo>
                <a:lnTo>
                  <a:pt x="1279" y="63"/>
                </a:lnTo>
                <a:lnTo>
                  <a:pt x="1279" y="154"/>
                </a:lnTo>
                <a:cubicBezTo>
                  <a:pt x="1279" y="168"/>
                  <a:pt x="1280" y="178"/>
                  <a:pt x="1281" y="183"/>
                </a:cubicBezTo>
                <a:cubicBezTo>
                  <a:pt x="1282" y="191"/>
                  <a:pt x="1286" y="196"/>
                  <a:pt x="1291" y="201"/>
                </a:cubicBezTo>
                <a:cubicBezTo>
                  <a:pt x="1296" y="205"/>
                  <a:pt x="1303" y="207"/>
                  <a:pt x="1311" y="207"/>
                </a:cubicBezTo>
                <a:cubicBezTo>
                  <a:pt x="1318" y="207"/>
                  <a:pt x="1326" y="205"/>
                  <a:pt x="1332" y="200"/>
                </a:cubicBezTo>
                <a:cubicBezTo>
                  <a:pt x="1339" y="196"/>
                  <a:pt x="1344" y="190"/>
                  <a:pt x="1347" y="183"/>
                </a:cubicBezTo>
                <a:cubicBezTo>
                  <a:pt x="1350" y="176"/>
                  <a:pt x="1351" y="165"/>
                  <a:pt x="1351" y="151"/>
                </a:cubicBezTo>
                <a:lnTo>
                  <a:pt x="1351" y="63"/>
                </a:lnTo>
                <a:lnTo>
                  <a:pt x="1377" y="63"/>
                </a:lnTo>
                <a:lnTo>
                  <a:pt x="1377" y="228"/>
                </a:lnTo>
                <a:lnTo>
                  <a:pt x="1354" y="228"/>
                </a:lnTo>
                <a:close/>
                <a:moveTo>
                  <a:pt x="1394" y="178"/>
                </a:moveTo>
                <a:lnTo>
                  <a:pt x="1420" y="174"/>
                </a:lnTo>
                <a:cubicBezTo>
                  <a:pt x="1421" y="185"/>
                  <a:pt x="1425" y="193"/>
                  <a:pt x="1432" y="199"/>
                </a:cubicBezTo>
                <a:cubicBezTo>
                  <a:pt x="1438" y="205"/>
                  <a:pt x="1448" y="208"/>
                  <a:pt x="1459" y="208"/>
                </a:cubicBezTo>
                <a:cubicBezTo>
                  <a:pt x="1471" y="208"/>
                  <a:pt x="1480" y="206"/>
                  <a:pt x="1486" y="200"/>
                </a:cubicBezTo>
                <a:cubicBezTo>
                  <a:pt x="1492" y="195"/>
                  <a:pt x="1495" y="189"/>
                  <a:pt x="1495" y="182"/>
                </a:cubicBezTo>
                <a:cubicBezTo>
                  <a:pt x="1495" y="176"/>
                  <a:pt x="1492" y="171"/>
                  <a:pt x="1487" y="167"/>
                </a:cubicBezTo>
                <a:cubicBezTo>
                  <a:pt x="1483" y="165"/>
                  <a:pt x="1474" y="161"/>
                  <a:pt x="1460" y="158"/>
                </a:cubicBezTo>
                <a:cubicBezTo>
                  <a:pt x="1441" y="152"/>
                  <a:pt x="1428" y="148"/>
                  <a:pt x="1421" y="144"/>
                </a:cubicBezTo>
                <a:cubicBezTo>
                  <a:pt x="1413" y="140"/>
                  <a:pt x="1408" y="135"/>
                  <a:pt x="1404" y="129"/>
                </a:cubicBezTo>
                <a:cubicBezTo>
                  <a:pt x="1400" y="122"/>
                  <a:pt x="1398" y="115"/>
                  <a:pt x="1398" y="107"/>
                </a:cubicBezTo>
                <a:cubicBezTo>
                  <a:pt x="1398" y="99"/>
                  <a:pt x="1400" y="92"/>
                  <a:pt x="1403" y="86"/>
                </a:cubicBezTo>
                <a:cubicBezTo>
                  <a:pt x="1406" y="80"/>
                  <a:pt x="1410" y="75"/>
                  <a:pt x="1416" y="71"/>
                </a:cubicBezTo>
                <a:cubicBezTo>
                  <a:pt x="1420" y="68"/>
                  <a:pt x="1425" y="65"/>
                  <a:pt x="1432" y="63"/>
                </a:cubicBezTo>
                <a:cubicBezTo>
                  <a:pt x="1439" y="60"/>
                  <a:pt x="1447" y="59"/>
                  <a:pt x="1455" y="59"/>
                </a:cubicBezTo>
                <a:cubicBezTo>
                  <a:pt x="1467" y="59"/>
                  <a:pt x="1477" y="61"/>
                  <a:pt x="1486" y="65"/>
                </a:cubicBezTo>
                <a:cubicBezTo>
                  <a:pt x="1496" y="69"/>
                  <a:pt x="1502" y="74"/>
                  <a:pt x="1507" y="80"/>
                </a:cubicBezTo>
                <a:cubicBezTo>
                  <a:pt x="1511" y="86"/>
                  <a:pt x="1514" y="95"/>
                  <a:pt x="1516" y="106"/>
                </a:cubicBezTo>
                <a:lnTo>
                  <a:pt x="1490" y="109"/>
                </a:lnTo>
                <a:cubicBezTo>
                  <a:pt x="1489" y="101"/>
                  <a:pt x="1486" y="94"/>
                  <a:pt x="1480" y="89"/>
                </a:cubicBezTo>
                <a:cubicBezTo>
                  <a:pt x="1475" y="84"/>
                  <a:pt x="1467" y="82"/>
                  <a:pt x="1457" y="82"/>
                </a:cubicBezTo>
                <a:cubicBezTo>
                  <a:pt x="1445" y="82"/>
                  <a:pt x="1436" y="84"/>
                  <a:pt x="1431" y="88"/>
                </a:cubicBezTo>
                <a:cubicBezTo>
                  <a:pt x="1426" y="93"/>
                  <a:pt x="1424" y="98"/>
                  <a:pt x="1424" y="103"/>
                </a:cubicBezTo>
                <a:cubicBezTo>
                  <a:pt x="1424" y="107"/>
                  <a:pt x="1425" y="110"/>
                  <a:pt x="1427" y="113"/>
                </a:cubicBezTo>
                <a:cubicBezTo>
                  <a:pt x="1429" y="116"/>
                  <a:pt x="1432" y="119"/>
                  <a:pt x="1437" y="121"/>
                </a:cubicBezTo>
                <a:cubicBezTo>
                  <a:pt x="1439" y="122"/>
                  <a:pt x="1447" y="124"/>
                  <a:pt x="1460" y="128"/>
                </a:cubicBezTo>
                <a:cubicBezTo>
                  <a:pt x="1478" y="133"/>
                  <a:pt x="1491" y="137"/>
                  <a:pt x="1498" y="141"/>
                </a:cubicBezTo>
                <a:cubicBezTo>
                  <a:pt x="1505" y="144"/>
                  <a:pt x="1511" y="149"/>
                  <a:pt x="1515" y="155"/>
                </a:cubicBezTo>
                <a:cubicBezTo>
                  <a:pt x="1519" y="162"/>
                  <a:pt x="1521" y="170"/>
                  <a:pt x="1521" y="179"/>
                </a:cubicBezTo>
                <a:cubicBezTo>
                  <a:pt x="1521" y="188"/>
                  <a:pt x="1519" y="197"/>
                  <a:pt x="1514" y="205"/>
                </a:cubicBezTo>
                <a:cubicBezTo>
                  <a:pt x="1509" y="213"/>
                  <a:pt x="1501" y="220"/>
                  <a:pt x="1492" y="224"/>
                </a:cubicBezTo>
                <a:cubicBezTo>
                  <a:pt x="1482" y="229"/>
                  <a:pt x="1472" y="231"/>
                  <a:pt x="1460" y="231"/>
                </a:cubicBezTo>
                <a:cubicBezTo>
                  <a:pt x="1440" y="231"/>
                  <a:pt x="1424" y="227"/>
                  <a:pt x="1414" y="218"/>
                </a:cubicBezTo>
                <a:cubicBezTo>
                  <a:pt x="1403" y="209"/>
                  <a:pt x="1397" y="196"/>
                  <a:pt x="1394" y="1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9" name="Freeform 99">
            <a:extLst>
              <a:ext uri="{FF2B5EF4-FFF2-40B4-BE49-F238E27FC236}">
                <a16:creationId xmlns:a16="http://schemas.microsoft.com/office/drawing/2014/main" id="{9EBB023C-A3E8-4C59-A5CE-C3659E138637}"/>
              </a:ext>
            </a:extLst>
          </p:cNvPr>
          <p:cNvSpPr>
            <a:spLocks noEditPoints="1"/>
          </p:cNvSpPr>
          <p:nvPr/>
        </p:nvSpPr>
        <p:spPr bwMode="auto">
          <a:xfrm>
            <a:off x="3503613" y="3032126"/>
            <a:ext cx="457200" cy="84138"/>
          </a:xfrm>
          <a:custGeom>
            <a:avLst/>
            <a:gdLst>
              <a:gd name="T0" fmla="*/ 28 w 1267"/>
              <a:gd name="T1" fmla="*/ 94 h 231"/>
              <a:gd name="T2" fmla="*/ 166 w 1267"/>
              <a:gd name="T3" fmla="*/ 228 h 231"/>
              <a:gd name="T4" fmla="*/ 28 w 1267"/>
              <a:gd name="T5" fmla="*/ 228 h 231"/>
              <a:gd name="T6" fmla="*/ 303 w 1267"/>
              <a:gd name="T7" fmla="*/ 217 h 231"/>
              <a:gd name="T8" fmla="*/ 207 w 1267"/>
              <a:gd name="T9" fmla="*/ 82 h 231"/>
              <a:gd name="T10" fmla="*/ 328 w 1267"/>
              <a:gd name="T11" fmla="*/ 152 h 231"/>
              <a:gd name="T12" fmla="*/ 284 w 1267"/>
              <a:gd name="T13" fmla="*/ 200 h 231"/>
              <a:gd name="T14" fmla="*/ 290 w 1267"/>
              <a:gd name="T15" fmla="*/ 98 h 231"/>
              <a:gd name="T16" fmla="*/ 448 w 1267"/>
              <a:gd name="T17" fmla="*/ 207 h 231"/>
              <a:gd name="T18" fmla="*/ 339 w 1267"/>
              <a:gd name="T19" fmla="*/ 184 h 231"/>
              <a:gd name="T20" fmla="*/ 399 w 1267"/>
              <a:gd name="T21" fmla="*/ 133 h 231"/>
              <a:gd name="T22" fmla="*/ 409 w 1267"/>
              <a:gd name="T23" fmla="*/ 82 h 231"/>
              <a:gd name="T24" fmla="*/ 355 w 1267"/>
              <a:gd name="T25" fmla="*/ 82 h 231"/>
              <a:gd name="T26" fmla="*/ 463 w 1267"/>
              <a:gd name="T27" fmla="*/ 77 h 231"/>
              <a:gd name="T28" fmla="*/ 474 w 1267"/>
              <a:gd name="T29" fmla="*/ 208 h 231"/>
              <a:gd name="T30" fmla="*/ 446 w 1267"/>
              <a:gd name="T31" fmla="*/ 145 h 231"/>
              <a:gd name="T32" fmla="*/ 366 w 1267"/>
              <a:gd name="T33" fmla="*/ 183 h 231"/>
              <a:gd name="T34" fmla="*/ 441 w 1267"/>
              <a:gd name="T35" fmla="*/ 183 h 231"/>
              <a:gd name="T36" fmla="*/ 498 w 1267"/>
              <a:gd name="T37" fmla="*/ 0 h 231"/>
              <a:gd name="T38" fmla="*/ 607 w 1267"/>
              <a:gd name="T39" fmla="*/ 203 h 231"/>
              <a:gd name="T40" fmla="*/ 558 w 1267"/>
              <a:gd name="T41" fmla="*/ 212 h 231"/>
              <a:gd name="T42" fmla="*/ 535 w 1267"/>
              <a:gd name="T43" fmla="*/ 63 h 231"/>
              <a:gd name="T44" fmla="*/ 581 w 1267"/>
              <a:gd name="T45" fmla="*/ 63 h 231"/>
              <a:gd name="T46" fmla="*/ 581 w 1267"/>
              <a:gd name="T47" fmla="*/ 181 h 231"/>
              <a:gd name="T48" fmla="*/ 607 w 1267"/>
              <a:gd name="T49" fmla="*/ 203 h 231"/>
              <a:gd name="T50" fmla="*/ 645 w 1267"/>
              <a:gd name="T51" fmla="*/ 82 h 231"/>
              <a:gd name="T52" fmla="*/ 743 w 1267"/>
              <a:gd name="T53" fmla="*/ 123 h 231"/>
              <a:gd name="T54" fmla="*/ 709 w 1267"/>
              <a:gd name="T55" fmla="*/ 93 h 231"/>
              <a:gd name="T56" fmla="*/ 645 w 1267"/>
              <a:gd name="T57" fmla="*/ 138 h 231"/>
              <a:gd name="T58" fmla="*/ 895 w 1267"/>
              <a:gd name="T59" fmla="*/ 171 h 231"/>
              <a:gd name="T60" fmla="*/ 762 w 1267"/>
              <a:gd name="T61" fmla="*/ 146 h 231"/>
              <a:gd name="T62" fmla="*/ 872 w 1267"/>
              <a:gd name="T63" fmla="*/ 73 h 231"/>
              <a:gd name="T64" fmla="*/ 833 w 1267"/>
              <a:gd name="T65" fmla="*/ 82 h 231"/>
              <a:gd name="T66" fmla="*/ 831 w 1267"/>
              <a:gd name="T67" fmla="*/ 208 h 231"/>
              <a:gd name="T68" fmla="*/ 976 w 1267"/>
              <a:gd name="T69" fmla="*/ 226 h 231"/>
              <a:gd name="T70" fmla="*/ 900 w 1267"/>
              <a:gd name="T71" fmla="*/ 162 h 231"/>
              <a:gd name="T72" fmla="*/ 1002 w 1267"/>
              <a:gd name="T73" fmla="*/ 123 h 231"/>
              <a:gd name="T74" fmla="*/ 937 w 1267"/>
              <a:gd name="T75" fmla="*/ 89 h 231"/>
              <a:gd name="T76" fmla="*/ 934 w 1267"/>
              <a:gd name="T77" fmla="*/ 65 h 231"/>
              <a:gd name="T78" fmla="*/ 1027 w 1267"/>
              <a:gd name="T79" fmla="*/ 96 h 231"/>
              <a:gd name="T80" fmla="*/ 1036 w 1267"/>
              <a:gd name="T81" fmla="*/ 228 h 231"/>
              <a:gd name="T82" fmla="*/ 959 w 1267"/>
              <a:gd name="T83" fmla="*/ 155 h 231"/>
              <a:gd name="T84" fmla="*/ 930 w 1267"/>
              <a:gd name="T85" fmla="*/ 202 h 231"/>
              <a:gd name="T86" fmla="*/ 1002 w 1267"/>
              <a:gd name="T87" fmla="*/ 155 h 231"/>
              <a:gd name="T88" fmla="*/ 1077 w 1267"/>
              <a:gd name="T89" fmla="*/ 63 h 231"/>
              <a:gd name="T90" fmla="*/ 1137 w 1267"/>
              <a:gd name="T91" fmla="*/ 68 h 231"/>
              <a:gd name="T92" fmla="*/ 1084 w 1267"/>
              <a:gd name="T93" fmla="*/ 109 h 231"/>
              <a:gd name="T94" fmla="*/ 1239 w 1267"/>
              <a:gd name="T95" fmla="*/ 174 h 231"/>
              <a:gd name="T96" fmla="*/ 1146 w 1267"/>
              <a:gd name="T97" fmla="*/ 209 h 231"/>
              <a:gd name="T98" fmla="*/ 1248 w 1267"/>
              <a:gd name="T99" fmla="*/ 82 h 231"/>
              <a:gd name="T100" fmla="*/ 1167 w 1267"/>
              <a:gd name="T101" fmla="*/ 194 h 231"/>
              <a:gd name="T102" fmla="*/ 1154 w 1267"/>
              <a:gd name="T103" fmla="*/ 129 h 231"/>
              <a:gd name="T104" fmla="*/ 1167 w 1267"/>
              <a:gd name="T105" fmla="*/ 95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267" h="231">
                <a:moveTo>
                  <a:pt x="0" y="228"/>
                </a:moveTo>
                <a:lnTo>
                  <a:pt x="0" y="0"/>
                </a:lnTo>
                <a:lnTo>
                  <a:pt x="28" y="0"/>
                </a:lnTo>
                <a:lnTo>
                  <a:pt x="28" y="94"/>
                </a:lnTo>
                <a:lnTo>
                  <a:pt x="137" y="94"/>
                </a:lnTo>
                <a:lnTo>
                  <a:pt x="137" y="0"/>
                </a:lnTo>
                <a:lnTo>
                  <a:pt x="166" y="0"/>
                </a:lnTo>
                <a:lnTo>
                  <a:pt x="166" y="228"/>
                </a:lnTo>
                <a:lnTo>
                  <a:pt x="137" y="228"/>
                </a:lnTo>
                <a:lnTo>
                  <a:pt x="137" y="121"/>
                </a:lnTo>
                <a:lnTo>
                  <a:pt x="28" y="121"/>
                </a:lnTo>
                <a:lnTo>
                  <a:pt x="28" y="228"/>
                </a:lnTo>
                <a:lnTo>
                  <a:pt x="0" y="228"/>
                </a:lnTo>
                <a:close/>
                <a:moveTo>
                  <a:pt x="300" y="174"/>
                </a:moveTo>
                <a:lnTo>
                  <a:pt x="327" y="178"/>
                </a:lnTo>
                <a:cubicBezTo>
                  <a:pt x="323" y="195"/>
                  <a:pt x="315" y="208"/>
                  <a:pt x="303" y="217"/>
                </a:cubicBezTo>
                <a:cubicBezTo>
                  <a:pt x="292" y="226"/>
                  <a:pt x="277" y="231"/>
                  <a:pt x="260" y="231"/>
                </a:cubicBezTo>
                <a:cubicBezTo>
                  <a:pt x="237" y="231"/>
                  <a:pt x="219" y="224"/>
                  <a:pt x="206" y="209"/>
                </a:cubicBezTo>
                <a:cubicBezTo>
                  <a:pt x="193" y="194"/>
                  <a:pt x="187" y="173"/>
                  <a:pt x="187" y="147"/>
                </a:cubicBezTo>
                <a:cubicBezTo>
                  <a:pt x="187" y="119"/>
                  <a:pt x="193" y="97"/>
                  <a:pt x="207" y="82"/>
                </a:cubicBezTo>
                <a:cubicBezTo>
                  <a:pt x="220" y="67"/>
                  <a:pt x="237" y="59"/>
                  <a:pt x="258" y="59"/>
                </a:cubicBezTo>
                <a:cubicBezTo>
                  <a:pt x="279" y="59"/>
                  <a:pt x="295" y="67"/>
                  <a:pt x="308" y="82"/>
                </a:cubicBezTo>
                <a:cubicBezTo>
                  <a:pt x="321" y="97"/>
                  <a:pt x="328" y="118"/>
                  <a:pt x="328" y="145"/>
                </a:cubicBezTo>
                <a:cubicBezTo>
                  <a:pt x="328" y="147"/>
                  <a:pt x="328" y="149"/>
                  <a:pt x="328" y="152"/>
                </a:cubicBezTo>
                <a:lnTo>
                  <a:pt x="213" y="152"/>
                </a:lnTo>
                <a:cubicBezTo>
                  <a:pt x="214" y="170"/>
                  <a:pt x="219" y="184"/>
                  <a:pt x="228" y="194"/>
                </a:cubicBezTo>
                <a:cubicBezTo>
                  <a:pt x="236" y="203"/>
                  <a:pt x="247" y="208"/>
                  <a:pt x="260" y="208"/>
                </a:cubicBezTo>
                <a:cubicBezTo>
                  <a:pt x="269" y="208"/>
                  <a:pt x="277" y="205"/>
                  <a:pt x="284" y="200"/>
                </a:cubicBezTo>
                <a:cubicBezTo>
                  <a:pt x="291" y="195"/>
                  <a:pt x="296" y="186"/>
                  <a:pt x="300" y="174"/>
                </a:cubicBezTo>
                <a:close/>
                <a:moveTo>
                  <a:pt x="215" y="129"/>
                </a:moveTo>
                <a:lnTo>
                  <a:pt x="300" y="129"/>
                </a:lnTo>
                <a:cubicBezTo>
                  <a:pt x="299" y="116"/>
                  <a:pt x="296" y="105"/>
                  <a:pt x="290" y="98"/>
                </a:cubicBezTo>
                <a:cubicBezTo>
                  <a:pt x="282" y="88"/>
                  <a:pt x="272" y="82"/>
                  <a:pt x="258" y="82"/>
                </a:cubicBezTo>
                <a:cubicBezTo>
                  <a:pt x="246" y="82"/>
                  <a:pt x="236" y="86"/>
                  <a:pt x="228" y="95"/>
                </a:cubicBezTo>
                <a:cubicBezTo>
                  <a:pt x="220" y="104"/>
                  <a:pt x="216" y="115"/>
                  <a:pt x="215" y="129"/>
                </a:cubicBezTo>
                <a:close/>
                <a:moveTo>
                  <a:pt x="448" y="207"/>
                </a:moveTo>
                <a:cubicBezTo>
                  <a:pt x="438" y="216"/>
                  <a:pt x="429" y="222"/>
                  <a:pt x="420" y="226"/>
                </a:cubicBezTo>
                <a:cubicBezTo>
                  <a:pt x="411" y="229"/>
                  <a:pt x="401" y="231"/>
                  <a:pt x="391" y="231"/>
                </a:cubicBezTo>
                <a:cubicBezTo>
                  <a:pt x="374" y="231"/>
                  <a:pt x="361" y="227"/>
                  <a:pt x="352" y="218"/>
                </a:cubicBezTo>
                <a:cubicBezTo>
                  <a:pt x="343" y="209"/>
                  <a:pt x="339" y="198"/>
                  <a:pt x="339" y="184"/>
                </a:cubicBezTo>
                <a:cubicBezTo>
                  <a:pt x="339" y="176"/>
                  <a:pt x="340" y="169"/>
                  <a:pt x="344" y="162"/>
                </a:cubicBezTo>
                <a:cubicBezTo>
                  <a:pt x="347" y="155"/>
                  <a:pt x="352" y="150"/>
                  <a:pt x="357" y="146"/>
                </a:cubicBezTo>
                <a:cubicBezTo>
                  <a:pt x="363" y="142"/>
                  <a:pt x="369" y="139"/>
                  <a:pt x="376" y="137"/>
                </a:cubicBezTo>
                <a:cubicBezTo>
                  <a:pt x="381" y="135"/>
                  <a:pt x="389" y="134"/>
                  <a:pt x="399" y="133"/>
                </a:cubicBezTo>
                <a:cubicBezTo>
                  <a:pt x="420" y="130"/>
                  <a:pt x="436" y="127"/>
                  <a:pt x="446" y="123"/>
                </a:cubicBezTo>
                <a:cubicBezTo>
                  <a:pt x="446" y="119"/>
                  <a:pt x="446" y="117"/>
                  <a:pt x="446" y="116"/>
                </a:cubicBezTo>
                <a:cubicBezTo>
                  <a:pt x="446" y="104"/>
                  <a:pt x="443" y="97"/>
                  <a:pt x="438" y="92"/>
                </a:cubicBezTo>
                <a:cubicBezTo>
                  <a:pt x="432" y="86"/>
                  <a:pt x="422" y="82"/>
                  <a:pt x="409" y="82"/>
                </a:cubicBezTo>
                <a:cubicBezTo>
                  <a:pt x="396" y="82"/>
                  <a:pt x="387" y="85"/>
                  <a:pt x="381" y="89"/>
                </a:cubicBezTo>
                <a:cubicBezTo>
                  <a:pt x="376" y="94"/>
                  <a:pt x="371" y="102"/>
                  <a:pt x="369" y="114"/>
                </a:cubicBezTo>
                <a:lnTo>
                  <a:pt x="343" y="110"/>
                </a:lnTo>
                <a:cubicBezTo>
                  <a:pt x="345" y="98"/>
                  <a:pt x="349" y="89"/>
                  <a:pt x="355" y="82"/>
                </a:cubicBezTo>
                <a:cubicBezTo>
                  <a:pt x="360" y="74"/>
                  <a:pt x="368" y="69"/>
                  <a:pt x="378" y="65"/>
                </a:cubicBezTo>
                <a:cubicBezTo>
                  <a:pt x="388" y="61"/>
                  <a:pt x="399" y="59"/>
                  <a:pt x="412" y="59"/>
                </a:cubicBezTo>
                <a:cubicBezTo>
                  <a:pt x="426" y="59"/>
                  <a:pt x="436" y="61"/>
                  <a:pt x="445" y="64"/>
                </a:cubicBezTo>
                <a:cubicBezTo>
                  <a:pt x="453" y="68"/>
                  <a:pt x="459" y="72"/>
                  <a:pt x="463" y="77"/>
                </a:cubicBezTo>
                <a:cubicBezTo>
                  <a:pt x="466" y="82"/>
                  <a:pt x="469" y="88"/>
                  <a:pt x="471" y="96"/>
                </a:cubicBezTo>
                <a:cubicBezTo>
                  <a:pt x="472" y="101"/>
                  <a:pt x="472" y="109"/>
                  <a:pt x="472" y="121"/>
                </a:cubicBezTo>
                <a:lnTo>
                  <a:pt x="472" y="158"/>
                </a:lnTo>
                <a:cubicBezTo>
                  <a:pt x="472" y="184"/>
                  <a:pt x="473" y="201"/>
                  <a:pt x="474" y="208"/>
                </a:cubicBezTo>
                <a:cubicBezTo>
                  <a:pt x="475" y="215"/>
                  <a:pt x="477" y="221"/>
                  <a:pt x="480" y="228"/>
                </a:cubicBezTo>
                <a:lnTo>
                  <a:pt x="453" y="228"/>
                </a:lnTo>
                <a:cubicBezTo>
                  <a:pt x="450" y="222"/>
                  <a:pt x="449" y="215"/>
                  <a:pt x="448" y="207"/>
                </a:cubicBezTo>
                <a:close/>
                <a:moveTo>
                  <a:pt x="446" y="145"/>
                </a:moveTo>
                <a:cubicBezTo>
                  <a:pt x="436" y="149"/>
                  <a:pt x="422" y="153"/>
                  <a:pt x="403" y="155"/>
                </a:cubicBezTo>
                <a:cubicBezTo>
                  <a:pt x="392" y="157"/>
                  <a:pt x="385" y="159"/>
                  <a:pt x="380" y="161"/>
                </a:cubicBezTo>
                <a:cubicBezTo>
                  <a:pt x="376" y="163"/>
                  <a:pt x="372" y="166"/>
                  <a:pt x="370" y="170"/>
                </a:cubicBezTo>
                <a:cubicBezTo>
                  <a:pt x="368" y="174"/>
                  <a:pt x="366" y="178"/>
                  <a:pt x="366" y="183"/>
                </a:cubicBezTo>
                <a:cubicBezTo>
                  <a:pt x="366" y="191"/>
                  <a:pt x="369" y="197"/>
                  <a:pt x="374" y="202"/>
                </a:cubicBezTo>
                <a:cubicBezTo>
                  <a:pt x="380" y="207"/>
                  <a:pt x="387" y="209"/>
                  <a:pt x="397" y="209"/>
                </a:cubicBezTo>
                <a:cubicBezTo>
                  <a:pt x="407" y="209"/>
                  <a:pt x="416" y="207"/>
                  <a:pt x="424" y="202"/>
                </a:cubicBezTo>
                <a:cubicBezTo>
                  <a:pt x="432" y="197"/>
                  <a:pt x="438" y="191"/>
                  <a:pt x="441" y="183"/>
                </a:cubicBezTo>
                <a:cubicBezTo>
                  <a:pt x="444" y="177"/>
                  <a:pt x="446" y="167"/>
                  <a:pt x="446" y="155"/>
                </a:cubicBezTo>
                <a:lnTo>
                  <a:pt x="446" y="145"/>
                </a:lnTo>
                <a:close/>
                <a:moveTo>
                  <a:pt x="498" y="228"/>
                </a:moveTo>
                <a:lnTo>
                  <a:pt x="498" y="0"/>
                </a:lnTo>
                <a:lnTo>
                  <a:pt x="524" y="0"/>
                </a:lnTo>
                <a:lnTo>
                  <a:pt x="524" y="228"/>
                </a:lnTo>
                <a:lnTo>
                  <a:pt x="498" y="228"/>
                </a:lnTo>
                <a:close/>
                <a:moveTo>
                  <a:pt x="607" y="203"/>
                </a:moveTo>
                <a:lnTo>
                  <a:pt x="610" y="227"/>
                </a:lnTo>
                <a:cubicBezTo>
                  <a:pt x="603" y="229"/>
                  <a:pt x="596" y="230"/>
                  <a:pt x="591" y="230"/>
                </a:cubicBezTo>
                <a:cubicBezTo>
                  <a:pt x="581" y="230"/>
                  <a:pt x="574" y="228"/>
                  <a:pt x="569" y="225"/>
                </a:cubicBezTo>
                <a:cubicBezTo>
                  <a:pt x="564" y="222"/>
                  <a:pt x="560" y="218"/>
                  <a:pt x="558" y="212"/>
                </a:cubicBezTo>
                <a:cubicBezTo>
                  <a:pt x="556" y="207"/>
                  <a:pt x="555" y="196"/>
                  <a:pt x="555" y="179"/>
                </a:cubicBezTo>
                <a:lnTo>
                  <a:pt x="555" y="84"/>
                </a:lnTo>
                <a:lnTo>
                  <a:pt x="535" y="84"/>
                </a:lnTo>
                <a:lnTo>
                  <a:pt x="535" y="63"/>
                </a:lnTo>
                <a:lnTo>
                  <a:pt x="555" y="63"/>
                </a:lnTo>
                <a:lnTo>
                  <a:pt x="555" y="22"/>
                </a:lnTo>
                <a:lnTo>
                  <a:pt x="581" y="5"/>
                </a:lnTo>
                <a:lnTo>
                  <a:pt x="581" y="63"/>
                </a:lnTo>
                <a:lnTo>
                  <a:pt x="607" y="63"/>
                </a:lnTo>
                <a:lnTo>
                  <a:pt x="607" y="84"/>
                </a:lnTo>
                <a:lnTo>
                  <a:pt x="581" y="84"/>
                </a:lnTo>
                <a:lnTo>
                  <a:pt x="581" y="181"/>
                </a:lnTo>
                <a:cubicBezTo>
                  <a:pt x="581" y="189"/>
                  <a:pt x="581" y="194"/>
                  <a:pt x="582" y="196"/>
                </a:cubicBezTo>
                <a:cubicBezTo>
                  <a:pt x="583" y="199"/>
                  <a:pt x="584" y="200"/>
                  <a:pt x="586" y="202"/>
                </a:cubicBezTo>
                <a:cubicBezTo>
                  <a:pt x="589" y="203"/>
                  <a:pt x="591" y="204"/>
                  <a:pt x="595" y="204"/>
                </a:cubicBezTo>
                <a:cubicBezTo>
                  <a:pt x="598" y="204"/>
                  <a:pt x="602" y="203"/>
                  <a:pt x="607" y="203"/>
                </a:cubicBezTo>
                <a:close/>
                <a:moveTo>
                  <a:pt x="619" y="228"/>
                </a:moveTo>
                <a:lnTo>
                  <a:pt x="619" y="0"/>
                </a:lnTo>
                <a:lnTo>
                  <a:pt x="645" y="0"/>
                </a:lnTo>
                <a:lnTo>
                  <a:pt x="645" y="82"/>
                </a:lnTo>
                <a:cubicBezTo>
                  <a:pt x="657" y="67"/>
                  <a:pt x="672" y="59"/>
                  <a:pt x="690" y="59"/>
                </a:cubicBezTo>
                <a:cubicBezTo>
                  <a:pt x="702" y="59"/>
                  <a:pt x="711" y="62"/>
                  <a:pt x="720" y="66"/>
                </a:cubicBezTo>
                <a:cubicBezTo>
                  <a:pt x="728" y="71"/>
                  <a:pt x="734" y="78"/>
                  <a:pt x="738" y="86"/>
                </a:cubicBezTo>
                <a:cubicBezTo>
                  <a:pt x="741" y="95"/>
                  <a:pt x="743" y="107"/>
                  <a:pt x="743" y="123"/>
                </a:cubicBezTo>
                <a:lnTo>
                  <a:pt x="743" y="228"/>
                </a:lnTo>
                <a:lnTo>
                  <a:pt x="717" y="228"/>
                </a:lnTo>
                <a:lnTo>
                  <a:pt x="717" y="123"/>
                </a:lnTo>
                <a:cubicBezTo>
                  <a:pt x="717" y="109"/>
                  <a:pt x="714" y="99"/>
                  <a:pt x="709" y="93"/>
                </a:cubicBezTo>
                <a:cubicBezTo>
                  <a:pt x="703" y="87"/>
                  <a:pt x="695" y="83"/>
                  <a:pt x="685" y="83"/>
                </a:cubicBezTo>
                <a:cubicBezTo>
                  <a:pt x="677" y="83"/>
                  <a:pt x="670" y="85"/>
                  <a:pt x="663" y="90"/>
                </a:cubicBezTo>
                <a:cubicBezTo>
                  <a:pt x="657" y="94"/>
                  <a:pt x="652" y="100"/>
                  <a:pt x="649" y="107"/>
                </a:cubicBezTo>
                <a:cubicBezTo>
                  <a:pt x="646" y="115"/>
                  <a:pt x="645" y="125"/>
                  <a:pt x="645" y="138"/>
                </a:cubicBezTo>
                <a:lnTo>
                  <a:pt x="645" y="228"/>
                </a:lnTo>
                <a:lnTo>
                  <a:pt x="619" y="228"/>
                </a:lnTo>
                <a:close/>
                <a:moveTo>
                  <a:pt x="870" y="167"/>
                </a:moveTo>
                <a:lnTo>
                  <a:pt x="895" y="171"/>
                </a:lnTo>
                <a:cubicBezTo>
                  <a:pt x="892" y="190"/>
                  <a:pt x="885" y="204"/>
                  <a:pt x="874" y="215"/>
                </a:cubicBezTo>
                <a:cubicBezTo>
                  <a:pt x="862" y="226"/>
                  <a:pt x="848" y="231"/>
                  <a:pt x="831" y="231"/>
                </a:cubicBezTo>
                <a:cubicBezTo>
                  <a:pt x="810" y="231"/>
                  <a:pt x="793" y="224"/>
                  <a:pt x="781" y="209"/>
                </a:cubicBezTo>
                <a:cubicBezTo>
                  <a:pt x="768" y="194"/>
                  <a:pt x="762" y="173"/>
                  <a:pt x="762" y="146"/>
                </a:cubicBezTo>
                <a:cubicBezTo>
                  <a:pt x="762" y="128"/>
                  <a:pt x="764" y="112"/>
                  <a:pt x="770" y="99"/>
                </a:cubicBezTo>
                <a:cubicBezTo>
                  <a:pt x="775" y="86"/>
                  <a:pt x="784" y="76"/>
                  <a:pt x="795" y="69"/>
                </a:cubicBezTo>
                <a:cubicBezTo>
                  <a:pt x="806" y="63"/>
                  <a:pt x="818" y="59"/>
                  <a:pt x="831" y="59"/>
                </a:cubicBezTo>
                <a:cubicBezTo>
                  <a:pt x="848" y="59"/>
                  <a:pt x="862" y="64"/>
                  <a:pt x="872" y="73"/>
                </a:cubicBezTo>
                <a:cubicBezTo>
                  <a:pt x="883" y="82"/>
                  <a:pt x="890" y="95"/>
                  <a:pt x="893" y="111"/>
                </a:cubicBezTo>
                <a:lnTo>
                  <a:pt x="868" y="115"/>
                </a:lnTo>
                <a:cubicBezTo>
                  <a:pt x="865" y="104"/>
                  <a:pt x="861" y="96"/>
                  <a:pt x="855" y="90"/>
                </a:cubicBezTo>
                <a:cubicBezTo>
                  <a:pt x="849" y="85"/>
                  <a:pt x="841" y="82"/>
                  <a:pt x="833" y="82"/>
                </a:cubicBezTo>
                <a:cubicBezTo>
                  <a:pt x="819" y="82"/>
                  <a:pt x="809" y="87"/>
                  <a:pt x="801" y="97"/>
                </a:cubicBezTo>
                <a:cubicBezTo>
                  <a:pt x="792" y="107"/>
                  <a:pt x="788" y="123"/>
                  <a:pt x="788" y="145"/>
                </a:cubicBezTo>
                <a:cubicBezTo>
                  <a:pt x="788" y="167"/>
                  <a:pt x="792" y="183"/>
                  <a:pt x="800" y="193"/>
                </a:cubicBezTo>
                <a:cubicBezTo>
                  <a:pt x="808" y="203"/>
                  <a:pt x="818" y="208"/>
                  <a:pt x="831" y="208"/>
                </a:cubicBezTo>
                <a:cubicBezTo>
                  <a:pt x="841" y="208"/>
                  <a:pt x="850" y="205"/>
                  <a:pt x="857" y="198"/>
                </a:cubicBezTo>
                <a:cubicBezTo>
                  <a:pt x="863" y="191"/>
                  <a:pt x="868" y="181"/>
                  <a:pt x="870" y="167"/>
                </a:cubicBezTo>
                <a:close/>
                <a:moveTo>
                  <a:pt x="1004" y="207"/>
                </a:moveTo>
                <a:cubicBezTo>
                  <a:pt x="994" y="216"/>
                  <a:pt x="985" y="222"/>
                  <a:pt x="976" y="226"/>
                </a:cubicBezTo>
                <a:cubicBezTo>
                  <a:pt x="967" y="229"/>
                  <a:pt x="957" y="231"/>
                  <a:pt x="947" y="231"/>
                </a:cubicBezTo>
                <a:cubicBezTo>
                  <a:pt x="930" y="231"/>
                  <a:pt x="917" y="227"/>
                  <a:pt x="908" y="218"/>
                </a:cubicBezTo>
                <a:cubicBezTo>
                  <a:pt x="899" y="209"/>
                  <a:pt x="895" y="198"/>
                  <a:pt x="895" y="184"/>
                </a:cubicBezTo>
                <a:cubicBezTo>
                  <a:pt x="895" y="176"/>
                  <a:pt x="896" y="169"/>
                  <a:pt x="900" y="162"/>
                </a:cubicBezTo>
                <a:cubicBezTo>
                  <a:pt x="903" y="155"/>
                  <a:pt x="908" y="150"/>
                  <a:pt x="913" y="146"/>
                </a:cubicBezTo>
                <a:cubicBezTo>
                  <a:pt x="919" y="142"/>
                  <a:pt x="925" y="139"/>
                  <a:pt x="932" y="137"/>
                </a:cubicBezTo>
                <a:cubicBezTo>
                  <a:pt x="937" y="135"/>
                  <a:pt x="945" y="134"/>
                  <a:pt x="955" y="133"/>
                </a:cubicBezTo>
                <a:cubicBezTo>
                  <a:pt x="976" y="130"/>
                  <a:pt x="992" y="127"/>
                  <a:pt x="1002" y="123"/>
                </a:cubicBezTo>
                <a:cubicBezTo>
                  <a:pt x="1002" y="119"/>
                  <a:pt x="1002" y="117"/>
                  <a:pt x="1002" y="116"/>
                </a:cubicBezTo>
                <a:cubicBezTo>
                  <a:pt x="1002" y="104"/>
                  <a:pt x="999" y="97"/>
                  <a:pt x="994" y="92"/>
                </a:cubicBezTo>
                <a:cubicBezTo>
                  <a:pt x="988" y="86"/>
                  <a:pt x="978" y="82"/>
                  <a:pt x="965" y="82"/>
                </a:cubicBezTo>
                <a:cubicBezTo>
                  <a:pt x="952" y="82"/>
                  <a:pt x="943" y="85"/>
                  <a:pt x="937" y="89"/>
                </a:cubicBezTo>
                <a:cubicBezTo>
                  <a:pt x="932" y="94"/>
                  <a:pt x="927" y="102"/>
                  <a:pt x="924" y="114"/>
                </a:cubicBezTo>
                <a:lnTo>
                  <a:pt x="899" y="110"/>
                </a:lnTo>
                <a:cubicBezTo>
                  <a:pt x="901" y="98"/>
                  <a:pt x="905" y="89"/>
                  <a:pt x="910" y="82"/>
                </a:cubicBezTo>
                <a:cubicBezTo>
                  <a:pt x="916" y="74"/>
                  <a:pt x="923" y="69"/>
                  <a:pt x="934" y="65"/>
                </a:cubicBezTo>
                <a:cubicBezTo>
                  <a:pt x="944" y="61"/>
                  <a:pt x="955" y="59"/>
                  <a:pt x="968" y="59"/>
                </a:cubicBezTo>
                <a:cubicBezTo>
                  <a:pt x="982" y="59"/>
                  <a:pt x="992" y="61"/>
                  <a:pt x="1000" y="64"/>
                </a:cubicBezTo>
                <a:cubicBezTo>
                  <a:pt x="1009" y="68"/>
                  <a:pt x="1015" y="72"/>
                  <a:pt x="1019" y="77"/>
                </a:cubicBezTo>
                <a:cubicBezTo>
                  <a:pt x="1022" y="82"/>
                  <a:pt x="1025" y="88"/>
                  <a:pt x="1027" y="96"/>
                </a:cubicBezTo>
                <a:cubicBezTo>
                  <a:pt x="1028" y="101"/>
                  <a:pt x="1028" y="109"/>
                  <a:pt x="1028" y="121"/>
                </a:cubicBezTo>
                <a:lnTo>
                  <a:pt x="1028" y="158"/>
                </a:lnTo>
                <a:cubicBezTo>
                  <a:pt x="1028" y="184"/>
                  <a:pt x="1029" y="201"/>
                  <a:pt x="1030" y="208"/>
                </a:cubicBezTo>
                <a:cubicBezTo>
                  <a:pt x="1031" y="215"/>
                  <a:pt x="1033" y="221"/>
                  <a:pt x="1036" y="228"/>
                </a:cubicBezTo>
                <a:lnTo>
                  <a:pt x="1009" y="228"/>
                </a:lnTo>
                <a:cubicBezTo>
                  <a:pt x="1006" y="222"/>
                  <a:pt x="1004" y="215"/>
                  <a:pt x="1004" y="207"/>
                </a:cubicBezTo>
                <a:close/>
                <a:moveTo>
                  <a:pt x="1002" y="145"/>
                </a:moveTo>
                <a:cubicBezTo>
                  <a:pt x="992" y="149"/>
                  <a:pt x="978" y="153"/>
                  <a:pt x="959" y="155"/>
                </a:cubicBezTo>
                <a:cubicBezTo>
                  <a:pt x="948" y="157"/>
                  <a:pt x="941" y="159"/>
                  <a:pt x="936" y="161"/>
                </a:cubicBezTo>
                <a:cubicBezTo>
                  <a:pt x="932" y="163"/>
                  <a:pt x="928" y="166"/>
                  <a:pt x="926" y="170"/>
                </a:cubicBezTo>
                <a:cubicBezTo>
                  <a:pt x="924" y="174"/>
                  <a:pt x="922" y="178"/>
                  <a:pt x="922" y="183"/>
                </a:cubicBezTo>
                <a:cubicBezTo>
                  <a:pt x="922" y="191"/>
                  <a:pt x="925" y="197"/>
                  <a:pt x="930" y="202"/>
                </a:cubicBezTo>
                <a:cubicBezTo>
                  <a:pt x="936" y="207"/>
                  <a:pt x="943" y="209"/>
                  <a:pt x="953" y="209"/>
                </a:cubicBezTo>
                <a:cubicBezTo>
                  <a:pt x="963" y="209"/>
                  <a:pt x="972" y="207"/>
                  <a:pt x="980" y="202"/>
                </a:cubicBezTo>
                <a:cubicBezTo>
                  <a:pt x="988" y="197"/>
                  <a:pt x="994" y="191"/>
                  <a:pt x="997" y="183"/>
                </a:cubicBezTo>
                <a:cubicBezTo>
                  <a:pt x="1000" y="177"/>
                  <a:pt x="1002" y="167"/>
                  <a:pt x="1002" y="155"/>
                </a:cubicBezTo>
                <a:lnTo>
                  <a:pt x="1002" y="145"/>
                </a:lnTo>
                <a:close/>
                <a:moveTo>
                  <a:pt x="1054" y="228"/>
                </a:moveTo>
                <a:lnTo>
                  <a:pt x="1054" y="63"/>
                </a:lnTo>
                <a:lnTo>
                  <a:pt x="1077" y="63"/>
                </a:lnTo>
                <a:lnTo>
                  <a:pt x="1077" y="88"/>
                </a:lnTo>
                <a:cubicBezTo>
                  <a:pt x="1083" y="76"/>
                  <a:pt x="1089" y="69"/>
                  <a:pt x="1094" y="65"/>
                </a:cubicBezTo>
                <a:cubicBezTo>
                  <a:pt x="1099" y="61"/>
                  <a:pt x="1104" y="59"/>
                  <a:pt x="1111" y="59"/>
                </a:cubicBezTo>
                <a:cubicBezTo>
                  <a:pt x="1119" y="59"/>
                  <a:pt x="1128" y="62"/>
                  <a:pt x="1137" y="68"/>
                </a:cubicBezTo>
                <a:lnTo>
                  <a:pt x="1128" y="94"/>
                </a:lnTo>
                <a:cubicBezTo>
                  <a:pt x="1122" y="90"/>
                  <a:pt x="1115" y="88"/>
                  <a:pt x="1109" y="88"/>
                </a:cubicBezTo>
                <a:cubicBezTo>
                  <a:pt x="1103" y="88"/>
                  <a:pt x="1098" y="90"/>
                  <a:pt x="1094" y="94"/>
                </a:cubicBezTo>
                <a:cubicBezTo>
                  <a:pt x="1089" y="97"/>
                  <a:pt x="1086" y="102"/>
                  <a:pt x="1084" y="109"/>
                </a:cubicBezTo>
                <a:cubicBezTo>
                  <a:pt x="1081" y="119"/>
                  <a:pt x="1080" y="130"/>
                  <a:pt x="1080" y="141"/>
                </a:cubicBezTo>
                <a:lnTo>
                  <a:pt x="1080" y="228"/>
                </a:lnTo>
                <a:lnTo>
                  <a:pt x="1054" y="228"/>
                </a:lnTo>
                <a:close/>
                <a:moveTo>
                  <a:pt x="1239" y="174"/>
                </a:moveTo>
                <a:lnTo>
                  <a:pt x="1266" y="178"/>
                </a:lnTo>
                <a:cubicBezTo>
                  <a:pt x="1262" y="195"/>
                  <a:pt x="1254" y="208"/>
                  <a:pt x="1243" y="217"/>
                </a:cubicBezTo>
                <a:cubicBezTo>
                  <a:pt x="1231" y="226"/>
                  <a:pt x="1217" y="231"/>
                  <a:pt x="1199" y="231"/>
                </a:cubicBezTo>
                <a:cubicBezTo>
                  <a:pt x="1176" y="231"/>
                  <a:pt x="1159" y="224"/>
                  <a:pt x="1146" y="209"/>
                </a:cubicBezTo>
                <a:cubicBezTo>
                  <a:pt x="1132" y="194"/>
                  <a:pt x="1126" y="173"/>
                  <a:pt x="1126" y="147"/>
                </a:cubicBezTo>
                <a:cubicBezTo>
                  <a:pt x="1126" y="119"/>
                  <a:pt x="1133" y="97"/>
                  <a:pt x="1146" y="82"/>
                </a:cubicBezTo>
                <a:cubicBezTo>
                  <a:pt x="1159" y="67"/>
                  <a:pt x="1176" y="59"/>
                  <a:pt x="1197" y="59"/>
                </a:cubicBezTo>
                <a:cubicBezTo>
                  <a:pt x="1218" y="59"/>
                  <a:pt x="1235" y="67"/>
                  <a:pt x="1248" y="82"/>
                </a:cubicBezTo>
                <a:cubicBezTo>
                  <a:pt x="1260" y="97"/>
                  <a:pt x="1267" y="118"/>
                  <a:pt x="1267" y="145"/>
                </a:cubicBezTo>
                <a:cubicBezTo>
                  <a:pt x="1267" y="147"/>
                  <a:pt x="1267" y="149"/>
                  <a:pt x="1267" y="152"/>
                </a:cubicBezTo>
                <a:lnTo>
                  <a:pt x="1153" y="152"/>
                </a:lnTo>
                <a:cubicBezTo>
                  <a:pt x="1154" y="170"/>
                  <a:pt x="1158" y="184"/>
                  <a:pt x="1167" y="194"/>
                </a:cubicBezTo>
                <a:cubicBezTo>
                  <a:pt x="1175" y="203"/>
                  <a:pt x="1186" y="208"/>
                  <a:pt x="1199" y="208"/>
                </a:cubicBezTo>
                <a:cubicBezTo>
                  <a:pt x="1208" y="208"/>
                  <a:pt x="1216" y="205"/>
                  <a:pt x="1223" y="200"/>
                </a:cubicBezTo>
                <a:cubicBezTo>
                  <a:pt x="1230" y="195"/>
                  <a:pt x="1235" y="186"/>
                  <a:pt x="1239" y="174"/>
                </a:cubicBezTo>
                <a:close/>
                <a:moveTo>
                  <a:pt x="1154" y="129"/>
                </a:moveTo>
                <a:lnTo>
                  <a:pt x="1239" y="129"/>
                </a:lnTo>
                <a:cubicBezTo>
                  <a:pt x="1238" y="116"/>
                  <a:pt x="1235" y="105"/>
                  <a:pt x="1230" y="98"/>
                </a:cubicBezTo>
                <a:cubicBezTo>
                  <a:pt x="1221" y="88"/>
                  <a:pt x="1211" y="82"/>
                  <a:pt x="1198" y="82"/>
                </a:cubicBezTo>
                <a:cubicBezTo>
                  <a:pt x="1186" y="82"/>
                  <a:pt x="1176" y="86"/>
                  <a:pt x="1167" y="95"/>
                </a:cubicBezTo>
                <a:cubicBezTo>
                  <a:pt x="1159" y="104"/>
                  <a:pt x="1155" y="115"/>
                  <a:pt x="1154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0" name="Freeform 100">
            <a:extLst>
              <a:ext uri="{FF2B5EF4-FFF2-40B4-BE49-F238E27FC236}">
                <a16:creationId xmlns:a16="http://schemas.microsoft.com/office/drawing/2014/main" id="{7FEFC4FB-5253-4218-86E5-3C9F66EC2DDF}"/>
              </a:ext>
            </a:extLst>
          </p:cNvPr>
          <p:cNvSpPr>
            <a:spLocks noEditPoints="1"/>
          </p:cNvSpPr>
          <p:nvPr/>
        </p:nvSpPr>
        <p:spPr bwMode="auto">
          <a:xfrm>
            <a:off x="6623051" y="3032126"/>
            <a:ext cx="334963" cy="84138"/>
          </a:xfrm>
          <a:custGeom>
            <a:avLst/>
            <a:gdLst>
              <a:gd name="T0" fmla="*/ 143 w 930"/>
              <a:gd name="T1" fmla="*/ 0 h 231"/>
              <a:gd name="T2" fmla="*/ 28 w 930"/>
              <a:gd name="T3" fmla="*/ 98 h 231"/>
              <a:gd name="T4" fmla="*/ 28 w 930"/>
              <a:gd name="T5" fmla="*/ 124 h 231"/>
              <a:gd name="T6" fmla="*/ 159 w 930"/>
              <a:gd name="T7" fmla="*/ 32 h 231"/>
              <a:gd name="T8" fmla="*/ 185 w 930"/>
              <a:gd name="T9" fmla="*/ 32 h 231"/>
              <a:gd name="T10" fmla="*/ 159 w 930"/>
              <a:gd name="T11" fmla="*/ 63 h 231"/>
              <a:gd name="T12" fmla="*/ 159 w 930"/>
              <a:gd name="T13" fmla="*/ 228 h 231"/>
              <a:gd name="T14" fmla="*/ 234 w 930"/>
              <a:gd name="T15" fmla="*/ 63 h 231"/>
              <a:gd name="T16" fmla="*/ 309 w 930"/>
              <a:gd name="T17" fmla="*/ 65 h 231"/>
              <a:gd name="T18" fmla="*/ 336 w 930"/>
              <a:gd name="T19" fmla="*/ 126 h 231"/>
              <a:gd name="T20" fmla="*/ 309 w 930"/>
              <a:gd name="T21" fmla="*/ 127 h 231"/>
              <a:gd name="T22" fmla="*/ 278 w 930"/>
              <a:gd name="T23" fmla="*/ 83 h 231"/>
              <a:gd name="T24" fmla="*/ 237 w 930"/>
              <a:gd name="T25" fmla="*/ 228 h 231"/>
              <a:gd name="T26" fmla="*/ 434 w 930"/>
              <a:gd name="T27" fmla="*/ 226 h 231"/>
              <a:gd name="T28" fmla="*/ 353 w 930"/>
              <a:gd name="T29" fmla="*/ 184 h 231"/>
              <a:gd name="T30" fmla="*/ 390 w 930"/>
              <a:gd name="T31" fmla="*/ 137 h 231"/>
              <a:gd name="T32" fmla="*/ 460 w 930"/>
              <a:gd name="T33" fmla="*/ 116 h 231"/>
              <a:gd name="T34" fmla="*/ 396 w 930"/>
              <a:gd name="T35" fmla="*/ 89 h 231"/>
              <a:gd name="T36" fmla="*/ 369 w 930"/>
              <a:gd name="T37" fmla="*/ 82 h 231"/>
              <a:gd name="T38" fmla="*/ 459 w 930"/>
              <a:gd name="T39" fmla="*/ 64 h 231"/>
              <a:gd name="T40" fmla="*/ 486 w 930"/>
              <a:gd name="T41" fmla="*/ 121 h 231"/>
              <a:gd name="T42" fmla="*/ 494 w 930"/>
              <a:gd name="T43" fmla="*/ 228 h 231"/>
              <a:gd name="T44" fmla="*/ 460 w 930"/>
              <a:gd name="T45" fmla="*/ 145 h 231"/>
              <a:gd name="T46" fmla="*/ 384 w 930"/>
              <a:gd name="T47" fmla="*/ 170 h 231"/>
              <a:gd name="T48" fmla="*/ 412 w 930"/>
              <a:gd name="T49" fmla="*/ 209 h 231"/>
              <a:gd name="T50" fmla="*/ 460 w 930"/>
              <a:gd name="T51" fmla="*/ 155 h 231"/>
              <a:gd name="T52" fmla="*/ 512 w 930"/>
              <a:gd name="T53" fmla="*/ 63 h 231"/>
              <a:gd name="T54" fmla="*/ 585 w 930"/>
              <a:gd name="T55" fmla="*/ 59 h 231"/>
              <a:gd name="T56" fmla="*/ 636 w 930"/>
              <a:gd name="T57" fmla="*/ 99 h 231"/>
              <a:gd name="T58" fmla="*/ 611 w 930"/>
              <a:gd name="T59" fmla="*/ 228 h 231"/>
              <a:gd name="T60" fmla="*/ 597 w 930"/>
              <a:gd name="T61" fmla="*/ 88 h 231"/>
              <a:gd name="T62" fmla="*/ 538 w 930"/>
              <a:gd name="T63" fmla="*/ 138 h 231"/>
              <a:gd name="T64" fmla="*/ 763 w 930"/>
              <a:gd name="T65" fmla="*/ 167 h 231"/>
              <a:gd name="T66" fmla="*/ 725 w 930"/>
              <a:gd name="T67" fmla="*/ 231 h 231"/>
              <a:gd name="T68" fmla="*/ 664 w 930"/>
              <a:gd name="T69" fmla="*/ 99 h 231"/>
              <a:gd name="T70" fmla="*/ 766 w 930"/>
              <a:gd name="T71" fmla="*/ 73 h 231"/>
              <a:gd name="T72" fmla="*/ 749 w 930"/>
              <a:gd name="T73" fmla="*/ 90 h 231"/>
              <a:gd name="T74" fmla="*/ 682 w 930"/>
              <a:gd name="T75" fmla="*/ 145 h 231"/>
              <a:gd name="T76" fmla="*/ 750 w 930"/>
              <a:gd name="T77" fmla="*/ 198 h 231"/>
              <a:gd name="T78" fmla="*/ 929 w 930"/>
              <a:gd name="T79" fmla="*/ 178 h 231"/>
              <a:gd name="T80" fmla="*/ 808 w 930"/>
              <a:gd name="T81" fmla="*/ 209 h 231"/>
              <a:gd name="T82" fmla="*/ 860 w 930"/>
              <a:gd name="T83" fmla="*/ 59 h 231"/>
              <a:gd name="T84" fmla="*/ 930 w 930"/>
              <a:gd name="T85" fmla="*/ 152 h 231"/>
              <a:gd name="T86" fmla="*/ 862 w 930"/>
              <a:gd name="T87" fmla="*/ 208 h 231"/>
              <a:gd name="T88" fmla="*/ 817 w 930"/>
              <a:gd name="T89" fmla="*/ 129 h 231"/>
              <a:gd name="T90" fmla="*/ 860 w 930"/>
              <a:gd name="T91" fmla="*/ 82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930" h="231">
                <a:moveTo>
                  <a:pt x="0" y="228"/>
                </a:moveTo>
                <a:lnTo>
                  <a:pt x="0" y="0"/>
                </a:lnTo>
                <a:lnTo>
                  <a:pt x="143" y="0"/>
                </a:lnTo>
                <a:lnTo>
                  <a:pt x="143" y="27"/>
                </a:lnTo>
                <a:lnTo>
                  <a:pt x="28" y="27"/>
                </a:lnTo>
                <a:lnTo>
                  <a:pt x="28" y="98"/>
                </a:lnTo>
                <a:lnTo>
                  <a:pt x="127" y="98"/>
                </a:lnTo>
                <a:lnTo>
                  <a:pt x="127" y="124"/>
                </a:lnTo>
                <a:lnTo>
                  <a:pt x="28" y="124"/>
                </a:lnTo>
                <a:lnTo>
                  <a:pt x="28" y="228"/>
                </a:lnTo>
                <a:lnTo>
                  <a:pt x="0" y="228"/>
                </a:lnTo>
                <a:close/>
                <a:moveTo>
                  <a:pt x="159" y="32"/>
                </a:moveTo>
                <a:lnTo>
                  <a:pt x="159" y="0"/>
                </a:lnTo>
                <a:lnTo>
                  <a:pt x="185" y="0"/>
                </a:lnTo>
                <a:lnTo>
                  <a:pt x="185" y="32"/>
                </a:lnTo>
                <a:lnTo>
                  <a:pt x="159" y="32"/>
                </a:lnTo>
                <a:close/>
                <a:moveTo>
                  <a:pt x="159" y="228"/>
                </a:moveTo>
                <a:lnTo>
                  <a:pt x="159" y="63"/>
                </a:lnTo>
                <a:lnTo>
                  <a:pt x="185" y="63"/>
                </a:lnTo>
                <a:lnTo>
                  <a:pt x="185" y="228"/>
                </a:lnTo>
                <a:lnTo>
                  <a:pt x="159" y="228"/>
                </a:lnTo>
                <a:close/>
                <a:moveTo>
                  <a:pt x="211" y="228"/>
                </a:moveTo>
                <a:lnTo>
                  <a:pt x="211" y="63"/>
                </a:lnTo>
                <a:lnTo>
                  <a:pt x="234" y="63"/>
                </a:lnTo>
                <a:lnTo>
                  <a:pt x="234" y="86"/>
                </a:lnTo>
                <a:cubicBezTo>
                  <a:pt x="246" y="68"/>
                  <a:pt x="262" y="59"/>
                  <a:pt x="283" y="59"/>
                </a:cubicBezTo>
                <a:cubicBezTo>
                  <a:pt x="292" y="59"/>
                  <a:pt x="301" y="61"/>
                  <a:pt x="309" y="65"/>
                </a:cubicBezTo>
                <a:cubicBezTo>
                  <a:pt x="316" y="68"/>
                  <a:pt x="322" y="73"/>
                  <a:pt x="326" y="79"/>
                </a:cubicBezTo>
                <a:cubicBezTo>
                  <a:pt x="330" y="84"/>
                  <a:pt x="333" y="91"/>
                  <a:pt x="334" y="99"/>
                </a:cubicBezTo>
                <a:cubicBezTo>
                  <a:pt x="335" y="104"/>
                  <a:pt x="336" y="113"/>
                  <a:pt x="336" y="126"/>
                </a:cubicBezTo>
                <a:lnTo>
                  <a:pt x="336" y="228"/>
                </a:lnTo>
                <a:lnTo>
                  <a:pt x="309" y="228"/>
                </a:lnTo>
                <a:lnTo>
                  <a:pt x="309" y="127"/>
                </a:lnTo>
                <a:cubicBezTo>
                  <a:pt x="309" y="116"/>
                  <a:pt x="309" y="108"/>
                  <a:pt x="306" y="102"/>
                </a:cubicBezTo>
                <a:cubicBezTo>
                  <a:pt x="304" y="96"/>
                  <a:pt x="301" y="92"/>
                  <a:pt x="296" y="88"/>
                </a:cubicBezTo>
                <a:cubicBezTo>
                  <a:pt x="291" y="85"/>
                  <a:pt x="285" y="83"/>
                  <a:pt x="278" y="83"/>
                </a:cubicBezTo>
                <a:cubicBezTo>
                  <a:pt x="267" y="83"/>
                  <a:pt x="257" y="87"/>
                  <a:pt x="249" y="95"/>
                </a:cubicBezTo>
                <a:cubicBezTo>
                  <a:pt x="241" y="102"/>
                  <a:pt x="237" y="117"/>
                  <a:pt x="237" y="138"/>
                </a:cubicBezTo>
                <a:lnTo>
                  <a:pt x="237" y="228"/>
                </a:lnTo>
                <a:lnTo>
                  <a:pt x="211" y="228"/>
                </a:lnTo>
                <a:close/>
                <a:moveTo>
                  <a:pt x="462" y="207"/>
                </a:moveTo>
                <a:cubicBezTo>
                  <a:pt x="452" y="216"/>
                  <a:pt x="443" y="222"/>
                  <a:pt x="434" y="226"/>
                </a:cubicBezTo>
                <a:cubicBezTo>
                  <a:pt x="425" y="229"/>
                  <a:pt x="416" y="231"/>
                  <a:pt x="405" y="231"/>
                </a:cubicBezTo>
                <a:cubicBezTo>
                  <a:pt x="388" y="231"/>
                  <a:pt x="376" y="227"/>
                  <a:pt x="366" y="218"/>
                </a:cubicBezTo>
                <a:cubicBezTo>
                  <a:pt x="357" y="209"/>
                  <a:pt x="353" y="198"/>
                  <a:pt x="353" y="184"/>
                </a:cubicBezTo>
                <a:cubicBezTo>
                  <a:pt x="353" y="176"/>
                  <a:pt x="355" y="169"/>
                  <a:pt x="358" y="162"/>
                </a:cubicBezTo>
                <a:cubicBezTo>
                  <a:pt x="361" y="155"/>
                  <a:pt x="366" y="150"/>
                  <a:pt x="371" y="146"/>
                </a:cubicBezTo>
                <a:cubicBezTo>
                  <a:pt x="377" y="142"/>
                  <a:pt x="383" y="139"/>
                  <a:pt x="390" y="137"/>
                </a:cubicBezTo>
                <a:cubicBezTo>
                  <a:pt x="395" y="135"/>
                  <a:pt x="403" y="134"/>
                  <a:pt x="413" y="133"/>
                </a:cubicBezTo>
                <a:cubicBezTo>
                  <a:pt x="434" y="130"/>
                  <a:pt x="450" y="127"/>
                  <a:pt x="460" y="123"/>
                </a:cubicBezTo>
                <a:cubicBezTo>
                  <a:pt x="460" y="119"/>
                  <a:pt x="460" y="117"/>
                  <a:pt x="460" y="116"/>
                </a:cubicBezTo>
                <a:cubicBezTo>
                  <a:pt x="460" y="104"/>
                  <a:pt x="457" y="97"/>
                  <a:pt x="453" y="92"/>
                </a:cubicBezTo>
                <a:cubicBezTo>
                  <a:pt x="446" y="86"/>
                  <a:pt x="436" y="82"/>
                  <a:pt x="423" y="82"/>
                </a:cubicBezTo>
                <a:cubicBezTo>
                  <a:pt x="411" y="82"/>
                  <a:pt x="402" y="85"/>
                  <a:pt x="396" y="89"/>
                </a:cubicBezTo>
                <a:cubicBezTo>
                  <a:pt x="390" y="94"/>
                  <a:pt x="386" y="102"/>
                  <a:pt x="383" y="114"/>
                </a:cubicBezTo>
                <a:lnTo>
                  <a:pt x="357" y="110"/>
                </a:lnTo>
                <a:cubicBezTo>
                  <a:pt x="360" y="98"/>
                  <a:pt x="363" y="89"/>
                  <a:pt x="369" y="82"/>
                </a:cubicBezTo>
                <a:cubicBezTo>
                  <a:pt x="374" y="74"/>
                  <a:pt x="382" y="69"/>
                  <a:pt x="392" y="65"/>
                </a:cubicBezTo>
                <a:cubicBezTo>
                  <a:pt x="402" y="61"/>
                  <a:pt x="413" y="59"/>
                  <a:pt x="427" y="59"/>
                </a:cubicBezTo>
                <a:cubicBezTo>
                  <a:pt x="440" y="59"/>
                  <a:pt x="451" y="61"/>
                  <a:pt x="459" y="64"/>
                </a:cubicBezTo>
                <a:cubicBezTo>
                  <a:pt x="467" y="68"/>
                  <a:pt x="473" y="72"/>
                  <a:pt x="477" y="77"/>
                </a:cubicBezTo>
                <a:cubicBezTo>
                  <a:pt x="481" y="82"/>
                  <a:pt x="483" y="88"/>
                  <a:pt x="485" y="96"/>
                </a:cubicBezTo>
                <a:cubicBezTo>
                  <a:pt x="486" y="101"/>
                  <a:pt x="486" y="109"/>
                  <a:pt x="486" y="121"/>
                </a:cubicBezTo>
                <a:lnTo>
                  <a:pt x="486" y="158"/>
                </a:lnTo>
                <a:cubicBezTo>
                  <a:pt x="486" y="184"/>
                  <a:pt x="487" y="201"/>
                  <a:pt x="488" y="208"/>
                </a:cubicBezTo>
                <a:cubicBezTo>
                  <a:pt x="489" y="215"/>
                  <a:pt x="491" y="221"/>
                  <a:pt x="494" y="228"/>
                </a:cubicBezTo>
                <a:lnTo>
                  <a:pt x="467" y="228"/>
                </a:lnTo>
                <a:cubicBezTo>
                  <a:pt x="464" y="222"/>
                  <a:pt x="463" y="215"/>
                  <a:pt x="462" y="207"/>
                </a:cubicBezTo>
                <a:close/>
                <a:moveTo>
                  <a:pt x="460" y="145"/>
                </a:moveTo>
                <a:cubicBezTo>
                  <a:pt x="450" y="149"/>
                  <a:pt x="436" y="153"/>
                  <a:pt x="417" y="155"/>
                </a:cubicBezTo>
                <a:cubicBezTo>
                  <a:pt x="407" y="157"/>
                  <a:pt x="399" y="159"/>
                  <a:pt x="395" y="161"/>
                </a:cubicBezTo>
                <a:cubicBezTo>
                  <a:pt x="390" y="163"/>
                  <a:pt x="387" y="166"/>
                  <a:pt x="384" y="170"/>
                </a:cubicBezTo>
                <a:cubicBezTo>
                  <a:pt x="382" y="174"/>
                  <a:pt x="381" y="178"/>
                  <a:pt x="381" y="183"/>
                </a:cubicBezTo>
                <a:cubicBezTo>
                  <a:pt x="381" y="191"/>
                  <a:pt x="383" y="197"/>
                  <a:pt x="389" y="202"/>
                </a:cubicBezTo>
                <a:cubicBezTo>
                  <a:pt x="394" y="207"/>
                  <a:pt x="402" y="209"/>
                  <a:pt x="412" y="209"/>
                </a:cubicBezTo>
                <a:cubicBezTo>
                  <a:pt x="422" y="209"/>
                  <a:pt x="431" y="207"/>
                  <a:pt x="438" y="202"/>
                </a:cubicBezTo>
                <a:cubicBezTo>
                  <a:pt x="446" y="197"/>
                  <a:pt x="452" y="191"/>
                  <a:pt x="456" y="183"/>
                </a:cubicBezTo>
                <a:cubicBezTo>
                  <a:pt x="458" y="177"/>
                  <a:pt x="460" y="167"/>
                  <a:pt x="460" y="155"/>
                </a:cubicBezTo>
                <a:lnTo>
                  <a:pt x="460" y="145"/>
                </a:lnTo>
                <a:close/>
                <a:moveTo>
                  <a:pt x="512" y="228"/>
                </a:moveTo>
                <a:lnTo>
                  <a:pt x="512" y="63"/>
                </a:lnTo>
                <a:lnTo>
                  <a:pt x="536" y="63"/>
                </a:lnTo>
                <a:lnTo>
                  <a:pt x="536" y="86"/>
                </a:lnTo>
                <a:cubicBezTo>
                  <a:pt x="547" y="68"/>
                  <a:pt x="563" y="59"/>
                  <a:pt x="585" y="59"/>
                </a:cubicBezTo>
                <a:cubicBezTo>
                  <a:pt x="594" y="59"/>
                  <a:pt x="602" y="61"/>
                  <a:pt x="610" y="65"/>
                </a:cubicBezTo>
                <a:cubicBezTo>
                  <a:pt x="618" y="68"/>
                  <a:pt x="624" y="73"/>
                  <a:pt x="627" y="79"/>
                </a:cubicBezTo>
                <a:cubicBezTo>
                  <a:pt x="631" y="84"/>
                  <a:pt x="634" y="91"/>
                  <a:pt x="636" y="99"/>
                </a:cubicBezTo>
                <a:cubicBezTo>
                  <a:pt x="636" y="104"/>
                  <a:pt x="637" y="113"/>
                  <a:pt x="637" y="126"/>
                </a:cubicBezTo>
                <a:lnTo>
                  <a:pt x="637" y="228"/>
                </a:lnTo>
                <a:lnTo>
                  <a:pt x="611" y="228"/>
                </a:lnTo>
                <a:lnTo>
                  <a:pt x="611" y="127"/>
                </a:lnTo>
                <a:cubicBezTo>
                  <a:pt x="611" y="116"/>
                  <a:pt x="610" y="108"/>
                  <a:pt x="608" y="102"/>
                </a:cubicBezTo>
                <a:cubicBezTo>
                  <a:pt x="606" y="96"/>
                  <a:pt x="602" y="92"/>
                  <a:pt x="597" y="88"/>
                </a:cubicBezTo>
                <a:cubicBezTo>
                  <a:pt x="592" y="85"/>
                  <a:pt x="586" y="83"/>
                  <a:pt x="579" y="83"/>
                </a:cubicBezTo>
                <a:cubicBezTo>
                  <a:pt x="568" y="83"/>
                  <a:pt x="559" y="87"/>
                  <a:pt x="551" y="95"/>
                </a:cubicBezTo>
                <a:cubicBezTo>
                  <a:pt x="542" y="102"/>
                  <a:pt x="538" y="117"/>
                  <a:pt x="538" y="138"/>
                </a:cubicBezTo>
                <a:lnTo>
                  <a:pt x="538" y="228"/>
                </a:lnTo>
                <a:lnTo>
                  <a:pt x="512" y="228"/>
                </a:lnTo>
                <a:close/>
                <a:moveTo>
                  <a:pt x="763" y="167"/>
                </a:moveTo>
                <a:lnTo>
                  <a:pt x="789" y="171"/>
                </a:lnTo>
                <a:cubicBezTo>
                  <a:pt x="786" y="190"/>
                  <a:pt x="779" y="204"/>
                  <a:pt x="768" y="215"/>
                </a:cubicBezTo>
                <a:cubicBezTo>
                  <a:pt x="756" y="226"/>
                  <a:pt x="742" y="231"/>
                  <a:pt x="725" y="231"/>
                </a:cubicBezTo>
                <a:cubicBezTo>
                  <a:pt x="704" y="231"/>
                  <a:pt x="687" y="224"/>
                  <a:pt x="675" y="209"/>
                </a:cubicBezTo>
                <a:cubicBezTo>
                  <a:pt x="662" y="194"/>
                  <a:pt x="656" y="173"/>
                  <a:pt x="656" y="146"/>
                </a:cubicBezTo>
                <a:cubicBezTo>
                  <a:pt x="656" y="128"/>
                  <a:pt x="658" y="112"/>
                  <a:pt x="664" y="99"/>
                </a:cubicBezTo>
                <a:cubicBezTo>
                  <a:pt x="669" y="86"/>
                  <a:pt x="678" y="76"/>
                  <a:pt x="689" y="69"/>
                </a:cubicBezTo>
                <a:cubicBezTo>
                  <a:pt x="700" y="63"/>
                  <a:pt x="712" y="59"/>
                  <a:pt x="725" y="59"/>
                </a:cubicBezTo>
                <a:cubicBezTo>
                  <a:pt x="742" y="59"/>
                  <a:pt x="756" y="64"/>
                  <a:pt x="766" y="73"/>
                </a:cubicBezTo>
                <a:cubicBezTo>
                  <a:pt x="777" y="82"/>
                  <a:pt x="784" y="95"/>
                  <a:pt x="787" y="111"/>
                </a:cubicBezTo>
                <a:lnTo>
                  <a:pt x="761" y="115"/>
                </a:lnTo>
                <a:cubicBezTo>
                  <a:pt x="759" y="104"/>
                  <a:pt x="755" y="96"/>
                  <a:pt x="749" y="90"/>
                </a:cubicBezTo>
                <a:cubicBezTo>
                  <a:pt x="742" y="85"/>
                  <a:pt x="735" y="82"/>
                  <a:pt x="726" y="82"/>
                </a:cubicBezTo>
                <a:cubicBezTo>
                  <a:pt x="713" y="82"/>
                  <a:pt x="703" y="87"/>
                  <a:pt x="694" y="97"/>
                </a:cubicBezTo>
                <a:cubicBezTo>
                  <a:pt x="686" y="107"/>
                  <a:pt x="682" y="123"/>
                  <a:pt x="682" y="145"/>
                </a:cubicBezTo>
                <a:cubicBezTo>
                  <a:pt x="682" y="167"/>
                  <a:pt x="686" y="183"/>
                  <a:pt x="694" y="193"/>
                </a:cubicBezTo>
                <a:cubicBezTo>
                  <a:pt x="702" y="203"/>
                  <a:pt x="712" y="208"/>
                  <a:pt x="725" y="208"/>
                </a:cubicBezTo>
                <a:cubicBezTo>
                  <a:pt x="735" y="208"/>
                  <a:pt x="744" y="205"/>
                  <a:pt x="750" y="198"/>
                </a:cubicBezTo>
                <a:cubicBezTo>
                  <a:pt x="757" y="191"/>
                  <a:pt x="762" y="181"/>
                  <a:pt x="763" y="167"/>
                </a:cubicBezTo>
                <a:close/>
                <a:moveTo>
                  <a:pt x="902" y="174"/>
                </a:moveTo>
                <a:lnTo>
                  <a:pt x="929" y="178"/>
                </a:lnTo>
                <a:cubicBezTo>
                  <a:pt x="925" y="195"/>
                  <a:pt x="917" y="208"/>
                  <a:pt x="905" y="217"/>
                </a:cubicBezTo>
                <a:cubicBezTo>
                  <a:pt x="894" y="226"/>
                  <a:pt x="879" y="231"/>
                  <a:pt x="862" y="231"/>
                </a:cubicBezTo>
                <a:cubicBezTo>
                  <a:pt x="839" y="231"/>
                  <a:pt x="822" y="224"/>
                  <a:pt x="808" y="209"/>
                </a:cubicBezTo>
                <a:cubicBezTo>
                  <a:pt x="795" y="194"/>
                  <a:pt x="789" y="173"/>
                  <a:pt x="789" y="147"/>
                </a:cubicBezTo>
                <a:cubicBezTo>
                  <a:pt x="789" y="119"/>
                  <a:pt x="795" y="97"/>
                  <a:pt x="809" y="82"/>
                </a:cubicBezTo>
                <a:cubicBezTo>
                  <a:pt x="822" y="67"/>
                  <a:pt x="839" y="59"/>
                  <a:pt x="860" y="59"/>
                </a:cubicBezTo>
                <a:cubicBezTo>
                  <a:pt x="881" y="59"/>
                  <a:pt x="897" y="67"/>
                  <a:pt x="910" y="82"/>
                </a:cubicBezTo>
                <a:cubicBezTo>
                  <a:pt x="923" y="97"/>
                  <a:pt x="930" y="118"/>
                  <a:pt x="930" y="145"/>
                </a:cubicBezTo>
                <a:cubicBezTo>
                  <a:pt x="930" y="147"/>
                  <a:pt x="930" y="149"/>
                  <a:pt x="930" y="152"/>
                </a:cubicBezTo>
                <a:lnTo>
                  <a:pt x="815" y="152"/>
                </a:lnTo>
                <a:cubicBezTo>
                  <a:pt x="816" y="170"/>
                  <a:pt x="821" y="184"/>
                  <a:pt x="830" y="194"/>
                </a:cubicBezTo>
                <a:cubicBezTo>
                  <a:pt x="838" y="203"/>
                  <a:pt x="849" y="208"/>
                  <a:pt x="862" y="208"/>
                </a:cubicBezTo>
                <a:cubicBezTo>
                  <a:pt x="871" y="208"/>
                  <a:pt x="879" y="205"/>
                  <a:pt x="886" y="200"/>
                </a:cubicBezTo>
                <a:cubicBezTo>
                  <a:pt x="893" y="195"/>
                  <a:pt x="898" y="186"/>
                  <a:pt x="902" y="174"/>
                </a:cubicBezTo>
                <a:close/>
                <a:moveTo>
                  <a:pt x="817" y="129"/>
                </a:moveTo>
                <a:lnTo>
                  <a:pt x="902" y="129"/>
                </a:lnTo>
                <a:cubicBezTo>
                  <a:pt x="901" y="116"/>
                  <a:pt x="898" y="105"/>
                  <a:pt x="893" y="98"/>
                </a:cubicBezTo>
                <a:cubicBezTo>
                  <a:pt x="884" y="88"/>
                  <a:pt x="874" y="82"/>
                  <a:pt x="860" y="82"/>
                </a:cubicBezTo>
                <a:cubicBezTo>
                  <a:pt x="848" y="82"/>
                  <a:pt x="838" y="86"/>
                  <a:pt x="830" y="95"/>
                </a:cubicBezTo>
                <a:cubicBezTo>
                  <a:pt x="822" y="104"/>
                  <a:pt x="818" y="115"/>
                  <a:pt x="817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1" name="Freeform 101">
            <a:extLst>
              <a:ext uri="{FF2B5EF4-FFF2-40B4-BE49-F238E27FC236}">
                <a16:creationId xmlns:a16="http://schemas.microsoft.com/office/drawing/2014/main" id="{8C2A5869-A97F-4B8C-9E37-C1188DD93D8E}"/>
              </a:ext>
            </a:extLst>
          </p:cNvPr>
          <p:cNvSpPr>
            <a:spLocks noEditPoints="1"/>
          </p:cNvSpPr>
          <p:nvPr/>
        </p:nvSpPr>
        <p:spPr bwMode="auto">
          <a:xfrm>
            <a:off x="2068513" y="3032126"/>
            <a:ext cx="301625" cy="106363"/>
          </a:xfrm>
          <a:custGeom>
            <a:avLst/>
            <a:gdLst>
              <a:gd name="T0" fmla="*/ 0 w 838"/>
              <a:gd name="T1" fmla="*/ 0 h 294"/>
              <a:gd name="T2" fmla="*/ 153 w 838"/>
              <a:gd name="T3" fmla="*/ 27 h 294"/>
              <a:gd name="T4" fmla="*/ 28 w 838"/>
              <a:gd name="T5" fmla="*/ 97 h 294"/>
              <a:gd name="T6" fmla="*/ 145 w 838"/>
              <a:gd name="T7" fmla="*/ 123 h 294"/>
              <a:gd name="T8" fmla="*/ 28 w 838"/>
              <a:gd name="T9" fmla="*/ 201 h 294"/>
              <a:gd name="T10" fmla="*/ 158 w 838"/>
              <a:gd name="T11" fmla="*/ 228 h 294"/>
              <a:gd name="T12" fmla="*/ 180 w 838"/>
              <a:gd name="T13" fmla="*/ 228 h 294"/>
              <a:gd name="T14" fmla="*/ 203 w 838"/>
              <a:gd name="T15" fmla="*/ 63 h 294"/>
              <a:gd name="T16" fmla="*/ 252 w 838"/>
              <a:gd name="T17" fmla="*/ 59 h 294"/>
              <a:gd name="T18" fmla="*/ 295 w 838"/>
              <a:gd name="T19" fmla="*/ 79 h 294"/>
              <a:gd name="T20" fmla="*/ 304 w 838"/>
              <a:gd name="T21" fmla="*/ 126 h 294"/>
              <a:gd name="T22" fmla="*/ 278 w 838"/>
              <a:gd name="T23" fmla="*/ 228 h 294"/>
              <a:gd name="T24" fmla="*/ 275 w 838"/>
              <a:gd name="T25" fmla="*/ 102 h 294"/>
              <a:gd name="T26" fmla="*/ 246 w 838"/>
              <a:gd name="T27" fmla="*/ 83 h 294"/>
              <a:gd name="T28" fmla="*/ 206 w 838"/>
              <a:gd name="T29" fmla="*/ 138 h 294"/>
              <a:gd name="T30" fmla="*/ 180 w 838"/>
              <a:gd name="T31" fmla="*/ 228 h 294"/>
              <a:gd name="T32" fmla="*/ 462 w 838"/>
              <a:gd name="T33" fmla="*/ 178 h 294"/>
              <a:gd name="T34" fmla="*/ 395 w 838"/>
              <a:gd name="T35" fmla="*/ 231 h 294"/>
              <a:gd name="T36" fmla="*/ 322 w 838"/>
              <a:gd name="T37" fmla="*/ 147 h 294"/>
              <a:gd name="T38" fmla="*/ 393 w 838"/>
              <a:gd name="T39" fmla="*/ 59 h 294"/>
              <a:gd name="T40" fmla="*/ 463 w 838"/>
              <a:gd name="T41" fmla="*/ 145 h 294"/>
              <a:gd name="T42" fmla="*/ 348 w 838"/>
              <a:gd name="T43" fmla="*/ 152 h 294"/>
              <a:gd name="T44" fmla="*/ 395 w 838"/>
              <a:gd name="T45" fmla="*/ 208 h 294"/>
              <a:gd name="T46" fmla="*/ 435 w 838"/>
              <a:gd name="T47" fmla="*/ 174 h 294"/>
              <a:gd name="T48" fmla="*/ 435 w 838"/>
              <a:gd name="T49" fmla="*/ 129 h 294"/>
              <a:gd name="T50" fmla="*/ 393 w 838"/>
              <a:gd name="T51" fmla="*/ 82 h 294"/>
              <a:gd name="T52" fmla="*/ 350 w 838"/>
              <a:gd name="T53" fmla="*/ 129 h 294"/>
              <a:gd name="T54" fmla="*/ 481 w 838"/>
              <a:gd name="T55" fmla="*/ 63 h 294"/>
              <a:gd name="T56" fmla="*/ 504 w 838"/>
              <a:gd name="T57" fmla="*/ 88 h 294"/>
              <a:gd name="T58" fmla="*/ 537 w 838"/>
              <a:gd name="T59" fmla="*/ 59 h 294"/>
              <a:gd name="T60" fmla="*/ 555 w 838"/>
              <a:gd name="T61" fmla="*/ 94 h 294"/>
              <a:gd name="T62" fmla="*/ 521 w 838"/>
              <a:gd name="T63" fmla="*/ 94 h 294"/>
              <a:gd name="T64" fmla="*/ 507 w 838"/>
              <a:gd name="T65" fmla="*/ 141 h 294"/>
              <a:gd name="T66" fmla="*/ 481 w 838"/>
              <a:gd name="T67" fmla="*/ 228 h 294"/>
              <a:gd name="T68" fmla="*/ 582 w 838"/>
              <a:gd name="T69" fmla="*/ 245 h 294"/>
              <a:gd name="T70" fmla="*/ 617 w 838"/>
              <a:gd name="T71" fmla="*/ 271 h 294"/>
              <a:gd name="T72" fmla="*/ 658 w 838"/>
              <a:gd name="T73" fmla="*/ 242 h 294"/>
              <a:gd name="T74" fmla="*/ 618 w 838"/>
              <a:gd name="T75" fmla="*/ 228 h 294"/>
              <a:gd name="T76" fmla="*/ 551 w 838"/>
              <a:gd name="T77" fmla="*/ 144 h 294"/>
              <a:gd name="T78" fmla="*/ 582 w 838"/>
              <a:gd name="T79" fmla="*/ 70 h 294"/>
              <a:gd name="T80" fmla="*/ 663 w 838"/>
              <a:gd name="T81" fmla="*/ 83 h 294"/>
              <a:gd name="T82" fmla="*/ 686 w 838"/>
              <a:gd name="T83" fmla="*/ 63 h 294"/>
              <a:gd name="T84" fmla="*/ 679 w 838"/>
              <a:gd name="T85" fmla="*/ 260 h 294"/>
              <a:gd name="T86" fmla="*/ 617 w 838"/>
              <a:gd name="T87" fmla="*/ 294 h 294"/>
              <a:gd name="T88" fmla="*/ 557 w 838"/>
              <a:gd name="T89" fmla="*/ 241 h 294"/>
              <a:gd name="T90" fmla="*/ 590 w 838"/>
              <a:gd name="T91" fmla="*/ 189 h 294"/>
              <a:gd name="T92" fmla="*/ 650 w 838"/>
              <a:gd name="T93" fmla="*/ 190 h 294"/>
              <a:gd name="T94" fmla="*/ 650 w 838"/>
              <a:gd name="T95" fmla="*/ 98 h 294"/>
              <a:gd name="T96" fmla="*/ 590 w 838"/>
              <a:gd name="T97" fmla="*/ 98 h 294"/>
              <a:gd name="T98" fmla="*/ 711 w 838"/>
              <a:gd name="T99" fmla="*/ 291 h 294"/>
              <a:gd name="T100" fmla="*/ 723 w 838"/>
              <a:gd name="T101" fmla="*/ 268 h 294"/>
              <a:gd name="T102" fmla="*/ 745 w 838"/>
              <a:gd name="T103" fmla="*/ 256 h 294"/>
              <a:gd name="T104" fmla="*/ 756 w 838"/>
              <a:gd name="T105" fmla="*/ 228 h 294"/>
              <a:gd name="T106" fmla="*/ 725 w 838"/>
              <a:gd name="T107" fmla="*/ 63 h 294"/>
              <a:gd name="T108" fmla="*/ 768 w 838"/>
              <a:gd name="T109" fmla="*/ 196 h 294"/>
              <a:gd name="T110" fmla="*/ 812 w 838"/>
              <a:gd name="T111" fmla="*/ 63 h 294"/>
              <a:gd name="T112" fmla="*/ 780 w 838"/>
              <a:gd name="T113" fmla="*/ 230 h 294"/>
              <a:gd name="T114" fmla="*/ 749 w 838"/>
              <a:gd name="T115" fmla="*/ 288 h 294"/>
              <a:gd name="T116" fmla="*/ 711 w 838"/>
              <a:gd name="T117" fmla="*/ 291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38" h="294">
                <a:moveTo>
                  <a:pt x="0" y="228"/>
                </a:moveTo>
                <a:lnTo>
                  <a:pt x="0" y="0"/>
                </a:lnTo>
                <a:lnTo>
                  <a:pt x="153" y="0"/>
                </a:lnTo>
                <a:lnTo>
                  <a:pt x="153" y="27"/>
                </a:lnTo>
                <a:lnTo>
                  <a:pt x="28" y="27"/>
                </a:lnTo>
                <a:lnTo>
                  <a:pt x="28" y="97"/>
                </a:lnTo>
                <a:lnTo>
                  <a:pt x="145" y="97"/>
                </a:lnTo>
                <a:lnTo>
                  <a:pt x="145" y="123"/>
                </a:lnTo>
                <a:lnTo>
                  <a:pt x="28" y="123"/>
                </a:lnTo>
                <a:lnTo>
                  <a:pt x="28" y="201"/>
                </a:lnTo>
                <a:lnTo>
                  <a:pt x="158" y="201"/>
                </a:lnTo>
                <a:lnTo>
                  <a:pt x="158" y="228"/>
                </a:lnTo>
                <a:lnTo>
                  <a:pt x="0" y="228"/>
                </a:lnTo>
                <a:close/>
                <a:moveTo>
                  <a:pt x="180" y="228"/>
                </a:moveTo>
                <a:lnTo>
                  <a:pt x="180" y="63"/>
                </a:lnTo>
                <a:lnTo>
                  <a:pt x="203" y="63"/>
                </a:lnTo>
                <a:lnTo>
                  <a:pt x="203" y="86"/>
                </a:lnTo>
                <a:cubicBezTo>
                  <a:pt x="214" y="68"/>
                  <a:pt x="231" y="59"/>
                  <a:pt x="252" y="59"/>
                </a:cubicBezTo>
                <a:cubicBezTo>
                  <a:pt x="261" y="59"/>
                  <a:pt x="269" y="61"/>
                  <a:pt x="277" y="65"/>
                </a:cubicBezTo>
                <a:cubicBezTo>
                  <a:pt x="285" y="68"/>
                  <a:pt x="291" y="73"/>
                  <a:pt x="295" y="79"/>
                </a:cubicBezTo>
                <a:cubicBezTo>
                  <a:pt x="298" y="84"/>
                  <a:pt x="301" y="91"/>
                  <a:pt x="303" y="99"/>
                </a:cubicBezTo>
                <a:cubicBezTo>
                  <a:pt x="304" y="104"/>
                  <a:pt x="304" y="113"/>
                  <a:pt x="304" y="126"/>
                </a:cubicBezTo>
                <a:lnTo>
                  <a:pt x="304" y="228"/>
                </a:lnTo>
                <a:lnTo>
                  <a:pt x="278" y="228"/>
                </a:lnTo>
                <a:lnTo>
                  <a:pt x="278" y="127"/>
                </a:lnTo>
                <a:cubicBezTo>
                  <a:pt x="278" y="116"/>
                  <a:pt x="277" y="108"/>
                  <a:pt x="275" y="102"/>
                </a:cubicBezTo>
                <a:cubicBezTo>
                  <a:pt x="273" y="96"/>
                  <a:pt x="269" y="92"/>
                  <a:pt x="264" y="88"/>
                </a:cubicBezTo>
                <a:cubicBezTo>
                  <a:pt x="259" y="85"/>
                  <a:pt x="253" y="83"/>
                  <a:pt x="246" y="83"/>
                </a:cubicBezTo>
                <a:cubicBezTo>
                  <a:pt x="235" y="83"/>
                  <a:pt x="226" y="87"/>
                  <a:pt x="218" y="95"/>
                </a:cubicBezTo>
                <a:cubicBezTo>
                  <a:pt x="210" y="102"/>
                  <a:pt x="206" y="117"/>
                  <a:pt x="206" y="138"/>
                </a:cubicBezTo>
                <a:lnTo>
                  <a:pt x="206" y="228"/>
                </a:lnTo>
                <a:lnTo>
                  <a:pt x="180" y="228"/>
                </a:lnTo>
                <a:close/>
                <a:moveTo>
                  <a:pt x="435" y="174"/>
                </a:moveTo>
                <a:lnTo>
                  <a:pt x="462" y="178"/>
                </a:lnTo>
                <a:cubicBezTo>
                  <a:pt x="458" y="195"/>
                  <a:pt x="450" y="208"/>
                  <a:pt x="439" y="217"/>
                </a:cubicBezTo>
                <a:cubicBezTo>
                  <a:pt x="427" y="226"/>
                  <a:pt x="412" y="231"/>
                  <a:pt x="395" y="231"/>
                </a:cubicBezTo>
                <a:cubicBezTo>
                  <a:pt x="372" y="231"/>
                  <a:pt x="355" y="224"/>
                  <a:pt x="341" y="209"/>
                </a:cubicBezTo>
                <a:cubicBezTo>
                  <a:pt x="328" y="194"/>
                  <a:pt x="322" y="173"/>
                  <a:pt x="322" y="147"/>
                </a:cubicBezTo>
                <a:cubicBezTo>
                  <a:pt x="322" y="119"/>
                  <a:pt x="328" y="97"/>
                  <a:pt x="342" y="82"/>
                </a:cubicBezTo>
                <a:cubicBezTo>
                  <a:pt x="355" y="67"/>
                  <a:pt x="372" y="59"/>
                  <a:pt x="393" y="59"/>
                </a:cubicBezTo>
                <a:cubicBezTo>
                  <a:pt x="414" y="59"/>
                  <a:pt x="430" y="67"/>
                  <a:pt x="443" y="82"/>
                </a:cubicBezTo>
                <a:cubicBezTo>
                  <a:pt x="456" y="97"/>
                  <a:pt x="463" y="118"/>
                  <a:pt x="463" y="145"/>
                </a:cubicBezTo>
                <a:cubicBezTo>
                  <a:pt x="463" y="147"/>
                  <a:pt x="463" y="149"/>
                  <a:pt x="463" y="152"/>
                </a:cubicBezTo>
                <a:lnTo>
                  <a:pt x="348" y="152"/>
                </a:lnTo>
                <a:cubicBezTo>
                  <a:pt x="349" y="170"/>
                  <a:pt x="354" y="184"/>
                  <a:pt x="363" y="194"/>
                </a:cubicBezTo>
                <a:cubicBezTo>
                  <a:pt x="371" y="203"/>
                  <a:pt x="382" y="208"/>
                  <a:pt x="395" y="208"/>
                </a:cubicBezTo>
                <a:cubicBezTo>
                  <a:pt x="404" y="208"/>
                  <a:pt x="412" y="205"/>
                  <a:pt x="419" y="200"/>
                </a:cubicBezTo>
                <a:cubicBezTo>
                  <a:pt x="426" y="195"/>
                  <a:pt x="431" y="186"/>
                  <a:pt x="435" y="174"/>
                </a:cubicBezTo>
                <a:close/>
                <a:moveTo>
                  <a:pt x="350" y="129"/>
                </a:moveTo>
                <a:lnTo>
                  <a:pt x="435" y="129"/>
                </a:lnTo>
                <a:cubicBezTo>
                  <a:pt x="434" y="116"/>
                  <a:pt x="431" y="105"/>
                  <a:pt x="426" y="98"/>
                </a:cubicBezTo>
                <a:cubicBezTo>
                  <a:pt x="417" y="88"/>
                  <a:pt x="407" y="82"/>
                  <a:pt x="393" y="82"/>
                </a:cubicBezTo>
                <a:cubicBezTo>
                  <a:pt x="381" y="82"/>
                  <a:pt x="371" y="86"/>
                  <a:pt x="363" y="95"/>
                </a:cubicBezTo>
                <a:cubicBezTo>
                  <a:pt x="355" y="104"/>
                  <a:pt x="351" y="115"/>
                  <a:pt x="350" y="129"/>
                </a:cubicBezTo>
                <a:close/>
                <a:moveTo>
                  <a:pt x="481" y="228"/>
                </a:moveTo>
                <a:lnTo>
                  <a:pt x="481" y="63"/>
                </a:lnTo>
                <a:lnTo>
                  <a:pt x="504" y="63"/>
                </a:lnTo>
                <a:lnTo>
                  <a:pt x="504" y="88"/>
                </a:lnTo>
                <a:cubicBezTo>
                  <a:pt x="510" y="76"/>
                  <a:pt x="516" y="69"/>
                  <a:pt x="521" y="65"/>
                </a:cubicBezTo>
                <a:cubicBezTo>
                  <a:pt x="526" y="61"/>
                  <a:pt x="531" y="59"/>
                  <a:pt x="537" y="59"/>
                </a:cubicBezTo>
                <a:cubicBezTo>
                  <a:pt x="546" y="59"/>
                  <a:pt x="555" y="62"/>
                  <a:pt x="564" y="68"/>
                </a:cubicBezTo>
                <a:lnTo>
                  <a:pt x="555" y="94"/>
                </a:lnTo>
                <a:cubicBezTo>
                  <a:pt x="549" y="90"/>
                  <a:pt x="542" y="88"/>
                  <a:pt x="536" y="88"/>
                </a:cubicBezTo>
                <a:cubicBezTo>
                  <a:pt x="530" y="88"/>
                  <a:pt x="525" y="90"/>
                  <a:pt x="521" y="94"/>
                </a:cubicBezTo>
                <a:cubicBezTo>
                  <a:pt x="516" y="97"/>
                  <a:pt x="513" y="102"/>
                  <a:pt x="511" y="109"/>
                </a:cubicBezTo>
                <a:cubicBezTo>
                  <a:pt x="508" y="119"/>
                  <a:pt x="507" y="130"/>
                  <a:pt x="507" y="141"/>
                </a:cubicBezTo>
                <a:lnTo>
                  <a:pt x="507" y="228"/>
                </a:lnTo>
                <a:lnTo>
                  <a:pt x="481" y="228"/>
                </a:lnTo>
                <a:close/>
                <a:moveTo>
                  <a:pt x="557" y="241"/>
                </a:moveTo>
                <a:lnTo>
                  <a:pt x="582" y="245"/>
                </a:lnTo>
                <a:cubicBezTo>
                  <a:pt x="583" y="253"/>
                  <a:pt x="586" y="259"/>
                  <a:pt x="591" y="263"/>
                </a:cubicBezTo>
                <a:cubicBezTo>
                  <a:pt x="597" y="268"/>
                  <a:pt x="606" y="271"/>
                  <a:pt x="617" y="271"/>
                </a:cubicBezTo>
                <a:cubicBezTo>
                  <a:pt x="629" y="271"/>
                  <a:pt x="638" y="268"/>
                  <a:pt x="645" y="263"/>
                </a:cubicBezTo>
                <a:cubicBezTo>
                  <a:pt x="652" y="258"/>
                  <a:pt x="656" y="251"/>
                  <a:pt x="658" y="242"/>
                </a:cubicBezTo>
                <a:cubicBezTo>
                  <a:pt x="660" y="236"/>
                  <a:pt x="660" y="224"/>
                  <a:pt x="660" y="206"/>
                </a:cubicBezTo>
                <a:cubicBezTo>
                  <a:pt x="649" y="220"/>
                  <a:pt x="635" y="228"/>
                  <a:pt x="618" y="228"/>
                </a:cubicBezTo>
                <a:cubicBezTo>
                  <a:pt x="597" y="228"/>
                  <a:pt x="580" y="219"/>
                  <a:pt x="569" y="203"/>
                </a:cubicBezTo>
                <a:cubicBezTo>
                  <a:pt x="557" y="187"/>
                  <a:pt x="551" y="167"/>
                  <a:pt x="551" y="144"/>
                </a:cubicBezTo>
                <a:cubicBezTo>
                  <a:pt x="551" y="129"/>
                  <a:pt x="554" y="114"/>
                  <a:pt x="559" y="101"/>
                </a:cubicBezTo>
                <a:cubicBezTo>
                  <a:pt x="564" y="88"/>
                  <a:pt x="572" y="77"/>
                  <a:pt x="582" y="70"/>
                </a:cubicBezTo>
                <a:cubicBezTo>
                  <a:pt x="592" y="63"/>
                  <a:pt x="604" y="59"/>
                  <a:pt x="618" y="59"/>
                </a:cubicBezTo>
                <a:cubicBezTo>
                  <a:pt x="636" y="59"/>
                  <a:pt x="651" y="67"/>
                  <a:pt x="663" y="83"/>
                </a:cubicBezTo>
                <a:lnTo>
                  <a:pt x="663" y="63"/>
                </a:lnTo>
                <a:lnTo>
                  <a:pt x="686" y="63"/>
                </a:lnTo>
                <a:lnTo>
                  <a:pt x="686" y="205"/>
                </a:lnTo>
                <a:cubicBezTo>
                  <a:pt x="686" y="231"/>
                  <a:pt x="684" y="249"/>
                  <a:pt x="679" y="260"/>
                </a:cubicBezTo>
                <a:cubicBezTo>
                  <a:pt x="674" y="270"/>
                  <a:pt x="667" y="279"/>
                  <a:pt x="656" y="285"/>
                </a:cubicBezTo>
                <a:cubicBezTo>
                  <a:pt x="646" y="291"/>
                  <a:pt x="633" y="294"/>
                  <a:pt x="617" y="294"/>
                </a:cubicBezTo>
                <a:cubicBezTo>
                  <a:pt x="599" y="294"/>
                  <a:pt x="584" y="290"/>
                  <a:pt x="573" y="281"/>
                </a:cubicBezTo>
                <a:cubicBezTo>
                  <a:pt x="562" y="272"/>
                  <a:pt x="556" y="259"/>
                  <a:pt x="557" y="241"/>
                </a:cubicBezTo>
                <a:close/>
                <a:moveTo>
                  <a:pt x="578" y="142"/>
                </a:moveTo>
                <a:cubicBezTo>
                  <a:pt x="578" y="164"/>
                  <a:pt x="582" y="180"/>
                  <a:pt x="590" y="189"/>
                </a:cubicBezTo>
                <a:cubicBezTo>
                  <a:pt x="598" y="199"/>
                  <a:pt x="608" y="204"/>
                  <a:pt x="620" y="204"/>
                </a:cubicBezTo>
                <a:cubicBezTo>
                  <a:pt x="632" y="204"/>
                  <a:pt x="642" y="199"/>
                  <a:pt x="650" y="190"/>
                </a:cubicBezTo>
                <a:cubicBezTo>
                  <a:pt x="658" y="180"/>
                  <a:pt x="662" y="164"/>
                  <a:pt x="662" y="143"/>
                </a:cubicBezTo>
                <a:cubicBezTo>
                  <a:pt x="662" y="123"/>
                  <a:pt x="658" y="108"/>
                  <a:pt x="650" y="98"/>
                </a:cubicBezTo>
                <a:cubicBezTo>
                  <a:pt x="641" y="88"/>
                  <a:pt x="631" y="82"/>
                  <a:pt x="620" y="82"/>
                </a:cubicBezTo>
                <a:cubicBezTo>
                  <a:pt x="608" y="82"/>
                  <a:pt x="598" y="87"/>
                  <a:pt x="590" y="98"/>
                </a:cubicBezTo>
                <a:cubicBezTo>
                  <a:pt x="582" y="108"/>
                  <a:pt x="578" y="122"/>
                  <a:pt x="578" y="142"/>
                </a:cubicBezTo>
                <a:close/>
                <a:moveTo>
                  <a:pt x="711" y="291"/>
                </a:moveTo>
                <a:lnTo>
                  <a:pt x="708" y="265"/>
                </a:lnTo>
                <a:cubicBezTo>
                  <a:pt x="714" y="267"/>
                  <a:pt x="719" y="268"/>
                  <a:pt x="723" y="268"/>
                </a:cubicBezTo>
                <a:cubicBezTo>
                  <a:pt x="729" y="268"/>
                  <a:pt x="733" y="266"/>
                  <a:pt x="737" y="264"/>
                </a:cubicBezTo>
                <a:cubicBezTo>
                  <a:pt x="740" y="262"/>
                  <a:pt x="743" y="259"/>
                  <a:pt x="745" y="256"/>
                </a:cubicBezTo>
                <a:cubicBezTo>
                  <a:pt x="747" y="253"/>
                  <a:pt x="750" y="246"/>
                  <a:pt x="753" y="235"/>
                </a:cubicBezTo>
                <a:cubicBezTo>
                  <a:pt x="754" y="233"/>
                  <a:pt x="755" y="231"/>
                  <a:pt x="756" y="228"/>
                </a:cubicBezTo>
                <a:lnTo>
                  <a:pt x="697" y="63"/>
                </a:lnTo>
                <a:lnTo>
                  <a:pt x="725" y="63"/>
                </a:lnTo>
                <a:lnTo>
                  <a:pt x="757" y="158"/>
                </a:lnTo>
                <a:cubicBezTo>
                  <a:pt x="761" y="170"/>
                  <a:pt x="765" y="183"/>
                  <a:pt x="768" y="196"/>
                </a:cubicBezTo>
                <a:cubicBezTo>
                  <a:pt x="771" y="183"/>
                  <a:pt x="775" y="171"/>
                  <a:pt x="779" y="159"/>
                </a:cubicBezTo>
                <a:lnTo>
                  <a:pt x="812" y="63"/>
                </a:lnTo>
                <a:lnTo>
                  <a:pt x="838" y="63"/>
                </a:lnTo>
                <a:lnTo>
                  <a:pt x="780" y="230"/>
                </a:lnTo>
                <a:cubicBezTo>
                  <a:pt x="774" y="248"/>
                  <a:pt x="769" y="261"/>
                  <a:pt x="765" y="268"/>
                </a:cubicBezTo>
                <a:cubicBezTo>
                  <a:pt x="760" y="277"/>
                  <a:pt x="755" y="284"/>
                  <a:pt x="749" y="288"/>
                </a:cubicBezTo>
                <a:cubicBezTo>
                  <a:pt x="743" y="292"/>
                  <a:pt x="736" y="294"/>
                  <a:pt x="728" y="294"/>
                </a:cubicBezTo>
                <a:cubicBezTo>
                  <a:pt x="723" y="294"/>
                  <a:pt x="717" y="293"/>
                  <a:pt x="711" y="29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2" name="Freeform 102">
            <a:extLst>
              <a:ext uri="{FF2B5EF4-FFF2-40B4-BE49-F238E27FC236}">
                <a16:creationId xmlns:a16="http://schemas.microsoft.com/office/drawing/2014/main" id="{A0CA7ECB-704F-45A8-93C7-845B7236FE88}"/>
              </a:ext>
            </a:extLst>
          </p:cNvPr>
          <p:cNvSpPr>
            <a:spLocks noEditPoints="1"/>
          </p:cNvSpPr>
          <p:nvPr/>
        </p:nvSpPr>
        <p:spPr bwMode="auto">
          <a:xfrm>
            <a:off x="2779713" y="3030538"/>
            <a:ext cx="381000" cy="222250"/>
          </a:xfrm>
          <a:custGeom>
            <a:avLst/>
            <a:gdLst>
              <a:gd name="T0" fmla="*/ 142 w 1058"/>
              <a:gd name="T1" fmla="*/ 24 h 616"/>
              <a:gd name="T2" fmla="*/ 136 w 1058"/>
              <a:gd name="T3" fmla="*/ 216 h 616"/>
              <a:gd name="T4" fmla="*/ 77 w 1058"/>
              <a:gd name="T5" fmla="*/ 473 h 616"/>
              <a:gd name="T6" fmla="*/ 186 w 1058"/>
              <a:gd name="T7" fmla="*/ 507 h 616"/>
              <a:gd name="T8" fmla="*/ 89 w 1058"/>
              <a:gd name="T9" fmla="*/ 430 h 616"/>
              <a:gd name="T10" fmla="*/ 133 w 1058"/>
              <a:gd name="T11" fmla="*/ 318 h 616"/>
              <a:gd name="T12" fmla="*/ 171 w 1058"/>
              <a:gd name="T13" fmla="*/ 356 h 616"/>
              <a:gd name="T14" fmla="*/ 136 w 1058"/>
              <a:gd name="T15" fmla="*/ 415 h 616"/>
              <a:gd name="T16" fmla="*/ 182 w 1058"/>
              <a:gd name="T17" fmla="*/ 544 h 616"/>
              <a:gd name="T18" fmla="*/ 345 w 1058"/>
              <a:gd name="T19" fmla="*/ 496 h 616"/>
              <a:gd name="T20" fmla="*/ 232 w 1058"/>
              <a:gd name="T21" fmla="*/ 468 h 616"/>
              <a:gd name="T22" fmla="*/ 373 w 1058"/>
              <a:gd name="T23" fmla="*/ 474 h 616"/>
              <a:gd name="T24" fmla="*/ 345 w 1058"/>
              <a:gd name="T25" fmla="*/ 496 h 616"/>
              <a:gd name="T26" fmla="*/ 273 w 1058"/>
              <a:gd name="T27" fmla="*/ 416 h 616"/>
              <a:gd name="T28" fmla="*/ 453 w 1058"/>
              <a:gd name="T29" fmla="*/ 553 h 616"/>
              <a:gd name="T30" fmla="*/ 453 w 1058"/>
              <a:gd name="T31" fmla="*/ 381 h 616"/>
              <a:gd name="T32" fmla="*/ 454 w 1058"/>
              <a:gd name="T33" fmla="*/ 404 h 616"/>
              <a:gd name="T34" fmla="*/ 478 w 1058"/>
              <a:gd name="T35" fmla="*/ 520 h 616"/>
              <a:gd name="T36" fmla="*/ 552 w 1058"/>
              <a:gd name="T37" fmla="*/ 547 h 616"/>
              <a:gd name="T38" fmla="*/ 551 w 1058"/>
              <a:gd name="T39" fmla="*/ 384 h 616"/>
              <a:gd name="T40" fmla="*/ 604 w 1058"/>
              <a:gd name="T41" fmla="*/ 522 h 616"/>
              <a:gd name="T42" fmla="*/ 649 w 1058"/>
              <a:gd name="T43" fmla="*/ 549 h 616"/>
              <a:gd name="T44" fmla="*/ 699 w 1058"/>
              <a:gd name="T45" fmla="*/ 409 h 616"/>
              <a:gd name="T46" fmla="*/ 731 w 1058"/>
              <a:gd name="T47" fmla="*/ 410 h 616"/>
              <a:gd name="T48" fmla="*/ 676 w 1058"/>
              <a:gd name="T49" fmla="*/ 549 h 616"/>
              <a:gd name="T50" fmla="*/ 761 w 1058"/>
              <a:gd name="T51" fmla="*/ 353 h 616"/>
              <a:gd name="T52" fmla="*/ 761 w 1058"/>
              <a:gd name="T53" fmla="*/ 549 h 616"/>
              <a:gd name="T54" fmla="*/ 820 w 1058"/>
              <a:gd name="T55" fmla="*/ 534 h 616"/>
              <a:gd name="T56" fmla="*/ 817 w 1058"/>
              <a:gd name="T57" fmla="*/ 384 h 616"/>
              <a:gd name="T58" fmla="*/ 869 w 1058"/>
              <a:gd name="T59" fmla="*/ 406 h 616"/>
              <a:gd name="T60" fmla="*/ 858 w 1058"/>
              <a:gd name="T61" fmla="*/ 525 h 616"/>
              <a:gd name="T62" fmla="*/ 906 w 1058"/>
              <a:gd name="T63" fmla="*/ 586 h 616"/>
              <a:gd name="T64" fmla="*/ 894 w 1058"/>
              <a:gd name="T65" fmla="*/ 384 h 616"/>
              <a:gd name="T66" fmla="*/ 1007 w 1058"/>
              <a:gd name="T67" fmla="*/ 384 h 616"/>
              <a:gd name="T68" fmla="*/ 880 w 1058"/>
              <a:gd name="T69" fmla="*/ 612 h 616"/>
              <a:gd name="T70" fmla="*/ 141 w 1058"/>
              <a:gd name="T71" fmla="*/ 160 h 616"/>
              <a:gd name="T72" fmla="*/ 28 w 1058"/>
              <a:gd name="T73" fmla="*/ 31 h 616"/>
              <a:gd name="T74" fmla="*/ 261 w 1058"/>
              <a:gd name="T75" fmla="*/ 235 h 616"/>
              <a:gd name="T76" fmla="*/ 310 w 1058"/>
              <a:gd name="T77" fmla="*/ 86 h 616"/>
              <a:gd name="T78" fmla="*/ 261 w 1058"/>
              <a:gd name="T79" fmla="*/ 212 h 616"/>
              <a:gd name="T80" fmla="*/ 292 w 1058"/>
              <a:gd name="T81" fmla="*/ 102 h 616"/>
              <a:gd name="T82" fmla="*/ 354 w 1058"/>
              <a:gd name="T83" fmla="*/ 88 h 616"/>
              <a:gd name="T84" fmla="*/ 356 w 1058"/>
              <a:gd name="T85" fmla="*/ 25 h 616"/>
              <a:gd name="T86" fmla="*/ 401 w 1058"/>
              <a:gd name="T87" fmla="*/ 26 h 616"/>
              <a:gd name="T88" fmla="*/ 409 w 1058"/>
              <a:gd name="T89" fmla="*/ 88 h 616"/>
              <a:gd name="T90" fmla="*/ 540 w 1058"/>
              <a:gd name="T91" fmla="*/ 182 h 616"/>
              <a:gd name="T92" fmla="*/ 420 w 1058"/>
              <a:gd name="T93" fmla="*/ 86 h 616"/>
              <a:gd name="T94" fmla="*/ 426 w 1058"/>
              <a:gd name="T95" fmla="*/ 156 h 616"/>
              <a:gd name="T96" fmla="*/ 428 w 1058"/>
              <a:gd name="T97" fmla="*/ 133 h 616"/>
              <a:gd name="T98" fmla="*/ 428 w 1058"/>
              <a:gd name="T99" fmla="*/ 133 h 616"/>
              <a:gd name="T100" fmla="*/ 631 w 1058"/>
              <a:gd name="T101" fmla="*/ 63 h 616"/>
              <a:gd name="T102" fmla="*/ 684 w 1058"/>
              <a:gd name="T103" fmla="*/ 232 h 616"/>
              <a:gd name="T104" fmla="*/ 626 w 1058"/>
              <a:gd name="T105" fmla="*/ 87 h 616"/>
              <a:gd name="T106" fmla="*/ 810 w 1058"/>
              <a:gd name="T107" fmla="*/ 171 h 616"/>
              <a:gd name="T108" fmla="*/ 702 w 1058"/>
              <a:gd name="T109" fmla="*/ 150 h 616"/>
              <a:gd name="T110" fmla="*/ 833 w 1058"/>
              <a:gd name="T111" fmla="*/ 115 h 616"/>
              <a:gd name="T112" fmla="*/ 729 w 1058"/>
              <a:gd name="T113" fmla="*/ 149 h 616"/>
              <a:gd name="T114" fmla="*/ 949 w 1058"/>
              <a:gd name="T115" fmla="*/ 178 h 616"/>
              <a:gd name="T116" fmla="*/ 835 w 1058"/>
              <a:gd name="T117" fmla="*/ 151 h 616"/>
              <a:gd name="T118" fmla="*/ 976 w 1058"/>
              <a:gd name="T119" fmla="*/ 156 h 616"/>
              <a:gd name="T120" fmla="*/ 949 w 1058"/>
              <a:gd name="T121" fmla="*/ 178 h 616"/>
              <a:gd name="T122" fmla="*/ 877 w 1058"/>
              <a:gd name="T123" fmla="*/ 99 h 616"/>
              <a:gd name="T124" fmla="*/ 996 w 1058"/>
              <a:gd name="T125" fmla="*/ 235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58" h="616">
                <a:moveTo>
                  <a:pt x="0" y="232"/>
                </a:moveTo>
                <a:lnTo>
                  <a:pt x="0" y="4"/>
                </a:lnTo>
                <a:lnTo>
                  <a:pt x="73" y="4"/>
                </a:lnTo>
                <a:cubicBezTo>
                  <a:pt x="89" y="4"/>
                  <a:pt x="102" y="5"/>
                  <a:pt x="111" y="7"/>
                </a:cubicBezTo>
                <a:cubicBezTo>
                  <a:pt x="123" y="10"/>
                  <a:pt x="133" y="16"/>
                  <a:pt x="142" y="24"/>
                </a:cubicBezTo>
                <a:cubicBezTo>
                  <a:pt x="153" y="34"/>
                  <a:pt x="161" y="47"/>
                  <a:pt x="167" y="63"/>
                </a:cubicBezTo>
                <a:cubicBezTo>
                  <a:pt x="172" y="78"/>
                  <a:pt x="175" y="96"/>
                  <a:pt x="175" y="117"/>
                </a:cubicBezTo>
                <a:cubicBezTo>
                  <a:pt x="175" y="134"/>
                  <a:pt x="173" y="149"/>
                  <a:pt x="169" y="163"/>
                </a:cubicBezTo>
                <a:cubicBezTo>
                  <a:pt x="166" y="176"/>
                  <a:pt x="161" y="187"/>
                  <a:pt x="155" y="196"/>
                </a:cubicBezTo>
                <a:cubicBezTo>
                  <a:pt x="149" y="204"/>
                  <a:pt x="143" y="211"/>
                  <a:pt x="136" y="216"/>
                </a:cubicBezTo>
                <a:cubicBezTo>
                  <a:pt x="129" y="221"/>
                  <a:pt x="120" y="225"/>
                  <a:pt x="110" y="228"/>
                </a:cubicBezTo>
                <a:cubicBezTo>
                  <a:pt x="101" y="230"/>
                  <a:pt x="89" y="232"/>
                  <a:pt x="76" y="232"/>
                </a:cubicBezTo>
                <a:lnTo>
                  <a:pt x="0" y="232"/>
                </a:lnTo>
                <a:close/>
                <a:moveTo>
                  <a:pt x="51" y="476"/>
                </a:moveTo>
                <a:lnTo>
                  <a:pt x="77" y="473"/>
                </a:lnTo>
                <a:cubicBezTo>
                  <a:pt x="78" y="485"/>
                  <a:pt x="81" y="494"/>
                  <a:pt x="86" y="502"/>
                </a:cubicBezTo>
                <a:cubicBezTo>
                  <a:pt x="91" y="509"/>
                  <a:pt x="98" y="515"/>
                  <a:pt x="107" y="519"/>
                </a:cubicBezTo>
                <a:cubicBezTo>
                  <a:pt x="117" y="524"/>
                  <a:pt x="128" y="526"/>
                  <a:pt x="140" y="526"/>
                </a:cubicBezTo>
                <a:cubicBezTo>
                  <a:pt x="150" y="526"/>
                  <a:pt x="160" y="524"/>
                  <a:pt x="168" y="521"/>
                </a:cubicBezTo>
                <a:cubicBezTo>
                  <a:pt x="176" y="518"/>
                  <a:pt x="182" y="513"/>
                  <a:pt x="186" y="507"/>
                </a:cubicBezTo>
                <a:cubicBezTo>
                  <a:pt x="190" y="501"/>
                  <a:pt x="192" y="494"/>
                  <a:pt x="192" y="487"/>
                </a:cubicBezTo>
                <a:cubicBezTo>
                  <a:pt x="192" y="480"/>
                  <a:pt x="190" y="474"/>
                  <a:pt x="187" y="469"/>
                </a:cubicBezTo>
                <a:cubicBezTo>
                  <a:pt x="183" y="464"/>
                  <a:pt x="176" y="459"/>
                  <a:pt x="167" y="455"/>
                </a:cubicBezTo>
                <a:cubicBezTo>
                  <a:pt x="162" y="453"/>
                  <a:pt x="149" y="449"/>
                  <a:pt x="130" y="444"/>
                </a:cubicBezTo>
                <a:cubicBezTo>
                  <a:pt x="110" y="439"/>
                  <a:pt x="97" y="435"/>
                  <a:pt x="89" y="430"/>
                </a:cubicBezTo>
                <a:cubicBezTo>
                  <a:pt x="79" y="424"/>
                  <a:pt x="71" y="417"/>
                  <a:pt x="66" y="409"/>
                </a:cubicBezTo>
                <a:cubicBezTo>
                  <a:pt x="61" y="401"/>
                  <a:pt x="59" y="391"/>
                  <a:pt x="59" y="381"/>
                </a:cubicBezTo>
                <a:cubicBezTo>
                  <a:pt x="59" y="369"/>
                  <a:pt x="62" y="358"/>
                  <a:pt x="68" y="348"/>
                </a:cubicBezTo>
                <a:cubicBezTo>
                  <a:pt x="74" y="338"/>
                  <a:pt x="83" y="331"/>
                  <a:pt x="95" y="326"/>
                </a:cubicBezTo>
                <a:cubicBezTo>
                  <a:pt x="106" y="320"/>
                  <a:pt x="119" y="318"/>
                  <a:pt x="133" y="318"/>
                </a:cubicBezTo>
                <a:cubicBezTo>
                  <a:pt x="149" y="318"/>
                  <a:pt x="163" y="321"/>
                  <a:pt x="175" y="326"/>
                </a:cubicBezTo>
                <a:cubicBezTo>
                  <a:pt x="187" y="331"/>
                  <a:pt x="196" y="339"/>
                  <a:pt x="203" y="350"/>
                </a:cubicBezTo>
                <a:cubicBezTo>
                  <a:pt x="209" y="361"/>
                  <a:pt x="213" y="372"/>
                  <a:pt x="213" y="386"/>
                </a:cubicBezTo>
                <a:lnTo>
                  <a:pt x="186" y="388"/>
                </a:lnTo>
                <a:cubicBezTo>
                  <a:pt x="185" y="374"/>
                  <a:pt x="180" y="363"/>
                  <a:pt x="171" y="356"/>
                </a:cubicBezTo>
                <a:cubicBezTo>
                  <a:pt x="163" y="348"/>
                  <a:pt x="151" y="345"/>
                  <a:pt x="135" y="345"/>
                </a:cubicBezTo>
                <a:cubicBezTo>
                  <a:pt x="118" y="345"/>
                  <a:pt x="105" y="348"/>
                  <a:pt x="97" y="355"/>
                </a:cubicBezTo>
                <a:cubicBezTo>
                  <a:pt x="90" y="361"/>
                  <a:pt x="86" y="369"/>
                  <a:pt x="86" y="379"/>
                </a:cubicBezTo>
                <a:cubicBezTo>
                  <a:pt x="86" y="387"/>
                  <a:pt x="89" y="394"/>
                  <a:pt x="94" y="399"/>
                </a:cubicBezTo>
                <a:cubicBezTo>
                  <a:pt x="99" y="404"/>
                  <a:pt x="114" y="410"/>
                  <a:pt x="136" y="415"/>
                </a:cubicBezTo>
                <a:cubicBezTo>
                  <a:pt x="159" y="421"/>
                  <a:pt x="175" y="425"/>
                  <a:pt x="183" y="430"/>
                </a:cubicBezTo>
                <a:cubicBezTo>
                  <a:pt x="195" y="436"/>
                  <a:pt x="205" y="443"/>
                  <a:pt x="210" y="453"/>
                </a:cubicBezTo>
                <a:cubicBezTo>
                  <a:pt x="216" y="462"/>
                  <a:pt x="219" y="473"/>
                  <a:pt x="219" y="485"/>
                </a:cubicBezTo>
                <a:cubicBezTo>
                  <a:pt x="219" y="497"/>
                  <a:pt x="216" y="508"/>
                  <a:pt x="210" y="519"/>
                </a:cubicBezTo>
                <a:cubicBezTo>
                  <a:pt x="203" y="530"/>
                  <a:pt x="194" y="538"/>
                  <a:pt x="182" y="544"/>
                </a:cubicBezTo>
                <a:cubicBezTo>
                  <a:pt x="170" y="550"/>
                  <a:pt x="156" y="553"/>
                  <a:pt x="141" y="553"/>
                </a:cubicBezTo>
                <a:cubicBezTo>
                  <a:pt x="122" y="553"/>
                  <a:pt x="106" y="550"/>
                  <a:pt x="93" y="544"/>
                </a:cubicBezTo>
                <a:cubicBezTo>
                  <a:pt x="80" y="538"/>
                  <a:pt x="70" y="529"/>
                  <a:pt x="63" y="517"/>
                </a:cubicBezTo>
                <a:cubicBezTo>
                  <a:pt x="55" y="505"/>
                  <a:pt x="51" y="491"/>
                  <a:pt x="51" y="476"/>
                </a:cubicBezTo>
                <a:close/>
                <a:moveTo>
                  <a:pt x="345" y="496"/>
                </a:moveTo>
                <a:lnTo>
                  <a:pt x="372" y="499"/>
                </a:lnTo>
                <a:cubicBezTo>
                  <a:pt x="368" y="516"/>
                  <a:pt x="360" y="529"/>
                  <a:pt x="349" y="539"/>
                </a:cubicBezTo>
                <a:cubicBezTo>
                  <a:pt x="337" y="548"/>
                  <a:pt x="322" y="553"/>
                  <a:pt x="305" y="553"/>
                </a:cubicBezTo>
                <a:cubicBezTo>
                  <a:pt x="282" y="553"/>
                  <a:pt x="265" y="545"/>
                  <a:pt x="251" y="530"/>
                </a:cubicBezTo>
                <a:cubicBezTo>
                  <a:pt x="238" y="516"/>
                  <a:pt x="232" y="495"/>
                  <a:pt x="232" y="468"/>
                </a:cubicBezTo>
                <a:cubicBezTo>
                  <a:pt x="232" y="440"/>
                  <a:pt x="238" y="419"/>
                  <a:pt x="252" y="404"/>
                </a:cubicBezTo>
                <a:cubicBezTo>
                  <a:pt x="265" y="388"/>
                  <a:pt x="282" y="381"/>
                  <a:pt x="303" y="381"/>
                </a:cubicBezTo>
                <a:cubicBezTo>
                  <a:pt x="324" y="381"/>
                  <a:pt x="340" y="388"/>
                  <a:pt x="353" y="403"/>
                </a:cubicBezTo>
                <a:cubicBezTo>
                  <a:pt x="366" y="418"/>
                  <a:pt x="373" y="439"/>
                  <a:pt x="373" y="466"/>
                </a:cubicBezTo>
                <a:cubicBezTo>
                  <a:pt x="373" y="468"/>
                  <a:pt x="373" y="470"/>
                  <a:pt x="373" y="474"/>
                </a:cubicBezTo>
                <a:lnTo>
                  <a:pt x="258" y="474"/>
                </a:lnTo>
                <a:cubicBezTo>
                  <a:pt x="259" y="492"/>
                  <a:pt x="264" y="506"/>
                  <a:pt x="273" y="515"/>
                </a:cubicBezTo>
                <a:cubicBezTo>
                  <a:pt x="281" y="525"/>
                  <a:pt x="292" y="530"/>
                  <a:pt x="305" y="530"/>
                </a:cubicBezTo>
                <a:cubicBezTo>
                  <a:pt x="314" y="530"/>
                  <a:pt x="322" y="527"/>
                  <a:pt x="329" y="522"/>
                </a:cubicBezTo>
                <a:cubicBezTo>
                  <a:pt x="336" y="516"/>
                  <a:pt x="341" y="508"/>
                  <a:pt x="345" y="496"/>
                </a:cubicBezTo>
                <a:close/>
                <a:moveTo>
                  <a:pt x="260" y="451"/>
                </a:moveTo>
                <a:lnTo>
                  <a:pt x="345" y="451"/>
                </a:lnTo>
                <a:cubicBezTo>
                  <a:pt x="344" y="437"/>
                  <a:pt x="341" y="427"/>
                  <a:pt x="336" y="420"/>
                </a:cubicBezTo>
                <a:cubicBezTo>
                  <a:pt x="327" y="409"/>
                  <a:pt x="317" y="404"/>
                  <a:pt x="303" y="404"/>
                </a:cubicBezTo>
                <a:cubicBezTo>
                  <a:pt x="291" y="404"/>
                  <a:pt x="281" y="408"/>
                  <a:pt x="273" y="416"/>
                </a:cubicBezTo>
                <a:cubicBezTo>
                  <a:pt x="265" y="425"/>
                  <a:pt x="261" y="437"/>
                  <a:pt x="260" y="451"/>
                </a:cubicBezTo>
                <a:close/>
                <a:moveTo>
                  <a:pt x="491" y="489"/>
                </a:moveTo>
                <a:lnTo>
                  <a:pt x="517" y="493"/>
                </a:lnTo>
                <a:cubicBezTo>
                  <a:pt x="514" y="511"/>
                  <a:pt x="507" y="526"/>
                  <a:pt x="495" y="537"/>
                </a:cubicBezTo>
                <a:cubicBezTo>
                  <a:pt x="484" y="547"/>
                  <a:pt x="470" y="553"/>
                  <a:pt x="453" y="553"/>
                </a:cubicBezTo>
                <a:cubicBezTo>
                  <a:pt x="432" y="553"/>
                  <a:pt x="415" y="545"/>
                  <a:pt x="403" y="530"/>
                </a:cubicBezTo>
                <a:cubicBezTo>
                  <a:pt x="390" y="516"/>
                  <a:pt x="383" y="495"/>
                  <a:pt x="383" y="467"/>
                </a:cubicBezTo>
                <a:cubicBezTo>
                  <a:pt x="383" y="449"/>
                  <a:pt x="386" y="434"/>
                  <a:pt x="392" y="421"/>
                </a:cubicBezTo>
                <a:cubicBezTo>
                  <a:pt x="397" y="407"/>
                  <a:pt x="405" y="397"/>
                  <a:pt x="417" y="391"/>
                </a:cubicBezTo>
                <a:cubicBezTo>
                  <a:pt x="428" y="384"/>
                  <a:pt x="440" y="381"/>
                  <a:pt x="453" y="381"/>
                </a:cubicBezTo>
                <a:cubicBezTo>
                  <a:pt x="470" y="381"/>
                  <a:pt x="484" y="385"/>
                  <a:pt x="494" y="394"/>
                </a:cubicBezTo>
                <a:cubicBezTo>
                  <a:pt x="505" y="403"/>
                  <a:pt x="511" y="416"/>
                  <a:pt x="514" y="433"/>
                </a:cubicBezTo>
                <a:lnTo>
                  <a:pt x="489" y="437"/>
                </a:lnTo>
                <a:cubicBezTo>
                  <a:pt x="487" y="426"/>
                  <a:pt x="483" y="418"/>
                  <a:pt x="476" y="412"/>
                </a:cubicBezTo>
                <a:cubicBezTo>
                  <a:pt x="470" y="406"/>
                  <a:pt x="463" y="404"/>
                  <a:pt x="454" y="404"/>
                </a:cubicBezTo>
                <a:cubicBezTo>
                  <a:pt x="441" y="404"/>
                  <a:pt x="431" y="409"/>
                  <a:pt x="422" y="419"/>
                </a:cubicBezTo>
                <a:cubicBezTo>
                  <a:pt x="414" y="429"/>
                  <a:pt x="410" y="445"/>
                  <a:pt x="410" y="466"/>
                </a:cubicBezTo>
                <a:cubicBezTo>
                  <a:pt x="410" y="489"/>
                  <a:pt x="414" y="505"/>
                  <a:pt x="422" y="515"/>
                </a:cubicBezTo>
                <a:cubicBezTo>
                  <a:pt x="430" y="525"/>
                  <a:pt x="440" y="530"/>
                  <a:pt x="453" y="530"/>
                </a:cubicBezTo>
                <a:cubicBezTo>
                  <a:pt x="463" y="530"/>
                  <a:pt x="472" y="526"/>
                  <a:pt x="478" y="520"/>
                </a:cubicBezTo>
                <a:cubicBezTo>
                  <a:pt x="485" y="513"/>
                  <a:pt x="490" y="503"/>
                  <a:pt x="491" y="489"/>
                </a:cubicBezTo>
                <a:close/>
                <a:moveTo>
                  <a:pt x="625" y="549"/>
                </a:moveTo>
                <a:lnTo>
                  <a:pt x="625" y="525"/>
                </a:lnTo>
                <a:cubicBezTo>
                  <a:pt x="614" y="543"/>
                  <a:pt x="597" y="553"/>
                  <a:pt x="577" y="553"/>
                </a:cubicBezTo>
                <a:cubicBezTo>
                  <a:pt x="568" y="553"/>
                  <a:pt x="559" y="551"/>
                  <a:pt x="552" y="547"/>
                </a:cubicBezTo>
                <a:cubicBezTo>
                  <a:pt x="544" y="543"/>
                  <a:pt x="538" y="539"/>
                  <a:pt x="534" y="533"/>
                </a:cubicBezTo>
                <a:cubicBezTo>
                  <a:pt x="530" y="527"/>
                  <a:pt x="528" y="520"/>
                  <a:pt x="526" y="512"/>
                </a:cubicBezTo>
                <a:cubicBezTo>
                  <a:pt x="525" y="507"/>
                  <a:pt x="525" y="498"/>
                  <a:pt x="525" y="486"/>
                </a:cubicBezTo>
                <a:lnTo>
                  <a:pt x="525" y="384"/>
                </a:lnTo>
                <a:lnTo>
                  <a:pt x="551" y="384"/>
                </a:lnTo>
                <a:lnTo>
                  <a:pt x="551" y="475"/>
                </a:lnTo>
                <a:cubicBezTo>
                  <a:pt x="551" y="490"/>
                  <a:pt x="551" y="500"/>
                  <a:pt x="552" y="505"/>
                </a:cubicBezTo>
                <a:cubicBezTo>
                  <a:pt x="554" y="512"/>
                  <a:pt x="557" y="518"/>
                  <a:pt x="563" y="522"/>
                </a:cubicBezTo>
                <a:cubicBezTo>
                  <a:pt x="568" y="526"/>
                  <a:pt x="574" y="528"/>
                  <a:pt x="582" y="528"/>
                </a:cubicBezTo>
                <a:cubicBezTo>
                  <a:pt x="590" y="528"/>
                  <a:pt x="597" y="526"/>
                  <a:pt x="604" y="522"/>
                </a:cubicBezTo>
                <a:cubicBezTo>
                  <a:pt x="611" y="518"/>
                  <a:pt x="616" y="512"/>
                  <a:pt x="619" y="504"/>
                </a:cubicBezTo>
                <a:cubicBezTo>
                  <a:pt x="621" y="497"/>
                  <a:pt x="623" y="486"/>
                  <a:pt x="623" y="472"/>
                </a:cubicBezTo>
                <a:lnTo>
                  <a:pt x="623" y="384"/>
                </a:lnTo>
                <a:lnTo>
                  <a:pt x="649" y="384"/>
                </a:lnTo>
                <a:lnTo>
                  <a:pt x="649" y="549"/>
                </a:lnTo>
                <a:lnTo>
                  <a:pt x="625" y="549"/>
                </a:lnTo>
                <a:close/>
                <a:moveTo>
                  <a:pt x="676" y="549"/>
                </a:moveTo>
                <a:lnTo>
                  <a:pt x="676" y="384"/>
                </a:lnTo>
                <a:lnTo>
                  <a:pt x="699" y="384"/>
                </a:lnTo>
                <a:lnTo>
                  <a:pt x="699" y="409"/>
                </a:lnTo>
                <a:cubicBezTo>
                  <a:pt x="705" y="398"/>
                  <a:pt x="710" y="390"/>
                  <a:pt x="716" y="386"/>
                </a:cubicBezTo>
                <a:cubicBezTo>
                  <a:pt x="721" y="383"/>
                  <a:pt x="726" y="381"/>
                  <a:pt x="732" y="381"/>
                </a:cubicBezTo>
                <a:cubicBezTo>
                  <a:pt x="741" y="381"/>
                  <a:pt x="750" y="384"/>
                  <a:pt x="759" y="390"/>
                </a:cubicBezTo>
                <a:lnTo>
                  <a:pt x="750" y="415"/>
                </a:lnTo>
                <a:cubicBezTo>
                  <a:pt x="743" y="412"/>
                  <a:pt x="737" y="410"/>
                  <a:pt x="731" y="410"/>
                </a:cubicBezTo>
                <a:cubicBezTo>
                  <a:pt x="725" y="410"/>
                  <a:pt x="720" y="411"/>
                  <a:pt x="716" y="415"/>
                </a:cubicBezTo>
                <a:cubicBezTo>
                  <a:pt x="711" y="419"/>
                  <a:pt x="708" y="424"/>
                  <a:pt x="706" y="430"/>
                </a:cubicBezTo>
                <a:cubicBezTo>
                  <a:pt x="703" y="440"/>
                  <a:pt x="702" y="451"/>
                  <a:pt x="702" y="463"/>
                </a:cubicBezTo>
                <a:lnTo>
                  <a:pt x="702" y="549"/>
                </a:lnTo>
                <a:lnTo>
                  <a:pt x="676" y="549"/>
                </a:lnTo>
                <a:close/>
                <a:moveTo>
                  <a:pt x="761" y="353"/>
                </a:moveTo>
                <a:lnTo>
                  <a:pt x="761" y="322"/>
                </a:lnTo>
                <a:lnTo>
                  <a:pt x="787" y="322"/>
                </a:lnTo>
                <a:lnTo>
                  <a:pt x="787" y="353"/>
                </a:lnTo>
                <a:lnTo>
                  <a:pt x="761" y="353"/>
                </a:lnTo>
                <a:close/>
                <a:moveTo>
                  <a:pt x="761" y="549"/>
                </a:moveTo>
                <a:lnTo>
                  <a:pt x="761" y="384"/>
                </a:lnTo>
                <a:lnTo>
                  <a:pt x="787" y="384"/>
                </a:lnTo>
                <a:lnTo>
                  <a:pt x="787" y="549"/>
                </a:lnTo>
                <a:lnTo>
                  <a:pt x="761" y="549"/>
                </a:lnTo>
                <a:close/>
                <a:moveTo>
                  <a:pt x="869" y="524"/>
                </a:moveTo>
                <a:lnTo>
                  <a:pt x="873" y="549"/>
                </a:lnTo>
                <a:cubicBezTo>
                  <a:pt x="865" y="550"/>
                  <a:pt x="859" y="551"/>
                  <a:pt x="853" y="551"/>
                </a:cubicBezTo>
                <a:cubicBezTo>
                  <a:pt x="844" y="551"/>
                  <a:pt x="836" y="550"/>
                  <a:pt x="831" y="546"/>
                </a:cubicBezTo>
                <a:cubicBezTo>
                  <a:pt x="826" y="543"/>
                  <a:pt x="822" y="539"/>
                  <a:pt x="820" y="534"/>
                </a:cubicBezTo>
                <a:cubicBezTo>
                  <a:pt x="818" y="529"/>
                  <a:pt x="817" y="518"/>
                  <a:pt x="817" y="501"/>
                </a:cubicBezTo>
                <a:lnTo>
                  <a:pt x="817" y="406"/>
                </a:lnTo>
                <a:lnTo>
                  <a:pt x="798" y="406"/>
                </a:lnTo>
                <a:lnTo>
                  <a:pt x="798" y="384"/>
                </a:lnTo>
                <a:lnTo>
                  <a:pt x="817" y="384"/>
                </a:lnTo>
                <a:lnTo>
                  <a:pt x="817" y="343"/>
                </a:lnTo>
                <a:lnTo>
                  <a:pt x="843" y="327"/>
                </a:lnTo>
                <a:lnTo>
                  <a:pt x="843" y="384"/>
                </a:lnTo>
                <a:lnTo>
                  <a:pt x="869" y="384"/>
                </a:lnTo>
                <a:lnTo>
                  <a:pt x="869" y="406"/>
                </a:lnTo>
                <a:lnTo>
                  <a:pt x="843" y="406"/>
                </a:lnTo>
                <a:lnTo>
                  <a:pt x="843" y="502"/>
                </a:lnTo>
                <a:cubicBezTo>
                  <a:pt x="843" y="510"/>
                  <a:pt x="844" y="515"/>
                  <a:pt x="844" y="518"/>
                </a:cubicBezTo>
                <a:cubicBezTo>
                  <a:pt x="845" y="520"/>
                  <a:pt x="847" y="522"/>
                  <a:pt x="849" y="523"/>
                </a:cubicBezTo>
                <a:cubicBezTo>
                  <a:pt x="851" y="525"/>
                  <a:pt x="854" y="525"/>
                  <a:pt x="858" y="525"/>
                </a:cubicBezTo>
                <a:cubicBezTo>
                  <a:pt x="861" y="525"/>
                  <a:pt x="864" y="525"/>
                  <a:pt x="869" y="524"/>
                </a:cubicBezTo>
                <a:close/>
                <a:moveTo>
                  <a:pt x="880" y="612"/>
                </a:moveTo>
                <a:lnTo>
                  <a:pt x="877" y="587"/>
                </a:lnTo>
                <a:cubicBezTo>
                  <a:pt x="883" y="588"/>
                  <a:pt x="888" y="589"/>
                  <a:pt x="892" y="589"/>
                </a:cubicBezTo>
                <a:cubicBezTo>
                  <a:pt x="898" y="589"/>
                  <a:pt x="902" y="588"/>
                  <a:pt x="906" y="586"/>
                </a:cubicBezTo>
                <a:cubicBezTo>
                  <a:pt x="909" y="584"/>
                  <a:pt x="912" y="581"/>
                  <a:pt x="914" y="577"/>
                </a:cubicBezTo>
                <a:cubicBezTo>
                  <a:pt x="916" y="574"/>
                  <a:pt x="919" y="567"/>
                  <a:pt x="922" y="556"/>
                </a:cubicBezTo>
                <a:cubicBezTo>
                  <a:pt x="923" y="555"/>
                  <a:pt x="923" y="553"/>
                  <a:pt x="924" y="550"/>
                </a:cubicBezTo>
                <a:lnTo>
                  <a:pt x="866" y="384"/>
                </a:lnTo>
                <a:lnTo>
                  <a:pt x="894" y="384"/>
                </a:lnTo>
                <a:lnTo>
                  <a:pt x="926" y="479"/>
                </a:lnTo>
                <a:cubicBezTo>
                  <a:pt x="930" y="491"/>
                  <a:pt x="934" y="504"/>
                  <a:pt x="937" y="517"/>
                </a:cubicBezTo>
                <a:cubicBezTo>
                  <a:pt x="940" y="505"/>
                  <a:pt x="944" y="493"/>
                  <a:pt x="948" y="480"/>
                </a:cubicBezTo>
                <a:lnTo>
                  <a:pt x="981" y="384"/>
                </a:lnTo>
                <a:lnTo>
                  <a:pt x="1007" y="384"/>
                </a:lnTo>
                <a:lnTo>
                  <a:pt x="949" y="552"/>
                </a:lnTo>
                <a:cubicBezTo>
                  <a:pt x="942" y="570"/>
                  <a:pt x="938" y="582"/>
                  <a:pt x="934" y="589"/>
                </a:cubicBezTo>
                <a:cubicBezTo>
                  <a:pt x="929" y="598"/>
                  <a:pt x="924" y="605"/>
                  <a:pt x="918" y="609"/>
                </a:cubicBezTo>
                <a:cubicBezTo>
                  <a:pt x="912" y="614"/>
                  <a:pt x="905" y="616"/>
                  <a:pt x="897" y="616"/>
                </a:cubicBezTo>
                <a:cubicBezTo>
                  <a:pt x="892" y="616"/>
                  <a:pt x="886" y="615"/>
                  <a:pt x="880" y="612"/>
                </a:cubicBezTo>
                <a:close/>
                <a:moveTo>
                  <a:pt x="28" y="205"/>
                </a:moveTo>
                <a:lnTo>
                  <a:pt x="73" y="205"/>
                </a:lnTo>
                <a:cubicBezTo>
                  <a:pt x="87" y="205"/>
                  <a:pt x="98" y="203"/>
                  <a:pt x="106" y="201"/>
                </a:cubicBezTo>
                <a:cubicBezTo>
                  <a:pt x="114" y="198"/>
                  <a:pt x="120" y="194"/>
                  <a:pt x="125" y="189"/>
                </a:cubicBezTo>
                <a:cubicBezTo>
                  <a:pt x="132" y="182"/>
                  <a:pt x="137" y="172"/>
                  <a:pt x="141" y="160"/>
                </a:cubicBezTo>
                <a:cubicBezTo>
                  <a:pt x="144" y="148"/>
                  <a:pt x="146" y="133"/>
                  <a:pt x="146" y="116"/>
                </a:cubicBezTo>
                <a:cubicBezTo>
                  <a:pt x="146" y="92"/>
                  <a:pt x="142" y="74"/>
                  <a:pt x="135" y="61"/>
                </a:cubicBezTo>
                <a:cubicBezTo>
                  <a:pt x="128" y="48"/>
                  <a:pt x="119" y="40"/>
                  <a:pt x="109" y="36"/>
                </a:cubicBezTo>
                <a:cubicBezTo>
                  <a:pt x="101" y="32"/>
                  <a:pt x="89" y="31"/>
                  <a:pt x="73" y="31"/>
                </a:cubicBezTo>
                <a:lnTo>
                  <a:pt x="28" y="31"/>
                </a:lnTo>
                <a:lnTo>
                  <a:pt x="28" y="205"/>
                </a:lnTo>
                <a:close/>
                <a:moveTo>
                  <a:pt x="301" y="178"/>
                </a:moveTo>
                <a:lnTo>
                  <a:pt x="328" y="182"/>
                </a:lnTo>
                <a:cubicBezTo>
                  <a:pt x="324" y="199"/>
                  <a:pt x="316" y="212"/>
                  <a:pt x="305" y="221"/>
                </a:cubicBezTo>
                <a:cubicBezTo>
                  <a:pt x="293" y="230"/>
                  <a:pt x="279" y="235"/>
                  <a:pt x="261" y="235"/>
                </a:cubicBezTo>
                <a:cubicBezTo>
                  <a:pt x="239" y="235"/>
                  <a:pt x="221" y="228"/>
                  <a:pt x="208" y="213"/>
                </a:cubicBezTo>
                <a:cubicBezTo>
                  <a:pt x="195" y="198"/>
                  <a:pt x="188" y="177"/>
                  <a:pt x="188" y="151"/>
                </a:cubicBezTo>
                <a:cubicBezTo>
                  <a:pt x="188" y="123"/>
                  <a:pt x="195" y="101"/>
                  <a:pt x="208" y="86"/>
                </a:cubicBezTo>
                <a:cubicBezTo>
                  <a:pt x="221" y="71"/>
                  <a:pt x="238" y="63"/>
                  <a:pt x="259" y="63"/>
                </a:cubicBezTo>
                <a:cubicBezTo>
                  <a:pt x="280" y="63"/>
                  <a:pt x="297" y="71"/>
                  <a:pt x="310" y="86"/>
                </a:cubicBezTo>
                <a:cubicBezTo>
                  <a:pt x="323" y="101"/>
                  <a:pt x="329" y="122"/>
                  <a:pt x="329" y="149"/>
                </a:cubicBezTo>
                <a:cubicBezTo>
                  <a:pt x="329" y="151"/>
                  <a:pt x="329" y="153"/>
                  <a:pt x="329" y="156"/>
                </a:cubicBezTo>
                <a:lnTo>
                  <a:pt x="215" y="156"/>
                </a:lnTo>
                <a:cubicBezTo>
                  <a:pt x="216" y="174"/>
                  <a:pt x="220" y="188"/>
                  <a:pt x="229" y="198"/>
                </a:cubicBezTo>
                <a:cubicBezTo>
                  <a:pt x="237" y="207"/>
                  <a:pt x="248" y="212"/>
                  <a:pt x="261" y="212"/>
                </a:cubicBezTo>
                <a:cubicBezTo>
                  <a:pt x="270" y="212"/>
                  <a:pt x="279" y="209"/>
                  <a:pt x="285" y="204"/>
                </a:cubicBezTo>
                <a:cubicBezTo>
                  <a:pt x="292" y="199"/>
                  <a:pt x="297" y="190"/>
                  <a:pt x="301" y="178"/>
                </a:cubicBezTo>
                <a:close/>
                <a:moveTo>
                  <a:pt x="216" y="133"/>
                </a:moveTo>
                <a:lnTo>
                  <a:pt x="302" y="133"/>
                </a:lnTo>
                <a:cubicBezTo>
                  <a:pt x="300" y="120"/>
                  <a:pt x="297" y="109"/>
                  <a:pt x="292" y="102"/>
                </a:cubicBezTo>
                <a:cubicBezTo>
                  <a:pt x="284" y="92"/>
                  <a:pt x="273" y="86"/>
                  <a:pt x="260" y="86"/>
                </a:cubicBezTo>
                <a:cubicBezTo>
                  <a:pt x="248" y="86"/>
                  <a:pt x="238" y="90"/>
                  <a:pt x="230" y="99"/>
                </a:cubicBezTo>
                <a:cubicBezTo>
                  <a:pt x="221" y="108"/>
                  <a:pt x="217" y="119"/>
                  <a:pt x="216" y="133"/>
                </a:cubicBezTo>
                <a:close/>
                <a:moveTo>
                  <a:pt x="354" y="232"/>
                </a:moveTo>
                <a:lnTo>
                  <a:pt x="354" y="88"/>
                </a:lnTo>
                <a:lnTo>
                  <a:pt x="330" y="88"/>
                </a:lnTo>
                <a:lnTo>
                  <a:pt x="330" y="67"/>
                </a:lnTo>
                <a:lnTo>
                  <a:pt x="354" y="67"/>
                </a:lnTo>
                <a:lnTo>
                  <a:pt x="354" y="49"/>
                </a:lnTo>
                <a:cubicBezTo>
                  <a:pt x="354" y="38"/>
                  <a:pt x="354" y="30"/>
                  <a:pt x="356" y="25"/>
                </a:cubicBezTo>
                <a:cubicBezTo>
                  <a:pt x="359" y="17"/>
                  <a:pt x="363" y="12"/>
                  <a:pt x="369" y="7"/>
                </a:cubicBezTo>
                <a:cubicBezTo>
                  <a:pt x="376" y="3"/>
                  <a:pt x="384" y="0"/>
                  <a:pt x="396" y="0"/>
                </a:cubicBezTo>
                <a:cubicBezTo>
                  <a:pt x="403" y="0"/>
                  <a:pt x="411" y="1"/>
                  <a:pt x="420" y="3"/>
                </a:cubicBezTo>
                <a:lnTo>
                  <a:pt x="416" y="28"/>
                </a:lnTo>
                <a:cubicBezTo>
                  <a:pt x="411" y="27"/>
                  <a:pt x="406" y="26"/>
                  <a:pt x="401" y="26"/>
                </a:cubicBezTo>
                <a:cubicBezTo>
                  <a:pt x="393" y="26"/>
                  <a:pt x="387" y="28"/>
                  <a:pt x="384" y="31"/>
                </a:cubicBezTo>
                <a:cubicBezTo>
                  <a:pt x="381" y="35"/>
                  <a:pt x="379" y="42"/>
                  <a:pt x="379" y="52"/>
                </a:cubicBezTo>
                <a:lnTo>
                  <a:pt x="379" y="67"/>
                </a:lnTo>
                <a:lnTo>
                  <a:pt x="409" y="67"/>
                </a:lnTo>
                <a:lnTo>
                  <a:pt x="409" y="88"/>
                </a:lnTo>
                <a:lnTo>
                  <a:pt x="380" y="88"/>
                </a:lnTo>
                <a:lnTo>
                  <a:pt x="380" y="232"/>
                </a:lnTo>
                <a:lnTo>
                  <a:pt x="354" y="232"/>
                </a:lnTo>
                <a:close/>
                <a:moveTo>
                  <a:pt x="513" y="178"/>
                </a:moveTo>
                <a:lnTo>
                  <a:pt x="540" y="182"/>
                </a:lnTo>
                <a:cubicBezTo>
                  <a:pt x="536" y="199"/>
                  <a:pt x="528" y="212"/>
                  <a:pt x="516" y="221"/>
                </a:cubicBezTo>
                <a:cubicBezTo>
                  <a:pt x="505" y="230"/>
                  <a:pt x="490" y="235"/>
                  <a:pt x="473" y="235"/>
                </a:cubicBezTo>
                <a:cubicBezTo>
                  <a:pt x="450" y="235"/>
                  <a:pt x="433" y="228"/>
                  <a:pt x="419" y="213"/>
                </a:cubicBezTo>
                <a:cubicBezTo>
                  <a:pt x="406" y="198"/>
                  <a:pt x="400" y="177"/>
                  <a:pt x="400" y="151"/>
                </a:cubicBezTo>
                <a:cubicBezTo>
                  <a:pt x="400" y="123"/>
                  <a:pt x="406" y="101"/>
                  <a:pt x="420" y="86"/>
                </a:cubicBezTo>
                <a:cubicBezTo>
                  <a:pt x="433" y="71"/>
                  <a:pt x="450" y="63"/>
                  <a:pt x="471" y="63"/>
                </a:cubicBezTo>
                <a:cubicBezTo>
                  <a:pt x="492" y="63"/>
                  <a:pt x="508" y="71"/>
                  <a:pt x="521" y="86"/>
                </a:cubicBezTo>
                <a:cubicBezTo>
                  <a:pt x="534" y="101"/>
                  <a:pt x="541" y="122"/>
                  <a:pt x="541" y="149"/>
                </a:cubicBezTo>
                <a:cubicBezTo>
                  <a:pt x="541" y="151"/>
                  <a:pt x="541" y="153"/>
                  <a:pt x="541" y="156"/>
                </a:cubicBezTo>
                <a:lnTo>
                  <a:pt x="426" y="156"/>
                </a:lnTo>
                <a:cubicBezTo>
                  <a:pt x="427" y="174"/>
                  <a:pt x="432" y="188"/>
                  <a:pt x="441" y="198"/>
                </a:cubicBezTo>
                <a:cubicBezTo>
                  <a:pt x="449" y="207"/>
                  <a:pt x="460" y="212"/>
                  <a:pt x="473" y="212"/>
                </a:cubicBezTo>
                <a:cubicBezTo>
                  <a:pt x="482" y="212"/>
                  <a:pt x="490" y="209"/>
                  <a:pt x="497" y="204"/>
                </a:cubicBezTo>
                <a:cubicBezTo>
                  <a:pt x="504" y="199"/>
                  <a:pt x="509" y="190"/>
                  <a:pt x="513" y="178"/>
                </a:cubicBezTo>
                <a:close/>
                <a:moveTo>
                  <a:pt x="428" y="133"/>
                </a:moveTo>
                <a:lnTo>
                  <a:pt x="513" y="133"/>
                </a:lnTo>
                <a:cubicBezTo>
                  <a:pt x="512" y="120"/>
                  <a:pt x="509" y="109"/>
                  <a:pt x="504" y="102"/>
                </a:cubicBezTo>
                <a:cubicBezTo>
                  <a:pt x="495" y="92"/>
                  <a:pt x="485" y="86"/>
                  <a:pt x="471" y="86"/>
                </a:cubicBezTo>
                <a:cubicBezTo>
                  <a:pt x="459" y="86"/>
                  <a:pt x="449" y="90"/>
                  <a:pt x="441" y="99"/>
                </a:cubicBezTo>
                <a:cubicBezTo>
                  <a:pt x="433" y="108"/>
                  <a:pt x="429" y="119"/>
                  <a:pt x="428" y="133"/>
                </a:cubicBezTo>
                <a:close/>
                <a:moveTo>
                  <a:pt x="559" y="232"/>
                </a:moveTo>
                <a:lnTo>
                  <a:pt x="559" y="67"/>
                </a:lnTo>
                <a:lnTo>
                  <a:pt x="582" y="67"/>
                </a:lnTo>
                <a:lnTo>
                  <a:pt x="582" y="90"/>
                </a:lnTo>
                <a:cubicBezTo>
                  <a:pt x="594" y="72"/>
                  <a:pt x="610" y="63"/>
                  <a:pt x="631" y="63"/>
                </a:cubicBezTo>
                <a:cubicBezTo>
                  <a:pt x="640" y="63"/>
                  <a:pt x="649" y="65"/>
                  <a:pt x="657" y="69"/>
                </a:cubicBezTo>
                <a:cubicBezTo>
                  <a:pt x="664" y="72"/>
                  <a:pt x="670" y="77"/>
                  <a:pt x="674" y="83"/>
                </a:cubicBezTo>
                <a:cubicBezTo>
                  <a:pt x="678" y="88"/>
                  <a:pt x="681" y="95"/>
                  <a:pt x="682" y="103"/>
                </a:cubicBezTo>
                <a:cubicBezTo>
                  <a:pt x="683" y="108"/>
                  <a:pt x="684" y="117"/>
                  <a:pt x="684" y="130"/>
                </a:cubicBezTo>
                <a:lnTo>
                  <a:pt x="684" y="232"/>
                </a:lnTo>
                <a:lnTo>
                  <a:pt x="658" y="232"/>
                </a:lnTo>
                <a:lnTo>
                  <a:pt x="658" y="131"/>
                </a:lnTo>
                <a:cubicBezTo>
                  <a:pt x="658" y="120"/>
                  <a:pt x="657" y="112"/>
                  <a:pt x="655" y="106"/>
                </a:cubicBezTo>
                <a:cubicBezTo>
                  <a:pt x="653" y="100"/>
                  <a:pt x="649" y="96"/>
                  <a:pt x="644" y="92"/>
                </a:cubicBezTo>
                <a:cubicBezTo>
                  <a:pt x="639" y="89"/>
                  <a:pt x="633" y="87"/>
                  <a:pt x="626" y="87"/>
                </a:cubicBezTo>
                <a:cubicBezTo>
                  <a:pt x="615" y="87"/>
                  <a:pt x="605" y="91"/>
                  <a:pt x="597" y="99"/>
                </a:cubicBezTo>
                <a:cubicBezTo>
                  <a:pt x="589" y="106"/>
                  <a:pt x="585" y="121"/>
                  <a:pt x="585" y="142"/>
                </a:cubicBezTo>
                <a:lnTo>
                  <a:pt x="585" y="232"/>
                </a:lnTo>
                <a:lnTo>
                  <a:pt x="559" y="232"/>
                </a:lnTo>
                <a:close/>
                <a:moveTo>
                  <a:pt x="810" y="171"/>
                </a:moveTo>
                <a:lnTo>
                  <a:pt x="836" y="175"/>
                </a:lnTo>
                <a:cubicBezTo>
                  <a:pt x="833" y="194"/>
                  <a:pt x="826" y="208"/>
                  <a:pt x="814" y="219"/>
                </a:cubicBezTo>
                <a:cubicBezTo>
                  <a:pt x="803" y="230"/>
                  <a:pt x="788" y="235"/>
                  <a:pt x="772" y="235"/>
                </a:cubicBezTo>
                <a:cubicBezTo>
                  <a:pt x="751" y="235"/>
                  <a:pt x="734" y="228"/>
                  <a:pt x="721" y="213"/>
                </a:cubicBezTo>
                <a:cubicBezTo>
                  <a:pt x="708" y="198"/>
                  <a:pt x="702" y="177"/>
                  <a:pt x="702" y="150"/>
                </a:cubicBezTo>
                <a:cubicBezTo>
                  <a:pt x="702" y="132"/>
                  <a:pt x="705" y="116"/>
                  <a:pt x="710" y="103"/>
                </a:cubicBezTo>
                <a:cubicBezTo>
                  <a:pt x="716" y="90"/>
                  <a:pt x="724" y="80"/>
                  <a:pt x="735" y="73"/>
                </a:cubicBezTo>
                <a:cubicBezTo>
                  <a:pt x="747" y="67"/>
                  <a:pt x="759" y="63"/>
                  <a:pt x="772" y="63"/>
                </a:cubicBezTo>
                <a:cubicBezTo>
                  <a:pt x="789" y="63"/>
                  <a:pt x="802" y="68"/>
                  <a:pt x="813" y="77"/>
                </a:cubicBezTo>
                <a:cubicBezTo>
                  <a:pt x="823" y="86"/>
                  <a:pt x="830" y="99"/>
                  <a:pt x="833" y="115"/>
                </a:cubicBezTo>
                <a:lnTo>
                  <a:pt x="808" y="119"/>
                </a:lnTo>
                <a:cubicBezTo>
                  <a:pt x="806" y="108"/>
                  <a:pt x="801" y="100"/>
                  <a:pt x="795" y="94"/>
                </a:cubicBezTo>
                <a:cubicBezTo>
                  <a:pt x="789" y="89"/>
                  <a:pt x="782" y="86"/>
                  <a:pt x="773" y="86"/>
                </a:cubicBezTo>
                <a:cubicBezTo>
                  <a:pt x="760" y="86"/>
                  <a:pt x="749" y="91"/>
                  <a:pt x="741" y="101"/>
                </a:cubicBezTo>
                <a:cubicBezTo>
                  <a:pt x="733" y="111"/>
                  <a:pt x="729" y="127"/>
                  <a:pt x="729" y="149"/>
                </a:cubicBezTo>
                <a:cubicBezTo>
                  <a:pt x="729" y="171"/>
                  <a:pt x="733" y="187"/>
                  <a:pt x="741" y="197"/>
                </a:cubicBezTo>
                <a:cubicBezTo>
                  <a:pt x="748" y="207"/>
                  <a:pt x="759" y="212"/>
                  <a:pt x="771" y="212"/>
                </a:cubicBezTo>
                <a:cubicBezTo>
                  <a:pt x="782" y="212"/>
                  <a:pt x="790" y="209"/>
                  <a:pt x="797" y="202"/>
                </a:cubicBezTo>
                <a:cubicBezTo>
                  <a:pt x="804" y="195"/>
                  <a:pt x="808" y="185"/>
                  <a:pt x="810" y="171"/>
                </a:cubicBezTo>
                <a:close/>
                <a:moveTo>
                  <a:pt x="949" y="178"/>
                </a:moveTo>
                <a:lnTo>
                  <a:pt x="976" y="182"/>
                </a:lnTo>
                <a:cubicBezTo>
                  <a:pt x="971" y="199"/>
                  <a:pt x="964" y="212"/>
                  <a:pt x="952" y="221"/>
                </a:cubicBezTo>
                <a:cubicBezTo>
                  <a:pt x="941" y="230"/>
                  <a:pt x="926" y="235"/>
                  <a:pt x="908" y="235"/>
                </a:cubicBezTo>
                <a:cubicBezTo>
                  <a:pt x="886" y="235"/>
                  <a:pt x="868" y="228"/>
                  <a:pt x="855" y="213"/>
                </a:cubicBezTo>
                <a:cubicBezTo>
                  <a:pt x="842" y="198"/>
                  <a:pt x="835" y="177"/>
                  <a:pt x="835" y="151"/>
                </a:cubicBezTo>
                <a:cubicBezTo>
                  <a:pt x="835" y="123"/>
                  <a:pt x="842" y="101"/>
                  <a:pt x="855" y="86"/>
                </a:cubicBezTo>
                <a:cubicBezTo>
                  <a:pt x="868" y="71"/>
                  <a:pt x="886" y="63"/>
                  <a:pt x="907" y="63"/>
                </a:cubicBezTo>
                <a:cubicBezTo>
                  <a:pt x="927" y="63"/>
                  <a:pt x="944" y="71"/>
                  <a:pt x="957" y="86"/>
                </a:cubicBezTo>
                <a:cubicBezTo>
                  <a:pt x="970" y="101"/>
                  <a:pt x="976" y="122"/>
                  <a:pt x="976" y="149"/>
                </a:cubicBezTo>
                <a:cubicBezTo>
                  <a:pt x="976" y="151"/>
                  <a:pt x="976" y="153"/>
                  <a:pt x="976" y="156"/>
                </a:cubicBezTo>
                <a:lnTo>
                  <a:pt x="862" y="156"/>
                </a:lnTo>
                <a:cubicBezTo>
                  <a:pt x="863" y="174"/>
                  <a:pt x="868" y="188"/>
                  <a:pt x="876" y="198"/>
                </a:cubicBezTo>
                <a:cubicBezTo>
                  <a:pt x="885" y="207"/>
                  <a:pt x="895" y="212"/>
                  <a:pt x="908" y="212"/>
                </a:cubicBezTo>
                <a:cubicBezTo>
                  <a:pt x="918" y="212"/>
                  <a:pt x="926" y="209"/>
                  <a:pt x="933" y="204"/>
                </a:cubicBezTo>
                <a:cubicBezTo>
                  <a:pt x="939" y="199"/>
                  <a:pt x="945" y="190"/>
                  <a:pt x="949" y="178"/>
                </a:cubicBezTo>
                <a:close/>
                <a:moveTo>
                  <a:pt x="863" y="133"/>
                </a:moveTo>
                <a:lnTo>
                  <a:pt x="949" y="133"/>
                </a:lnTo>
                <a:cubicBezTo>
                  <a:pt x="948" y="120"/>
                  <a:pt x="944" y="109"/>
                  <a:pt x="939" y="102"/>
                </a:cubicBezTo>
                <a:cubicBezTo>
                  <a:pt x="931" y="92"/>
                  <a:pt x="920" y="86"/>
                  <a:pt x="907" y="86"/>
                </a:cubicBezTo>
                <a:cubicBezTo>
                  <a:pt x="895" y="86"/>
                  <a:pt x="885" y="90"/>
                  <a:pt x="877" y="99"/>
                </a:cubicBezTo>
                <a:cubicBezTo>
                  <a:pt x="869" y="108"/>
                  <a:pt x="864" y="119"/>
                  <a:pt x="863" y="133"/>
                </a:cubicBezTo>
                <a:close/>
                <a:moveTo>
                  <a:pt x="975" y="235"/>
                </a:moveTo>
                <a:lnTo>
                  <a:pt x="1037" y="0"/>
                </a:lnTo>
                <a:lnTo>
                  <a:pt x="1058" y="0"/>
                </a:lnTo>
                <a:lnTo>
                  <a:pt x="996" y="235"/>
                </a:lnTo>
                <a:lnTo>
                  <a:pt x="975" y="23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46" name="Group 445">
            <a:extLst>
              <a:ext uri="{FF2B5EF4-FFF2-40B4-BE49-F238E27FC236}">
                <a16:creationId xmlns:a16="http://schemas.microsoft.com/office/drawing/2014/main" id="{575FFE91-F2F3-46E4-AD16-AD8E776DFE66}"/>
              </a:ext>
            </a:extLst>
          </p:cNvPr>
          <p:cNvGrpSpPr/>
          <p:nvPr/>
        </p:nvGrpSpPr>
        <p:grpSpPr>
          <a:xfrm>
            <a:off x="409576" y="4452938"/>
            <a:ext cx="577850" cy="577851"/>
            <a:chOff x="409576" y="4452938"/>
            <a:chExt cx="577850" cy="577851"/>
          </a:xfrm>
          <a:solidFill>
            <a:schemeClr val="accent1"/>
          </a:solidFill>
        </p:grpSpPr>
        <p:sp>
          <p:nvSpPr>
            <p:cNvPr id="263" name="Freeform 103">
              <a:extLst>
                <a:ext uri="{FF2B5EF4-FFF2-40B4-BE49-F238E27FC236}">
                  <a16:creationId xmlns:a16="http://schemas.microsoft.com/office/drawing/2014/main" id="{1769202B-2996-43A6-9B96-1E40F651C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301" y="4684713"/>
              <a:ext cx="174625" cy="144463"/>
            </a:xfrm>
            <a:custGeom>
              <a:avLst/>
              <a:gdLst>
                <a:gd name="T0" fmla="*/ 0 w 485"/>
                <a:gd name="T1" fmla="*/ 314 h 401"/>
                <a:gd name="T2" fmla="*/ 405 w 485"/>
                <a:gd name="T3" fmla="*/ 0 h 401"/>
                <a:gd name="T4" fmla="*/ 485 w 485"/>
                <a:gd name="T5" fmla="*/ 0 h 401"/>
                <a:gd name="T6" fmla="*/ 485 w 485"/>
                <a:gd name="T7" fmla="*/ 160 h 401"/>
                <a:gd name="T8" fmla="*/ 165 w 485"/>
                <a:gd name="T9" fmla="*/ 401 h 401"/>
                <a:gd name="T10" fmla="*/ 4 w 485"/>
                <a:gd name="T11" fmla="*/ 401 h 401"/>
                <a:gd name="T12" fmla="*/ 0 w 485"/>
                <a:gd name="T13" fmla="*/ 314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5" h="401">
                  <a:moveTo>
                    <a:pt x="0" y="314"/>
                  </a:moveTo>
                  <a:lnTo>
                    <a:pt x="405" y="0"/>
                  </a:lnTo>
                  <a:lnTo>
                    <a:pt x="485" y="0"/>
                  </a:lnTo>
                  <a:lnTo>
                    <a:pt x="485" y="160"/>
                  </a:lnTo>
                  <a:lnTo>
                    <a:pt x="165" y="401"/>
                  </a:lnTo>
                  <a:lnTo>
                    <a:pt x="4" y="401"/>
                  </a:lnTo>
                  <a:lnTo>
                    <a:pt x="0" y="3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64" name="Freeform 104">
              <a:extLst>
                <a:ext uri="{FF2B5EF4-FFF2-40B4-BE49-F238E27FC236}">
                  <a16:creationId xmlns:a16="http://schemas.microsoft.com/office/drawing/2014/main" id="{17B1101D-C135-4C4B-8D22-3255EC072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76" y="4886326"/>
              <a:ext cx="173038" cy="144463"/>
            </a:xfrm>
            <a:custGeom>
              <a:avLst/>
              <a:gdLst>
                <a:gd name="T0" fmla="*/ 0 w 481"/>
                <a:gd name="T1" fmla="*/ 311 h 401"/>
                <a:gd name="T2" fmla="*/ 401 w 481"/>
                <a:gd name="T3" fmla="*/ 0 h 401"/>
                <a:gd name="T4" fmla="*/ 481 w 481"/>
                <a:gd name="T5" fmla="*/ 0 h 401"/>
                <a:gd name="T6" fmla="*/ 481 w 481"/>
                <a:gd name="T7" fmla="*/ 161 h 401"/>
                <a:gd name="T8" fmla="*/ 161 w 481"/>
                <a:gd name="T9" fmla="*/ 401 h 401"/>
                <a:gd name="T10" fmla="*/ 0 w 481"/>
                <a:gd name="T11" fmla="*/ 401 h 401"/>
                <a:gd name="T12" fmla="*/ 0 w 481"/>
                <a:gd name="T13" fmla="*/ 311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1" h="401">
                  <a:moveTo>
                    <a:pt x="0" y="311"/>
                  </a:moveTo>
                  <a:lnTo>
                    <a:pt x="401" y="0"/>
                  </a:lnTo>
                  <a:lnTo>
                    <a:pt x="481" y="0"/>
                  </a:lnTo>
                  <a:lnTo>
                    <a:pt x="481" y="161"/>
                  </a:lnTo>
                  <a:lnTo>
                    <a:pt x="161" y="401"/>
                  </a:lnTo>
                  <a:lnTo>
                    <a:pt x="0" y="401"/>
                  </a:lnTo>
                  <a:lnTo>
                    <a:pt x="0" y="3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65" name="Freeform 105">
              <a:extLst>
                <a:ext uri="{FF2B5EF4-FFF2-40B4-BE49-F238E27FC236}">
                  <a16:creationId xmlns:a16="http://schemas.microsoft.com/office/drawing/2014/main" id="{AAAA1A8C-D5A2-4939-87F8-A33A85980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576" y="4452938"/>
              <a:ext cx="346075" cy="376238"/>
            </a:xfrm>
            <a:custGeom>
              <a:avLst/>
              <a:gdLst>
                <a:gd name="T0" fmla="*/ 0 w 962"/>
                <a:gd name="T1" fmla="*/ 0 h 1042"/>
                <a:gd name="T2" fmla="*/ 962 w 962"/>
                <a:gd name="T3" fmla="*/ 0 h 1042"/>
                <a:gd name="T4" fmla="*/ 962 w 962"/>
                <a:gd name="T5" fmla="*/ 561 h 1042"/>
                <a:gd name="T6" fmla="*/ 802 w 962"/>
                <a:gd name="T7" fmla="*/ 561 h 1042"/>
                <a:gd name="T8" fmla="*/ 802 w 962"/>
                <a:gd name="T9" fmla="*/ 160 h 1042"/>
                <a:gd name="T10" fmla="*/ 158 w 962"/>
                <a:gd name="T11" fmla="*/ 160 h 1042"/>
                <a:gd name="T12" fmla="*/ 158 w 962"/>
                <a:gd name="T13" fmla="*/ 641 h 1042"/>
                <a:gd name="T14" fmla="*/ 401 w 962"/>
                <a:gd name="T15" fmla="*/ 641 h 1042"/>
                <a:gd name="T16" fmla="*/ 401 w 962"/>
                <a:gd name="T17" fmla="*/ 1042 h 1042"/>
                <a:gd name="T18" fmla="*/ 241 w 962"/>
                <a:gd name="T19" fmla="*/ 1042 h 1042"/>
                <a:gd name="T20" fmla="*/ 241 w 962"/>
                <a:gd name="T21" fmla="*/ 801 h 1042"/>
                <a:gd name="T22" fmla="*/ 1 w 962"/>
                <a:gd name="T23" fmla="*/ 801 h 1042"/>
                <a:gd name="T24" fmla="*/ 0 w 962"/>
                <a:gd name="T25" fmla="*/ 0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2" h="1042">
                  <a:moveTo>
                    <a:pt x="0" y="0"/>
                  </a:moveTo>
                  <a:lnTo>
                    <a:pt x="962" y="0"/>
                  </a:lnTo>
                  <a:lnTo>
                    <a:pt x="962" y="561"/>
                  </a:lnTo>
                  <a:lnTo>
                    <a:pt x="802" y="561"/>
                  </a:lnTo>
                  <a:lnTo>
                    <a:pt x="802" y="160"/>
                  </a:lnTo>
                  <a:lnTo>
                    <a:pt x="158" y="160"/>
                  </a:lnTo>
                  <a:lnTo>
                    <a:pt x="158" y="641"/>
                  </a:lnTo>
                  <a:lnTo>
                    <a:pt x="401" y="641"/>
                  </a:lnTo>
                  <a:lnTo>
                    <a:pt x="401" y="1042"/>
                  </a:lnTo>
                  <a:lnTo>
                    <a:pt x="241" y="1042"/>
                  </a:lnTo>
                  <a:lnTo>
                    <a:pt x="241" y="801"/>
                  </a:lnTo>
                  <a:lnTo>
                    <a:pt x="1" y="80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66" name="Freeform 106">
              <a:extLst>
                <a:ext uri="{FF2B5EF4-FFF2-40B4-BE49-F238E27FC236}">
                  <a16:creationId xmlns:a16="http://schemas.microsoft.com/office/drawing/2014/main" id="{14AD6D17-5434-47EC-9563-6E82CE47C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351" y="4656138"/>
              <a:ext cx="346075" cy="374650"/>
            </a:xfrm>
            <a:custGeom>
              <a:avLst/>
              <a:gdLst>
                <a:gd name="T0" fmla="*/ 0 w 962"/>
                <a:gd name="T1" fmla="*/ 0 h 1042"/>
                <a:gd name="T2" fmla="*/ 962 w 962"/>
                <a:gd name="T3" fmla="*/ 0 h 1042"/>
                <a:gd name="T4" fmla="*/ 962 w 962"/>
                <a:gd name="T5" fmla="*/ 802 h 1042"/>
                <a:gd name="T6" fmla="*/ 640 w 962"/>
                <a:gd name="T7" fmla="*/ 803 h 1042"/>
                <a:gd name="T8" fmla="*/ 641 w 962"/>
                <a:gd name="T9" fmla="*/ 641 h 1042"/>
                <a:gd name="T10" fmla="*/ 800 w 962"/>
                <a:gd name="T11" fmla="*/ 641 h 1042"/>
                <a:gd name="T12" fmla="*/ 802 w 962"/>
                <a:gd name="T13" fmla="*/ 160 h 1042"/>
                <a:gd name="T14" fmla="*/ 157 w 962"/>
                <a:gd name="T15" fmla="*/ 160 h 1042"/>
                <a:gd name="T16" fmla="*/ 157 w 962"/>
                <a:gd name="T17" fmla="*/ 641 h 1042"/>
                <a:gd name="T18" fmla="*/ 401 w 962"/>
                <a:gd name="T19" fmla="*/ 641 h 1042"/>
                <a:gd name="T20" fmla="*/ 401 w 962"/>
                <a:gd name="T21" fmla="*/ 1042 h 1042"/>
                <a:gd name="T22" fmla="*/ 240 w 962"/>
                <a:gd name="T23" fmla="*/ 1042 h 1042"/>
                <a:gd name="T24" fmla="*/ 240 w 962"/>
                <a:gd name="T25" fmla="*/ 802 h 1042"/>
                <a:gd name="T26" fmla="*/ 0 w 962"/>
                <a:gd name="T27" fmla="*/ 802 h 1042"/>
                <a:gd name="T28" fmla="*/ 0 w 962"/>
                <a:gd name="T29" fmla="*/ 0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2" h="1042">
                  <a:moveTo>
                    <a:pt x="0" y="0"/>
                  </a:moveTo>
                  <a:lnTo>
                    <a:pt x="962" y="0"/>
                  </a:lnTo>
                  <a:lnTo>
                    <a:pt x="962" y="802"/>
                  </a:lnTo>
                  <a:lnTo>
                    <a:pt x="640" y="803"/>
                  </a:lnTo>
                  <a:lnTo>
                    <a:pt x="641" y="641"/>
                  </a:lnTo>
                  <a:lnTo>
                    <a:pt x="800" y="641"/>
                  </a:lnTo>
                  <a:lnTo>
                    <a:pt x="802" y="160"/>
                  </a:lnTo>
                  <a:lnTo>
                    <a:pt x="157" y="160"/>
                  </a:lnTo>
                  <a:lnTo>
                    <a:pt x="157" y="641"/>
                  </a:lnTo>
                  <a:lnTo>
                    <a:pt x="401" y="641"/>
                  </a:lnTo>
                  <a:lnTo>
                    <a:pt x="401" y="1042"/>
                  </a:lnTo>
                  <a:lnTo>
                    <a:pt x="240" y="1042"/>
                  </a:lnTo>
                  <a:lnTo>
                    <a:pt x="240" y="802"/>
                  </a:lnTo>
                  <a:lnTo>
                    <a:pt x="0" y="80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3" name="Group 422">
            <a:extLst>
              <a:ext uri="{FF2B5EF4-FFF2-40B4-BE49-F238E27FC236}">
                <a16:creationId xmlns:a16="http://schemas.microsoft.com/office/drawing/2014/main" id="{62BDA473-8979-44C6-91BE-4C98D1AFB81E}"/>
              </a:ext>
            </a:extLst>
          </p:cNvPr>
          <p:cNvGrpSpPr/>
          <p:nvPr/>
        </p:nvGrpSpPr>
        <p:grpSpPr>
          <a:xfrm>
            <a:off x="6523038" y="5470526"/>
            <a:ext cx="563563" cy="577850"/>
            <a:chOff x="6523038" y="5470526"/>
            <a:chExt cx="563563" cy="577850"/>
          </a:xfrm>
          <a:solidFill>
            <a:schemeClr val="accent1"/>
          </a:solidFill>
        </p:grpSpPr>
        <p:sp>
          <p:nvSpPr>
            <p:cNvPr id="267" name="Rectangle 107">
              <a:extLst>
                <a:ext uri="{FF2B5EF4-FFF2-40B4-BE49-F238E27FC236}">
                  <a16:creationId xmlns:a16="http://schemas.microsoft.com/office/drawing/2014/main" id="{E3C290E6-225E-410A-924A-664C2D1D1D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9451" y="5470526"/>
              <a:ext cx="57150" cy="5778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68" name="Freeform 108">
              <a:extLst>
                <a:ext uri="{FF2B5EF4-FFF2-40B4-BE49-F238E27FC236}">
                  <a16:creationId xmlns:a16="http://schemas.microsoft.com/office/drawing/2014/main" id="{50DCC264-6868-469C-8941-B18F2B5C7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2276" y="5484813"/>
              <a:ext cx="252413" cy="563563"/>
            </a:xfrm>
            <a:custGeom>
              <a:avLst/>
              <a:gdLst>
                <a:gd name="T0" fmla="*/ 150 w 699"/>
                <a:gd name="T1" fmla="*/ 1562 h 1562"/>
                <a:gd name="T2" fmla="*/ 0 w 699"/>
                <a:gd name="T3" fmla="*/ 1507 h 1562"/>
                <a:gd name="T4" fmla="*/ 548 w 699"/>
                <a:gd name="T5" fmla="*/ 0 h 1562"/>
                <a:gd name="T6" fmla="*/ 699 w 699"/>
                <a:gd name="T7" fmla="*/ 55 h 1562"/>
                <a:gd name="T8" fmla="*/ 150 w 699"/>
                <a:gd name="T9" fmla="*/ 1562 h 1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9" h="1562">
                  <a:moveTo>
                    <a:pt x="150" y="1562"/>
                  </a:moveTo>
                  <a:lnTo>
                    <a:pt x="0" y="1507"/>
                  </a:lnTo>
                  <a:lnTo>
                    <a:pt x="548" y="0"/>
                  </a:lnTo>
                  <a:lnTo>
                    <a:pt x="699" y="55"/>
                  </a:lnTo>
                  <a:lnTo>
                    <a:pt x="150" y="15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69" name="Freeform 109">
              <a:extLst>
                <a:ext uri="{FF2B5EF4-FFF2-40B4-BE49-F238E27FC236}">
                  <a16:creationId xmlns:a16="http://schemas.microsoft.com/office/drawing/2014/main" id="{A3687543-5ADF-43E8-B18D-F3D1485D4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3038" y="5557838"/>
              <a:ext cx="400050" cy="490538"/>
            </a:xfrm>
            <a:custGeom>
              <a:avLst/>
              <a:gdLst>
                <a:gd name="T0" fmla="*/ 126 w 1113"/>
                <a:gd name="T1" fmla="*/ 1362 h 1362"/>
                <a:gd name="T2" fmla="*/ 0 w 1113"/>
                <a:gd name="T3" fmla="*/ 1263 h 1362"/>
                <a:gd name="T4" fmla="*/ 987 w 1113"/>
                <a:gd name="T5" fmla="*/ 0 h 1362"/>
                <a:gd name="T6" fmla="*/ 1113 w 1113"/>
                <a:gd name="T7" fmla="*/ 98 h 1362"/>
                <a:gd name="T8" fmla="*/ 126 w 1113"/>
                <a:gd name="T9" fmla="*/ 1362 h 1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3" h="1362">
                  <a:moveTo>
                    <a:pt x="126" y="1362"/>
                  </a:moveTo>
                  <a:lnTo>
                    <a:pt x="0" y="1263"/>
                  </a:lnTo>
                  <a:lnTo>
                    <a:pt x="987" y="0"/>
                  </a:lnTo>
                  <a:lnTo>
                    <a:pt x="1113" y="98"/>
                  </a:lnTo>
                  <a:lnTo>
                    <a:pt x="126" y="13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0" name="Freeform 110">
              <a:extLst>
                <a:ext uri="{FF2B5EF4-FFF2-40B4-BE49-F238E27FC236}">
                  <a16:creationId xmlns:a16="http://schemas.microsoft.com/office/drawing/2014/main" id="{92E27701-0527-40A6-8F15-6504D9647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3038" y="5967413"/>
              <a:ext cx="80963" cy="80963"/>
            </a:xfrm>
            <a:custGeom>
              <a:avLst/>
              <a:gdLst>
                <a:gd name="T0" fmla="*/ 225 w 225"/>
                <a:gd name="T1" fmla="*/ 99 h 225"/>
                <a:gd name="T2" fmla="*/ 98 w 225"/>
                <a:gd name="T3" fmla="*/ 0 h 225"/>
                <a:gd name="T4" fmla="*/ 0 w 225"/>
                <a:gd name="T5" fmla="*/ 126 h 225"/>
                <a:gd name="T6" fmla="*/ 126 w 225"/>
                <a:gd name="T7" fmla="*/ 225 h 225"/>
                <a:gd name="T8" fmla="*/ 225 w 225"/>
                <a:gd name="T9" fmla="*/ 9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5" h="225">
                  <a:moveTo>
                    <a:pt x="225" y="99"/>
                  </a:moveTo>
                  <a:lnTo>
                    <a:pt x="98" y="0"/>
                  </a:lnTo>
                  <a:lnTo>
                    <a:pt x="0" y="126"/>
                  </a:lnTo>
                  <a:lnTo>
                    <a:pt x="126" y="225"/>
                  </a:lnTo>
                  <a:lnTo>
                    <a:pt x="225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18" name="Group 417">
            <a:extLst>
              <a:ext uri="{FF2B5EF4-FFF2-40B4-BE49-F238E27FC236}">
                <a16:creationId xmlns:a16="http://schemas.microsoft.com/office/drawing/2014/main" id="{BE012488-1917-45AE-AFB4-B047A6FC07E6}"/>
              </a:ext>
            </a:extLst>
          </p:cNvPr>
          <p:cNvGrpSpPr/>
          <p:nvPr/>
        </p:nvGrpSpPr>
        <p:grpSpPr>
          <a:xfrm>
            <a:off x="7272338" y="5470526"/>
            <a:ext cx="577850" cy="577850"/>
            <a:chOff x="7272338" y="5470526"/>
            <a:chExt cx="577850" cy="577850"/>
          </a:xfrm>
          <a:solidFill>
            <a:schemeClr val="accent1"/>
          </a:solidFill>
        </p:grpSpPr>
        <p:sp>
          <p:nvSpPr>
            <p:cNvPr id="271" name="Rectangle 111">
              <a:extLst>
                <a:ext uri="{FF2B5EF4-FFF2-40B4-BE49-F238E27FC236}">
                  <a16:creationId xmlns:a16="http://schemas.microsoft.com/office/drawing/2014/main" id="{23C6C695-6C22-4EDE-BC93-42909530B2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9488" y="5470526"/>
              <a:ext cx="52070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2" name="Rectangle 112">
              <a:extLst>
                <a:ext uri="{FF2B5EF4-FFF2-40B4-BE49-F238E27FC236}">
                  <a16:creationId xmlns:a16="http://schemas.microsoft.com/office/drawing/2014/main" id="{59543B48-2350-418B-947D-58B22D9A24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72338" y="5989638"/>
              <a:ext cx="519113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3" name="Freeform 113">
              <a:extLst>
                <a:ext uri="{FF2B5EF4-FFF2-40B4-BE49-F238E27FC236}">
                  <a16:creationId xmlns:a16="http://schemas.microsoft.com/office/drawing/2014/main" id="{70F9738D-17EC-445D-92C0-09BD0DE03F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2338" y="5470526"/>
              <a:ext cx="577850" cy="577850"/>
            </a:xfrm>
            <a:custGeom>
              <a:avLst/>
              <a:gdLst>
                <a:gd name="T0" fmla="*/ 1443 w 1603"/>
                <a:gd name="T1" fmla="*/ 962 h 1604"/>
                <a:gd name="T2" fmla="*/ 160 w 1603"/>
                <a:gd name="T3" fmla="*/ 962 h 1604"/>
                <a:gd name="T4" fmla="*/ 160 w 1603"/>
                <a:gd name="T5" fmla="*/ 642 h 1604"/>
                <a:gd name="T6" fmla="*/ 1443 w 1603"/>
                <a:gd name="T7" fmla="*/ 642 h 1604"/>
                <a:gd name="T8" fmla="*/ 1443 w 1603"/>
                <a:gd name="T9" fmla="*/ 962 h 1604"/>
                <a:gd name="T10" fmla="*/ 160 w 1603"/>
                <a:gd name="T11" fmla="*/ 481 h 1604"/>
                <a:gd name="T12" fmla="*/ 160 w 1603"/>
                <a:gd name="T13" fmla="*/ 0 h 1604"/>
                <a:gd name="T14" fmla="*/ 0 w 1603"/>
                <a:gd name="T15" fmla="*/ 161 h 1604"/>
                <a:gd name="T16" fmla="*/ 0 w 1603"/>
                <a:gd name="T17" fmla="*/ 1123 h 1604"/>
                <a:gd name="T18" fmla="*/ 1443 w 1603"/>
                <a:gd name="T19" fmla="*/ 1123 h 1604"/>
                <a:gd name="T20" fmla="*/ 1443 w 1603"/>
                <a:gd name="T21" fmla="*/ 1604 h 1604"/>
                <a:gd name="T22" fmla="*/ 1603 w 1603"/>
                <a:gd name="T23" fmla="*/ 1443 h 1604"/>
                <a:gd name="T24" fmla="*/ 1603 w 1603"/>
                <a:gd name="T25" fmla="*/ 481 h 1604"/>
                <a:gd name="T26" fmla="*/ 160 w 1603"/>
                <a:gd name="T27" fmla="*/ 481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03" h="1604">
                  <a:moveTo>
                    <a:pt x="1443" y="962"/>
                  </a:moveTo>
                  <a:lnTo>
                    <a:pt x="160" y="962"/>
                  </a:lnTo>
                  <a:lnTo>
                    <a:pt x="160" y="642"/>
                  </a:lnTo>
                  <a:lnTo>
                    <a:pt x="1443" y="642"/>
                  </a:lnTo>
                  <a:lnTo>
                    <a:pt x="1443" y="962"/>
                  </a:lnTo>
                  <a:close/>
                  <a:moveTo>
                    <a:pt x="160" y="481"/>
                  </a:moveTo>
                  <a:lnTo>
                    <a:pt x="160" y="0"/>
                  </a:lnTo>
                  <a:lnTo>
                    <a:pt x="0" y="161"/>
                  </a:lnTo>
                  <a:lnTo>
                    <a:pt x="0" y="1123"/>
                  </a:lnTo>
                  <a:lnTo>
                    <a:pt x="1443" y="1123"/>
                  </a:lnTo>
                  <a:lnTo>
                    <a:pt x="1443" y="1604"/>
                  </a:lnTo>
                  <a:lnTo>
                    <a:pt x="1603" y="1443"/>
                  </a:lnTo>
                  <a:lnTo>
                    <a:pt x="1603" y="481"/>
                  </a:lnTo>
                  <a:lnTo>
                    <a:pt x="160" y="4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4" name="Oval 114">
              <a:extLst>
                <a:ext uri="{FF2B5EF4-FFF2-40B4-BE49-F238E27FC236}">
                  <a16:creationId xmlns:a16="http://schemas.microsoft.com/office/drawing/2014/main" id="{ECF596B9-6D09-4852-A0FF-2CE4276C4D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8063" y="5557838"/>
              <a:ext cx="58738" cy="571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5" name="Oval 115">
              <a:extLst>
                <a:ext uri="{FF2B5EF4-FFF2-40B4-BE49-F238E27FC236}">
                  <a16:creationId xmlns:a16="http://schemas.microsoft.com/office/drawing/2014/main" id="{D48FF43F-B391-4F26-9058-3EEAD7B974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8063" y="5730876"/>
              <a:ext cx="58738" cy="571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6" name="Oval 116">
              <a:extLst>
                <a:ext uri="{FF2B5EF4-FFF2-40B4-BE49-F238E27FC236}">
                  <a16:creationId xmlns:a16="http://schemas.microsoft.com/office/drawing/2014/main" id="{534C5314-1005-474A-B218-814917AD85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8063" y="5903913"/>
              <a:ext cx="58738" cy="571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7" name="Rectangle 117">
              <a:extLst>
                <a:ext uri="{FF2B5EF4-FFF2-40B4-BE49-F238E27FC236}">
                  <a16:creationId xmlns:a16="http://schemas.microsoft.com/office/drawing/2014/main" id="{9820BF28-5DDC-417A-9AC6-57EC6B4B9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9488" y="5470526"/>
              <a:ext cx="87313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8" name="Rectangle 118">
              <a:extLst>
                <a:ext uri="{FF2B5EF4-FFF2-40B4-BE49-F238E27FC236}">
                  <a16:creationId xmlns:a16="http://schemas.microsoft.com/office/drawing/2014/main" id="{BD3C5C91-351F-4A7B-8FF2-64EC91D38B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05726" y="5989638"/>
              <a:ext cx="85725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09" name="Group 408">
            <a:extLst>
              <a:ext uri="{FF2B5EF4-FFF2-40B4-BE49-F238E27FC236}">
                <a16:creationId xmlns:a16="http://schemas.microsoft.com/office/drawing/2014/main" id="{A19ABE19-D4C8-40A5-9C7D-250E0BC9E846}"/>
              </a:ext>
            </a:extLst>
          </p:cNvPr>
          <p:cNvGrpSpPr/>
          <p:nvPr/>
        </p:nvGrpSpPr>
        <p:grpSpPr>
          <a:xfrm>
            <a:off x="9559926" y="5470526"/>
            <a:ext cx="576263" cy="577850"/>
            <a:chOff x="9559926" y="5470526"/>
            <a:chExt cx="576263" cy="577850"/>
          </a:xfrm>
          <a:solidFill>
            <a:schemeClr val="accent1"/>
          </a:solidFill>
        </p:grpSpPr>
        <p:sp>
          <p:nvSpPr>
            <p:cNvPr id="279" name="Freeform 119">
              <a:extLst>
                <a:ext uri="{FF2B5EF4-FFF2-40B4-BE49-F238E27FC236}">
                  <a16:creationId xmlns:a16="http://schemas.microsoft.com/office/drawing/2014/main" id="{027B8914-E619-4AEC-AC31-E2CFA9AE2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59926" y="5470526"/>
              <a:ext cx="576263" cy="404813"/>
            </a:xfrm>
            <a:custGeom>
              <a:avLst/>
              <a:gdLst>
                <a:gd name="T0" fmla="*/ 160 w 1603"/>
                <a:gd name="T1" fmla="*/ 161 h 1123"/>
                <a:gd name="T2" fmla="*/ 320 w 1603"/>
                <a:gd name="T3" fmla="*/ 0 h 1123"/>
                <a:gd name="T4" fmla="*/ 1443 w 1603"/>
                <a:gd name="T5" fmla="*/ 0 h 1123"/>
                <a:gd name="T6" fmla="*/ 1603 w 1603"/>
                <a:gd name="T7" fmla="*/ 161 h 1123"/>
                <a:gd name="T8" fmla="*/ 1603 w 1603"/>
                <a:gd name="T9" fmla="*/ 962 h 1123"/>
                <a:gd name="T10" fmla="*/ 1443 w 1603"/>
                <a:gd name="T11" fmla="*/ 1123 h 1123"/>
                <a:gd name="T12" fmla="*/ 0 w 1603"/>
                <a:gd name="T13" fmla="*/ 1123 h 1123"/>
                <a:gd name="T14" fmla="*/ 0 w 1603"/>
                <a:gd name="T15" fmla="*/ 321 h 1123"/>
                <a:gd name="T16" fmla="*/ 160 w 1603"/>
                <a:gd name="T17" fmla="*/ 321 h 1123"/>
                <a:gd name="T18" fmla="*/ 160 w 1603"/>
                <a:gd name="T19" fmla="*/ 962 h 1123"/>
                <a:gd name="T20" fmla="*/ 1443 w 1603"/>
                <a:gd name="T21" fmla="*/ 962 h 1123"/>
                <a:gd name="T22" fmla="*/ 1443 w 1603"/>
                <a:gd name="T23" fmla="*/ 161 h 1123"/>
                <a:gd name="T24" fmla="*/ 160 w 1603"/>
                <a:gd name="T25" fmla="*/ 161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3" h="1123">
                  <a:moveTo>
                    <a:pt x="160" y="161"/>
                  </a:moveTo>
                  <a:lnTo>
                    <a:pt x="320" y="0"/>
                  </a:lnTo>
                  <a:lnTo>
                    <a:pt x="1443" y="0"/>
                  </a:lnTo>
                  <a:lnTo>
                    <a:pt x="1603" y="161"/>
                  </a:lnTo>
                  <a:lnTo>
                    <a:pt x="1603" y="962"/>
                  </a:lnTo>
                  <a:lnTo>
                    <a:pt x="1443" y="1123"/>
                  </a:lnTo>
                  <a:lnTo>
                    <a:pt x="0" y="1123"/>
                  </a:lnTo>
                  <a:lnTo>
                    <a:pt x="0" y="321"/>
                  </a:lnTo>
                  <a:lnTo>
                    <a:pt x="160" y="321"/>
                  </a:lnTo>
                  <a:lnTo>
                    <a:pt x="160" y="962"/>
                  </a:lnTo>
                  <a:lnTo>
                    <a:pt x="1443" y="962"/>
                  </a:lnTo>
                  <a:lnTo>
                    <a:pt x="1443" y="161"/>
                  </a:lnTo>
                  <a:lnTo>
                    <a:pt x="160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0" name="Rectangle 120">
              <a:extLst>
                <a:ext uri="{FF2B5EF4-FFF2-40B4-BE49-F238E27FC236}">
                  <a16:creationId xmlns:a16="http://schemas.microsoft.com/office/drawing/2014/main" id="{8659CBA9-1E6F-4811-92EB-B347170DC6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18688" y="5557838"/>
              <a:ext cx="26035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1" name="Rectangle 121">
              <a:extLst>
                <a:ext uri="{FF2B5EF4-FFF2-40B4-BE49-F238E27FC236}">
                  <a16:creationId xmlns:a16="http://schemas.microsoft.com/office/drawing/2014/main" id="{AB7390EF-9257-434B-B72F-3A37A61E9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18688" y="5643563"/>
              <a:ext cx="260350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2" name="Rectangle 122">
              <a:extLst>
                <a:ext uri="{FF2B5EF4-FFF2-40B4-BE49-F238E27FC236}">
                  <a16:creationId xmlns:a16="http://schemas.microsoft.com/office/drawing/2014/main" id="{D558D233-D040-4E81-A1F1-657340EAAF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17076" y="5730876"/>
              <a:ext cx="461963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3" name="Freeform 123">
              <a:extLst>
                <a:ext uri="{FF2B5EF4-FFF2-40B4-BE49-F238E27FC236}">
                  <a16:creationId xmlns:a16="http://schemas.microsoft.com/office/drawing/2014/main" id="{BCBF1768-B9B6-4E14-8799-A84760D391F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5651" y="5557838"/>
              <a:ext cx="144463" cy="144463"/>
            </a:xfrm>
            <a:custGeom>
              <a:avLst/>
              <a:gdLst>
                <a:gd name="T0" fmla="*/ 201 w 401"/>
                <a:gd name="T1" fmla="*/ 0 h 401"/>
                <a:gd name="T2" fmla="*/ 248 w 401"/>
                <a:gd name="T3" fmla="*/ 153 h 401"/>
                <a:gd name="T4" fmla="*/ 401 w 401"/>
                <a:gd name="T5" fmla="*/ 153 h 401"/>
                <a:gd name="T6" fmla="*/ 277 w 401"/>
                <a:gd name="T7" fmla="*/ 247 h 401"/>
                <a:gd name="T8" fmla="*/ 325 w 401"/>
                <a:gd name="T9" fmla="*/ 401 h 401"/>
                <a:gd name="T10" fmla="*/ 201 w 401"/>
                <a:gd name="T11" fmla="*/ 306 h 401"/>
                <a:gd name="T12" fmla="*/ 77 w 401"/>
                <a:gd name="T13" fmla="*/ 401 h 401"/>
                <a:gd name="T14" fmla="*/ 124 w 401"/>
                <a:gd name="T15" fmla="*/ 247 h 401"/>
                <a:gd name="T16" fmla="*/ 0 w 401"/>
                <a:gd name="T17" fmla="*/ 153 h 401"/>
                <a:gd name="T18" fmla="*/ 153 w 401"/>
                <a:gd name="T19" fmla="*/ 153 h 401"/>
                <a:gd name="T20" fmla="*/ 201 w 401"/>
                <a:gd name="T21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1" h="401">
                  <a:moveTo>
                    <a:pt x="201" y="0"/>
                  </a:moveTo>
                  <a:lnTo>
                    <a:pt x="248" y="153"/>
                  </a:lnTo>
                  <a:lnTo>
                    <a:pt x="401" y="153"/>
                  </a:lnTo>
                  <a:lnTo>
                    <a:pt x="277" y="247"/>
                  </a:lnTo>
                  <a:lnTo>
                    <a:pt x="325" y="401"/>
                  </a:lnTo>
                  <a:lnTo>
                    <a:pt x="201" y="306"/>
                  </a:lnTo>
                  <a:lnTo>
                    <a:pt x="77" y="401"/>
                  </a:lnTo>
                  <a:lnTo>
                    <a:pt x="124" y="247"/>
                  </a:lnTo>
                  <a:lnTo>
                    <a:pt x="0" y="153"/>
                  </a:lnTo>
                  <a:lnTo>
                    <a:pt x="153" y="153"/>
                  </a:lnTo>
                  <a:lnTo>
                    <a:pt x="20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4" name="Rectangle 124">
              <a:extLst>
                <a:ext uri="{FF2B5EF4-FFF2-40B4-BE49-F238E27FC236}">
                  <a16:creationId xmlns:a16="http://schemas.microsoft.com/office/drawing/2014/main" id="{74D405AC-7795-4706-A173-87319FBE8C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59926" y="5875338"/>
              <a:ext cx="57150" cy="857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5" name="Rectangle 125">
              <a:extLst>
                <a:ext uri="{FF2B5EF4-FFF2-40B4-BE49-F238E27FC236}">
                  <a16:creationId xmlns:a16="http://schemas.microsoft.com/office/drawing/2014/main" id="{AB89B2D7-C9A8-48BD-A8BC-E4FE5B17A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59926" y="5961063"/>
              <a:ext cx="57150" cy="873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15" name="Group 414">
            <a:extLst>
              <a:ext uri="{FF2B5EF4-FFF2-40B4-BE49-F238E27FC236}">
                <a16:creationId xmlns:a16="http://schemas.microsoft.com/office/drawing/2014/main" id="{CA622FDE-37D8-4152-882B-627A3F6BCCA4}"/>
              </a:ext>
            </a:extLst>
          </p:cNvPr>
          <p:cNvGrpSpPr/>
          <p:nvPr/>
        </p:nvGrpSpPr>
        <p:grpSpPr>
          <a:xfrm>
            <a:off x="8134351" y="5470526"/>
            <a:ext cx="347663" cy="577850"/>
            <a:chOff x="8134351" y="5470526"/>
            <a:chExt cx="347663" cy="577850"/>
          </a:xfrm>
          <a:solidFill>
            <a:schemeClr val="accent1"/>
          </a:solidFill>
        </p:grpSpPr>
        <p:sp>
          <p:nvSpPr>
            <p:cNvPr id="286" name="Freeform 126">
              <a:extLst>
                <a:ext uri="{FF2B5EF4-FFF2-40B4-BE49-F238E27FC236}">
                  <a16:creationId xmlns:a16="http://schemas.microsoft.com/office/drawing/2014/main" id="{69406E0B-3186-47EC-8F0D-63D5D49CF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4351" y="5470526"/>
              <a:ext cx="347663" cy="577850"/>
            </a:xfrm>
            <a:custGeom>
              <a:avLst/>
              <a:gdLst>
                <a:gd name="T0" fmla="*/ 481 w 962"/>
                <a:gd name="T1" fmla="*/ 0 h 1604"/>
                <a:gd name="T2" fmla="*/ 898 w 962"/>
                <a:gd name="T3" fmla="*/ 882 h 1604"/>
                <a:gd name="T4" fmla="*/ 962 w 962"/>
                <a:gd name="T5" fmla="*/ 1123 h 1604"/>
                <a:gd name="T6" fmla="*/ 481 w 962"/>
                <a:gd name="T7" fmla="*/ 1604 h 1604"/>
                <a:gd name="T8" fmla="*/ 0 w 962"/>
                <a:gd name="T9" fmla="*/ 1123 h 1604"/>
                <a:gd name="T10" fmla="*/ 65 w 962"/>
                <a:gd name="T11" fmla="*/ 882 h 1604"/>
                <a:gd name="T12" fmla="*/ 321 w 962"/>
                <a:gd name="T13" fmla="*/ 340 h 1604"/>
                <a:gd name="T14" fmla="*/ 321 w 962"/>
                <a:gd name="T15" fmla="*/ 708 h 1604"/>
                <a:gd name="T16" fmla="*/ 204 w 962"/>
                <a:gd name="T17" fmla="*/ 962 h 1604"/>
                <a:gd name="T18" fmla="*/ 161 w 962"/>
                <a:gd name="T19" fmla="*/ 1123 h 1604"/>
                <a:gd name="T20" fmla="*/ 481 w 962"/>
                <a:gd name="T21" fmla="*/ 1443 h 1604"/>
                <a:gd name="T22" fmla="*/ 802 w 962"/>
                <a:gd name="T23" fmla="*/ 1123 h 1604"/>
                <a:gd name="T24" fmla="*/ 759 w 962"/>
                <a:gd name="T25" fmla="*/ 962 h 1604"/>
                <a:gd name="T26" fmla="*/ 481 w 962"/>
                <a:gd name="T27" fmla="*/ 361 h 1604"/>
                <a:gd name="T28" fmla="*/ 481 w 962"/>
                <a:gd name="T29" fmla="*/ 0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2" h="1604">
                  <a:moveTo>
                    <a:pt x="481" y="0"/>
                  </a:moveTo>
                  <a:lnTo>
                    <a:pt x="898" y="882"/>
                  </a:lnTo>
                  <a:cubicBezTo>
                    <a:pt x="939" y="953"/>
                    <a:pt x="962" y="1035"/>
                    <a:pt x="962" y="1123"/>
                  </a:cubicBezTo>
                  <a:cubicBezTo>
                    <a:pt x="962" y="1388"/>
                    <a:pt x="747" y="1604"/>
                    <a:pt x="481" y="1604"/>
                  </a:cubicBezTo>
                  <a:cubicBezTo>
                    <a:pt x="216" y="1604"/>
                    <a:pt x="0" y="1388"/>
                    <a:pt x="0" y="1123"/>
                  </a:cubicBezTo>
                  <a:cubicBezTo>
                    <a:pt x="0" y="1035"/>
                    <a:pt x="24" y="953"/>
                    <a:pt x="65" y="882"/>
                  </a:cubicBezTo>
                  <a:lnTo>
                    <a:pt x="321" y="340"/>
                  </a:lnTo>
                  <a:lnTo>
                    <a:pt x="321" y="708"/>
                  </a:lnTo>
                  <a:lnTo>
                    <a:pt x="204" y="962"/>
                  </a:lnTo>
                  <a:cubicBezTo>
                    <a:pt x="176" y="1009"/>
                    <a:pt x="161" y="1064"/>
                    <a:pt x="161" y="1123"/>
                  </a:cubicBezTo>
                  <a:cubicBezTo>
                    <a:pt x="161" y="1300"/>
                    <a:pt x="304" y="1443"/>
                    <a:pt x="481" y="1443"/>
                  </a:cubicBezTo>
                  <a:cubicBezTo>
                    <a:pt x="659" y="1443"/>
                    <a:pt x="802" y="1300"/>
                    <a:pt x="802" y="1123"/>
                  </a:cubicBezTo>
                  <a:cubicBezTo>
                    <a:pt x="802" y="1064"/>
                    <a:pt x="787" y="1009"/>
                    <a:pt x="759" y="962"/>
                  </a:cubicBezTo>
                  <a:lnTo>
                    <a:pt x="481" y="361"/>
                  </a:lnTo>
                  <a:lnTo>
                    <a:pt x="48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7" name="Freeform 127">
              <a:extLst>
                <a:ext uri="{FF2B5EF4-FFF2-40B4-BE49-F238E27FC236}">
                  <a16:creationId xmlns:a16="http://schemas.microsoft.com/office/drawing/2014/main" id="{3140C794-9052-4541-A785-2A692F0371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4351" y="5592763"/>
              <a:ext cx="347663" cy="455613"/>
            </a:xfrm>
            <a:custGeom>
              <a:avLst/>
              <a:gdLst>
                <a:gd name="T0" fmla="*/ 962 w 962"/>
                <a:gd name="T1" fmla="*/ 783 h 1264"/>
                <a:gd name="T2" fmla="*/ 481 w 962"/>
                <a:gd name="T3" fmla="*/ 1264 h 1264"/>
                <a:gd name="T4" fmla="*/ 0 w 962"/>
                <a:gd name="T5" fmla="*/ 783 h 1264"/>
                <a:gd name="T6" fmla="*/ 65 w 962"/>
                <a:gd name="T7" fmla="*/ 542 h 1264"/>
                <a:gd name="T8" fmla="*/ 321 w 962"/>
                <a:gd name="T9" fmla="*/ 0 h 1264"/>
                <a:gd name="T10" fmla="*/ 321 w 962"/>
                <a:gd name="T11" fmla="*/ 368 h 1264"/>
                <a:gd name="T12" fmla="*/ 204 w 962"/>
                <a:gd name="T13" fmla="*/ 622 h 1264"/>
                <a:gd name="T14" fmla="*/ 161 w 962"/>
                <a:gd name="T15" fmla="*/ 783 h 1264"/>
                <a:gd name="T16" fmla="*/ 481 w 962"/>
                <a:gd name="T17" fmla="*/ 1103 h 1264"/>
                <a:gd name="T18" fmla="*/ 962 w 962"/>
                <a:gd name="T19" fmla="*/ 783 h 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2" h="1264">
                  <a:moveTo>
                    <a:pt x="962" y="783"/>
                  </a:moveTo>
                  <a:cubicBezTo>
                    <a:pt x="962" y="1048"/>
                    <a:pt x="747" y="1264"/>
                    <a:pt x="481" y="1264"/>
                  </a:cubicBezTo>
                  <a:cubicBezTo>
                    <a:pt x="216" y="1264"/>
                    <a:pt x="0" y="1048"/>
                    <a:pt x="0" y="783"/>
                  </a:cubicBezTo>
                  <a:cubicBezTo>
                    <a:pt x="0" y="695"/>
                    <a:pt x="24" y="613"/>
                    <a:pt x="65" y="542"/>
                  </a:cubicBezTo>
                  <a:lnTo>
                    <a:pt x="321" y="0"/>
                  </a:lnTo>
                  <a:lnTo>
                    <a:pt x="321" y="368"/>
                  </a:lnTo>
                  <a:lnTo>
                    <a:pt x="204" y="622"/>
                  </a:lnTo>
                  <a:cubicBezTo>
                    <a:pt x="176" y="669"/>
                    <a:pt x="161" y="724"/>
                    <a:pt x="161" y="783"/>
                  </a:cubicBezTo>
                  <a:cubicBezTo>
                    <a:pt x="161" y="960"/>
                    <a:pt x="304" y="1103"/>
                    <a:pt x="481" y="1103"/>
                  </a:cubicBezTo>
                  <a:cubicBezTo>
                    <a:pt x="952" y="1103"/>
                    <a:pt x="962" y="695"/>
                    <a:pt x="962" y="7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1" name="Group 390">
            <a:extLst>
              <a:ext uri="{FF2B5EF4-FFF2-40B4-BE49-F238E27FC236}">
                <a16:creationId xmlns:a16="http://schemas.microsoft.com/office/drawing/2014/main" id="{8C59E96E-7C82-4DFE-B78F-32F49899FD5B}"/>
              </a:ext>
            </a:extLst>
          </p:cNvPr>
          <p:cNvGrpSpPr/>
          <p:nvPr/>
        </p:nvGrpSpPr>
        <p:grpSpPr>
          <a:xfrm>
            <a:off x="409576" y="2478088"/>
            <a:ext cx="577850" cy="490538"/>
            <a:chOff x="409576" y="2478088"/>
            <a:chExt cx="577850" cy="490538"/>
          </a:xfrm>
          <a:solidFill>
            <a:schemeClr val="accent1"/>
          </a:solidFill>
        </p:grpSpPr>
        <p:sp>
          <p:nvSpPr>
            <p:cNvPr id="288" name="Rectangle 128">
              <a:extLst>
                <a:ext uri="{FF2B5EF4-FFF2-40B4-BE49-F238E27FC236}">
                  <a16:creationId xmlns:a16="http://schemas.microsoft.com/office/drawing/2014/main" id="{832829CA-5819-45A9-9C35-E4EF47C9AA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888" y="2911476"/>
              <a:ext cx="2301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9" name="Freeform 129">
              <a:extLst>
                <a:ext uri="{FF2B5EF4-FFF2-40B4-BE49-F238E27FC236}">
                  <a16:creationId xmlns:a16="http://schemas.microsoft.com/office/drawing/2014/main" id="{52508701-820C-4F5C-8679-85EF601B9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926" y="2660651"/>
              <a:ext cx="193675" cy="307975"/>
            </a:xfrm>
            <a:custGeom>
              <a:avLst/>
              <a:gdLst>
                <a:gd name="T0" fmla="*/ 539 w 539"/>
                <a:gd name="T1" fmla="*/ 855 h 855"/>
                <a:gd name="T2" fmla="*/ 447 w 539"/>
                <a:gd name="T3" fmla="*/ 855 h 855"/>
                <a:gd name="T4" fmla="*/ 0 w 539"/>
                <a:gd name="T5" fmla="*/ 80 h 855"/>
                <a:gd name="T6" fmla="*/ 138 w 539"/>
                <a:gd name="T7" fmla="*/ 0 h 855"/>
                <a:gd name="T8" fmla="*/ 539 w 539"/>
                <a:gd name="T9" fmla="*/ 695 h 855"/>
                <a:gd name="T10" fmla="*/ 539 w 539"/>
                <a:gd name="T11" fmla="*/ 855 h 8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9" h="855">
                  <a:moveTo>
                    <a:pt x="539" y="855"/>
                  </a:moveTo>
                  <a:lnTo>
                    <a:pt x="447" y="855"/>
                  </a:lnTo>
                  <a:lnTo>
                    <a:pt x="0" y="80"/>
                  </a:lnTo>
                  <a:lnTo>
                    <a:pt x="138" y="0"/>
                  </a:lnTo>
                  <a:lnTo>
                    <a:pt x="539" y="695"/>
                  </a:lnTo>
                  <a:lnTo>
                    <a:pt x="539" y="8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0" name="Freeform 130">
              <a:extLst>
                <a:ext uri="{FF2B5EF4-FFF2-40B4-BE49-F238E27FC236}">
                  <a16:creationId xmlns:a16="http://schemas.microsoft.com/office/drawing/2014/main" id="{2D570476-3B1F-40FB-89FE-6466489CAE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9576" y="2478088"/>
              <a:ext cx="577850" cy="230188"/>
            </a:xfrm>
            <a:custGeom>
              <a:avLst/>
              <a:gdLst>
                <a:gd name="T0" fmla="*/ 320 w 1603"/>
                <a:gd name="T1" fmla="*/ 481 h 641"/>
                <a:gd name="T2" fmla="*/ 160 w 1603"/>
                <a:gd name="T3" fmla="*/ 321 h 641"/>
                <a:gd name="T4" fmla="*/ 320 w 1603"/>
                <a:gd name="T5" fmla="*/ 160 h 641"/>
                <a:gd name="T6" fmla="*/ 481 w 1603"/>
                <a:gd name="T7" fmla="*/ 321 h 641"/>
                <a:gd name="T8" fmla="*/ 320 w 1603"/>
                <a:gd name="T9" fmla="*/ 481 h 641"/>
                <a:gd name="T10" fmla="*/ 1354 w 1603"/>
                <a:gd name="T11" fmla="*/ 481 h 641"/>
                <a:gd name="T12" fmla="*/ 1193 w 1603"/>
                <a:gd name="T13" fmla="*/ 321 h 641"/>
                <a:gd name="T14" fmla="*/ 1354 w 1603"/>
                <a:gd name="T15" fmla="*/ 160 h 641"/>
                <a:gd name="T16" fmla="*/ 1490 w 1603"/>
                <a:gd name="T17" fmla="*/ 301 h 641"/>
                <a:gd name="T18" fmla="*/ 1603 w 1603"/>
                <a:gd name="T19" fmla="*/ 187 h 641"/>
                <a:gd name="T20" fmla="*/ 1420 w 1603"/>
                <a:gd name="T21" fmla="*/ 0 h 641"/>
                <a:gd name="T22" fmla="*/ 1287 w 1603"/>
                <a:gd name="T23" fmla="*/ 0 h 641"/>
                <a:gd name="T24" fmla="*/ 1046 w 1603"/>
                <a:gd name="T25" fmla="*/ 240 h 641"/>
                <a:gd name="T26" fmla="*/ 631 w 1603"/>
                <a:gd name="T27" fmla="*/ 240 h 641"/>
                <a:gd name="T28" fmla="*/ 320 w 1603"/>
                <a:gd name="T29" fmla="*/ 0 h 641"/>
                <a:gd name="T30" fmla="*/ 0 w 1603"/>
                <a:gd name="T31" fmla="*/ 321 h 641"/>
                <a:gd name="T32" fmla="*/ 320 w 1603"/>
                <a:gd name="T33" fmla="*/ 641 h 641"/>
                <a:gd name="T34" fmla="*/ 631 w 1603"/>
                <a:gd name="T35" fmla="*/ 401 h 641"/>
                <a:gd name="T36" fmla="*/ 1046 w 1603"/>
                <a:gd name="T37" fmla="*/ 401 h 641"/>
                <a:gd name="T38" fmla="*/ 1287 w 1603"/>
                <a:gd name="T39" fmla="*/ 641 h 641"/>
                <a:gd name="T40" fmla="*/ 1420 w 1603"/>
                <a:gd name="T41" fmla="*/ 641 h 641"/>
                <a:gd name="T42" fmla="*/ 1603 w 1603"/>
                <a:gd name="T43" fmla="*/ 454 h 641"/>
                <a:gd name="T44" fmla="*/ 1490 w 1603"/>
                <a:gd name="T45" fmla="*/ 341 h 641"/>
                <a:gd name="T46" fmla="*/ 1354 w 1603"/>
                <a:gd name="T47" fmla="*/ 481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03" h="641">
                  <a:moveTo>
                    <a:pt x="320" y="481"/>
                  </a:moveTo>
                  <a:cubicBezTo>
                    <a:pt x="232" y="481"/>
                    <a:pt x="160" y="409"/>
                    <a:pt x="160" y="321"/>
                  </a:cubicBezTo>
                  <a:cubicBezTo>
                    <a:pt x="160" y="232"/>
                    <a:pt x="232" y="160"/>
                    <a:pt x="320" y="160"/>
                  </a:cubicBezTo>
                  <a:cubicBezTo>
                    <a:pt x="409" y="160"/>
                    <a:pt x="481" y="232"/>
                    <a:pt x="481" y="321"/>
                  </a:cubicBezTo>
                  <a:cubicBezTo>
                    <a:pt x="481" y="409"/>
                    <a:pt x="409" y="481"/>
                    <a:pt x="320" y="481"/>
                  </a:cubicBezTo>
                  <a:close/>
                  <a:moveTo>
                    <a:pt x="1354" y="481"/>
                  </a:moveTo>
                  <a:lnTo>
                    <a:pt x="1193" y="321"/>
                  </a:lnTo>
                  <a:lnTo>
                    <a:pt x="1354" y="160"/>
                  </a:lnTo>
                  <a:lnTo>
                    <a:pt x="1490" y="301"/>
                  </a:lnTo>
                  <a:lnTo>
                    <a:pt x="1603" y="187"/>
                  </a:lnTo>
                  <a:lnTo>
                    <a:pt x="1420" y="0"/>
                  </a:lnTo>
                  <a:lnTo>
                    <a:pt x="1287" y="0"/>
                  </a:lnTo>
                  <a:lnTo>
                    <a:pt x="1046" y="240"/>
                  </a:lnTo>
                  <a:lnTo>
                    <a:pt x="631" y="240"/>
                  </a:lnTo>
                  <a:cubicBezTo>
                    <a:pt x="595" y="102"/>
                    <a:pt x="470" y="0"/>
                    <a:pt x="320" y="0"/>
                  </a:cubicBezTo>
                  <a:cubicBezTo>
                    <a:pt x="143" y="0"/>
                    <a:pt x="0" y="143"/>
                    <a:pt x="0" y="321"/>
                  </a:cubicBezTo>
                  <a:cubicBezTo>
                    <a:pt x="0" y="498"/>
                    <a:pt x="143" y="641"/>
                    <a:pt x="320" y="641"/>
                  </a:cubicBezTo>
                  <a:cubicBezTo>
                    <a:pt x="470" y="641"/>
                    <a:pt x="595" y="539"/>
                    <a:pt x="631" y="401"/>
                  </a:cubicBezTo>
                  <a:lnTo>
                    <a:pt x="1046" y="401"/>
                  </a:lnTo>
                  <a:lnTo>
                    <a:pt x="1287" y="641"/>
                  </a:lnTo>
                  <a:lnTo>
                    <a:pt x="1420" y="641"/>
                  </a:lnTo>
                  <a:lnTo>
                    <a:pt x="1603" y="454"/>
                  </a:lnTo>
                  <a:lnTo>
                    <a:pt x="1490" y="341"/>
                  </a:lnTo>
                  <a:lnTo>
                    <a:pt x="1354" y="4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2" name="Group 391">
            <a:extLst>
              <a:ext uri="{FF2B5EF4-FFF2-40B4-BE49-F238E27FC236}">
                <a16:creationId xmlns:a16="http://schemas.microsoft.com/office/drawing/2014/main" id="{5339A76D-4793-42CF-A03B-A0877BCD74E1}"/>
              </a:ext>
            </a:extLst>
          </p:cNvPr>
          <p:cNvGrpSpPr/>
          <p:nvPr/>
        </p:nvGrpSpPr>
        <p:grpSpPr>
          <a:xfrm>
            <a:off x="1171576" y="2447926"/>
            <a:ext cx="577850" cy="520700"/>
            <a:chOff x="1171576" y="2447926"/>
            <a:chExt cx="577850" cy="520700"/>
          </a:xfrm>
          <a:solidFill>
            <a:schemeClr val="accent1"/>
          </a:solidFill>
        </p:grpSpPr>
        <p:sp>
          <p:nvSpPr>
            <p:cNvPr id="291" name="Freeform 131">
              <a:extLst>
                <a:ext uri="{FF2B5EF4-FFF2-40B4-BE49-F238E27FC236}">
                  <a16:creationId xmlns:a16="http://schemas.microsoft.com/office/drawing/2014/main" id="{640251C9-8152-48F4-B23D-AA271D6B35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1576" y="2447926"/>
              <a:ext cx="577850" cy="520700"/>
            </a:xfrm>
            <a:custGeom>
              <a:avLst/>
              <a:gdLst>
                <a:gd name="T0" fmla="*/ 1043 w 1604"/>
                <a:gd name="T1" fmla="*/ 0 h 1443"/>
                <a:gd name="T2" fmla="*/ 962 w 1604"/>
                <a:gd name="T3" fmla="*/ 160 h 1443"/>
                <a:gd name="T4" fmla="*/ 415 w 1604"/>
                <a:gd name="T5" fmla="*/ 160 h 1443"/>
                <a:gd name="T6" fmla="*/ 187 w 1604"/>
                <a:gd name="T7" fmla="*/ 561 h 1443"/>
                <a:gd name="T8" fmla="*/ 1604 w 1604"/>
                <a:gd name="T9" fmla="*/ 561 h 1443"/>
                <a:gd name="T10" fmla="*/ 1604 w 1604"/>
                <a:gd name="T11" fmla="*/ 1283 h 1443"/>
                <a:gd name="T12" fmla="*/ 1444 w 1604"/>
                <a:gd name="T13" fmla="*/ 1283 h 1443"/>
                <a:gd name="T14" fmla="*/ 1444 w 1604"/>
                <a:gd name="T15" fmla="*/ 1443 h 1443"/>
                <a:gd name="T16" fmla="*/ 1283 w 1604"/>
                <a:gd name="T17" fmla="*/ 1443 h 1443"/>
                <a:gd name="T18" fmla="*/ 1283 w 1604"/>
                <a:gd name="T19" fmla="*/ 1283 h 1443"/>
                <a:gd name="T20" fmla="*/ 321 w 1604"/>
                <a:gd name="T21" fmla="*/ 1283 h 1443"/>
                <a:gd name="T22" fmla="*/ 321 w 1604"/>
                <a:gd name="T23" fmla="*/ 1443 h 1443"/>
                <a:gd name="T24" fmla="*/ 161 w 1604"/>
                <a:gd name="T25" fmla="*/ 1443 h 1443"/>
                <a:gd name="T26" fmla="*/ 161 w 1604"/>
                <a:gd name="T27" fmla="*/ 1283 h 1443"/>
                <a:gd name="T28" fmla="*/ 0 w 1604"/>
                <a:gd name="T29" fmla="*/ 1283 h 1443"/>
                <a:gd name="T30" fmla="*/ 0 w 1604"/>
                <a:gd name="T31" fmla="*/ 721 h 1443"/>
                <a:gd name="T32" fmla="*/ 161 w 1604"/>
                <a:gd name="T33" fmla="*/ 882 h 1443"/>
                <a:gd name="T34" fmla="*/ 161 w 1604"/>
                <a:gd name="T35" fmla="*/ 1122 h 1443"/>
                <a:gd name="T36" fmla="*/ 1444 w 1604"/>
                <a:gd name="T37" fmla="*/ 1122 h 1443"/>
                <a:gd name="T38" fmla="*/ 1444 w 1604"/>
                <a:gd name="T39" fmla="*/ 721 h 1443"/>
                <a:gd name="T40" fmla="*/ 161 w 1604"/>
                <a:gd name="T41" fmla="*/ 721 h 1443"/>
                <a:gd name="T42" fmla="*/ 0 w 1604"/>
                <a:gd name="T43" fmla="*/ 561 h 1443"/>
                <a:gd name="T44" fmla="*/ 321 w 1604"/>
                <a:gd name="T45" fmla="*/ 0 h 1443"/>
                <a:gd name="T46" fmla="*/ 1043 w 1604"/>
                <a:gd name="T47" fmla="*/ 0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04" h="1443">
                  <a:moveTo>
                    <a:pt x="1043" y="0"/>
                  </a:moveTo>
                  <a:lnTo>
                    <a:pt x="962" y="160"/>
                  </a:lnTo>
                  <a:lnTo>
                    <a:pt x="415" y="160"/>
                  </a:lnTo>
                  <a:lnTo>
                    <a:pt x="187" y="561"/>
                  </a:lnTo>
                  <a:lnTo>
                    <a:pt x="1604" y="561"/>
                  </a:lnTo>
                  <a:lnTo>
                    <a:pt x="1604" y="1283"/>
                  </a:lnTo>
                  <a:lnTo>
                    <a:pt x="1444" y="1283"/>
                  </a:lnTo>
                  <a:lnTo>
                    <a:pt x="1444" y="1443"/>
                  </a:lnTo>
                  <a:lnTo>
                    <a:pt x="1283" y="1443"/>
                  </a:lnTo>
                  <a:lnTo>
                    <a:pt x="1283" y="1283"/>
                  </a:lnTo>
                  <a:lnTo>
                    <a:pt x="321" y="1283"/>
                  </a:lnTo>
                  <a:lnTo>
                    <a:pt x="321" y="1443"/>
                  </a:lnTo>
                  <a:lnTo>
                    <a:pt x="161" y="1443"/>
                  </a:lnTo>
                  <a:lnTo>
                    <a:pt x="161" y="1283"/>
                  </a:lnTo>
                  <a:lnTo>
                    <a:pt x="0" y="1283"/>
                  </a:lnTo>
                  <a:lnTo>
                    <a:pt x="0" y="721"/>
                  </a:lnTo>
                  <a:lnTo>
                    <a:pt x="161" y="882"/>
                  </a:lnTo>
                  <a:lnTo>
                    <a:pt x="161" y="1122"/>
                  </a:lnTo>
                  <a:lnTo>
                    <a:pt x="1444" y="1122"/>
                  </a:lnTo>
                  <a:lnTo>
                    <a:pt x="1444" y="721"/>
                  </a:lnTo>
                  <a:lnTo>
                    <a:pt x="161" y="721"/>
                  </a:lnTo>
                  <a:lnTo>
                    <a:pt x="0" y="561"/>
                  </a:lnTo>
                  <a:lnTo>
                    <a:pt x="321" y="0"/>
                  </a:lnTo>
                  <a:lnTo>
                    <a:pt x="10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2" name="Oval 132">
              <a:extLst>
                <a:ext uri="{FF2B5EF4-FFF2-40B4-BE49-F238E27FC236}">
                  <a16:creationId xmlns:a16="http://schemas.microsoft.com/office/drawing/2014/main" id="{AECE8B5E-33FE-462F-AA0C-1FD24B7877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7463" y="2736851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3" name="Oval 133">
              <a:extLst>
                <a:ext uri="{FF2B5EF4-FFF2-40B4-BE49-F238E27FC236}">
                  <a16:creationId xmlns:a16="http://schemas.microsoft.com/office/drawing/2014/main" id="{C714BE80-B34F-4D16-844C-7C95D3C5E0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7813" y="2736851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4" name="Freeform 134">
              <a:extLst>
                <a:ext uri="{FF2B5EF4-FFF2-40B4-BE49-F238E27FC236}">
                  <a16:creationId xmlns:a16="http://schemas.microsoft.com/office/drawing/2014/main" id="{045471FC-4298-45E3-91CD-9806C6600D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1576" y="2592388"/>
              <a:ext cx="100013" cy="58738"/>
            </a:xfrm>
            <a:custGeom>
              <a:avLst/>
              <a:gdLst>
                <a:gd name="T0" fmla="*/ 0 w 278"/>
                <a:gd name="T1" fmla="*/ 161 h 161"/>
                <a:gd name="T2" fmla="*/ 187 w 278"/>
                <a:gd name="T3" fmla="*/ 161 h 161"/>
                <a:gd name="T4" fmla="*/ 278 w 278"/>
                <a:gd name="T5" fmla="*/ 0 h 161"/>
                <a:gd name="T6" fmla="*/ 92 w 278"/>
                <a:gd name="T7" fmla="*/ 0 h 161"/>
                <a:gd name="T8" fmla="*/ 0 w 278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" h="161">
                  <a:moveTo>
                    <a:pt x="0" y="161"/>
                  </a:moveTo>
                  <a:lnTo>
                    <a:pt x="187" y="161"/>
                  </a:lnTo>
                  <a:lnTo>
                    <a:pt x="278" y="0"/>
                  </a:lnTo>
                  <a:lnTo>
                    <a:pt x="92" y="0"/>
                  </a:lnTo>
                  <a:lnTo>
                    <a:pt x="0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5" name="Group 394">
            <a:extLst>
              <a:ext uri="{FF2B5EF4-FFF2-40B4-BE49-F238E27FC236}">
                <a16:creationId xmlns:a16="http://schemas.microsoft.com/office/drawing/2014/main" id="{50B7084A-1270-4FE6-B808-72D8CD33AFE0}"/>
              </a:ext>
            </a:extLst>
          </p:cNvPr>
          <p:cNvGrpSpPr/>
          <p:nvPr/>
        </p:nvGrpSpPr>
        <p:grpSpPr>
          <a:xfrm>
            <a:off x="3459163" y="2509838"/>
            <a:ext cx="577850" cy="381000"/>
            <a:chOff x="3459163" y="2509838"/>
            <a:chExt cx="577850" cy="381000"/>
          </a:xfrm>
          <a:solidFill>
            <a:schemeClr val="accent1"/>
          </a:solidFill>
        </p:grpSpPr>
        <p:sp>
          <p:nvSpPr>
            <p:cNvPr id="295" name="Freeform 135">
              <a:extLst>
                <a:ext uri="{FF2B5EF4-FFF2-40B4-BE49-F238E27FC236}">
                  <a16:creationId xmlns:a16="http://schemas.microsoft.com/office/drawing/2014/main" id="{D0396929-63A3-4F95-9E54-C032F8EA2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2509838"/>
              <a:ext cx="577850" cy="381000"/>
            </a:xfrm>
            <a:custGeom>
              <a:avLst/>
              <a:gdLst>
                <a:gd name="T0" fmla="*/ 0 w 1604"/>
                <a:gd name="T1" fmla="*/ 710 h 1055"/>
                <a:gd name="T2" fmla="*/ 361 w 1604"/>
                <a:gd name="T3" fmla="*/ 710 h 1055"/>
                <a:gd name="T4" fmla="*/ 421 w 1604"/>
                <a:gd name="T5" fmla="*/ 556 h 1055"/>
                <a:gd name="T6" fmla="*/ 554 w 1604"/>
                <a:gd name="T7" fmla="*/ 1055 h 1055"/>
                <a:gd name="T8" fmla="*/ 695 w 1604"/>
                <a:gd name="T9" fmla="*/ 1055 h 1055"/>
                <a:gd name="T10" fmla="*/ 815 w 1604"/>
                <a:gd name="T11" fmla="*/ 376 h 1055"/>
                <a:gd name="T12" fmla="*/ 921 w 1604"/>
                <a:gd name="T13" fmla="*/ 962 h 1055"/>
                <a:gd name="T14" fmla="*/ 1123 w 1604"/>
                <a:gd name="T15" fmla="*/ 962 h 1055"/>
                <a:gd name="T16" fmla="*/ 1191 w 1604"/>
                <a:gd name="T17" fmla="*/ 710 h 1055"/>
                <a:gd name="T18" fmla="*/ 1604 w 1604"/>
                <a:gd name="T19" fmla="*/ 710 h 1055"/>
                <a:gd name="T20" fmla="*/ 1604 w 1604"/>
                <a:gd name="T21" fmla="*/ 549 h 1055"/>
                <a:gd name="T22" fmla="*/ 1068 w 1604"/>
                <a:gd name="T23" fmla="*/ 549 h 1055"/>
                <a:gd name="T24" fmla="*/ 1033 w 1604"/>
                <a:gd name="T25" fmla="*/ 678 h 1055"/>
                <a:gd name="T26" fmla="*/ 913 w 1604"/>
                <a:gd name="T27" fmla="*/ 0 h 1055"/>
                <a:gd name="T28" fmla="*/ 719 w 1604"/>
                <a:gd name="T29" fmla="*/ 0 h 1055"/>
                <a:gd name="T30" fmla="*/ 610 w 1604"/>
                <a:gd name="T31" fmla="*/ 632 h 1055"/>
                <a:gd name="T32" fmla="*/ 512 w 1604"/>
                <a:gd name="T33" fmla="*/ 255 h 1055"/>
                <a:gd name="T34" fmla="*/ 358 w 1604"/>
                <a:gd name="T35" fmla="*/ 255 h 1055"/>
                <a:gd name="T36" fmla="*/ 253 w 1604"/>
                <a:gd name="T37" fmla="*/ 551 h 1055"/>
                <a:gd name="T38" fmla="*/ 0 w 1604"/>
                <a:gd name="T39" fmla="*/ 549 h 1055"/>
                <a:gd name="T40" fmla="*/ 0 w 1604"/>
                <a:gd name="T41" fmla="*/ 710 h 1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04" h="1055">
                  <a:moveTo>
                    <a:pt x="0" y="710"/>
                  </a:moveTo>
                  <a:lnTo>
                    <a:pt x="361" y="710"/>
                  </a:lnTo>
                  <a:lnTo>
                    <a:pt x="421" y="556"/>
                  </a:lnTo>
                  <a:lnTo>
                    <a:pt x="554" y="1055"/>
                  </a:lnTo>
                  <a:lnTo>
                    <a:pt x="695" y="1055"/>
                  </a:lnTo>
                  <a:lnTo>
                    <a:pt x="815" y="376"/>
                  </a:lnTo>
                  <a:lnTo>
                    <a:pt x="921" y="962"/>
                  </a:lnTo>
                  <a:lnTo>
                    <a:pt x="1123" y="962"/>
                  </a:lnTo>
                  <a:lnTo>
                    <a:pt x="1191" y="710"/>
                  </a:lnTo>
                  <a:lnTo>
                    <a:pt x="1604" y="710"/>
                  </a:lnTo>
                  <a:lnTo>
                    <a:pt x="1604" y="549"/>
                  </a:lnTo>
                  <a:lnTo>
                    <a:pt x="1068" y="549"/>
                  </a:lnTo>
                  <a:lnTo>
                    <a:pt x="1033" y="678"/>
                  </a:lnTo>
                  <a:lnTo>
                    <a:pt x="913" y="0"/>
                  </a:lnTo>
                  <a:lnTo>
                    <a:pt x="719" y="0"/>
                  </a:lnTo>
                  <a:lnTo>
                    <a:pt x="610" y="632"/>
                  </a:lnTo>
                  <a:lnTo>
                    <a:pt x="512" y="255"/>
                  </a:lnTo>
                  <a:lnTo>
                    <a:pt x="358" y="255"/>
                  </a:lnTo>
                  <a:lnTo>
                    <a:pt x="253" y="551"/>
                  </a:lnTo>
                  <a:lnTo>
                    <a:pt x="0" y="549"/>
                  </a:lnTo>
                  <a:lnTo>
                    <a:pt x="0" y="7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6" name="Freeform 136">
              <a:extLst>
                <a:ext uri="{FF2B5EF4-FFF2-40B4-BE49-F238E27FC236}">
                  <a16:creationId xmlns:a16="http://schemas.microsoft.com/office/drawing/2014/main" id="{8BF9DDC6-3478-4E43-B88C-2588BC199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9826" y="2509838"/>
              <a:ext cx="73025" cy="381000"/>
            </a:xfrm>
            <a:custGeom>
              <a:avLst/>
              <a:gdLst>
                <a:gd name="T0" fmla="*/ 0 w 205"/>
                <a:gd name="T1" fmla="*/ 632 h 1055"/>
                <a:gd name="T2" fmla="*/ 85 w 205"/>
                <a:gd name="T3" fmla="*/ 1055 h 1055"/>
                <a:gd name="T4" fmla="*/ 205 w 205"/>
                <a:gd name="T5" fmla="*/ 376 h 1055"/>
                <a:gd name="T6" fmla="*/ 109 w 205"/>
                <a:gd name="T7" fmla="*/ 0 h 1055"/>
                <a:gd name="T8" fmla="*/ 0 w 205"/>
                <a:gd name="T9" fmla="*/ 632 h 1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5" h="1055">
                  <a:moveTo>
                    <a:pt x="0" y="632"/>
                  </a:moveTo>
                  <a:lnTo>
                    <a:pt x="85" y="1055"/>
                  </a:lnTo>
                  <a:lnTo>
                    <a:pt x="205" y="376"/>
                  </a:lnTo>
                  <a:lnTo>
                    <a:pt x="109" y="0"/>
                  </a:lnTo>
                  <a:lnTo>
                    <a:pt x="0" y="6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9" name="Group 398">
            <a:extLst>
              <a:ext uri="{FF2B5EF4-FFF2-40B4-BE49-F238E27FC236}">
                <a16:creationId xmlns:a16="http://schemas.microsoft.com/office/drawing/2014/main" id="{4F861B9A-C6E6-4C6A-9641-E638FE48EC74}"/>
              </a:ext>
            </a:extLst>
          </p:cNvPr>
          <p:cNvGrpSpPr/>
          <p:nvPr/>
        </p:nvGrpSpPr>
        <p:grpSpPr>
          <a:xfrm>
            <a:off x="6538913" y="2447926"/>
            <a:ext cx="519113" cy="520700"/>
            <a:chOff x="6538913" y="2447926"/>
            <a:chExt cx="519113" cy="520700"/>
          </a:xfrm>
          <a:solidFill>
            <a:schemeClr val="accent1"/>
          </a:solidFill>
        </p:grpSpPr>
        <p:sp>
          <p:nvSpPr>
            <p:cNvPr id="297" name="Rectangle 137">
              <a:extLst>
                <a:ext uri="{FF2B5EF4-FFF2-40B4-BE49-F238E27FC236}">
                  <a16:creationId xmlns:a16="http://schemas.microsoft.com/office/drawing/2014/main" id="{BFF43D68-DD84-4CB0-A3C0-441E3A0B11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7838" y="2447926"/>
              <a:ext cx="230188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8" name="Rectangle 138">
              <a:extLst>
                <a:ext uri="{FF2B5EF4-FFF2-40B4-BE49-F238E27FC236}">
                  <a16:creationId xmlns:a16="http://schemas.microsoft.com/office/drawing/2014/main" id="{BFD17E41-72AC-4B4A-B945-CBE1D6A014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7838" y="2563813"/>
              <a:ext cx="230188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9" name="Rectangle 139">
              <a:extLst>
                <a:ext uri="{FF2B5EF4-FFF2-40B4-BE49-F238E27FC236}">
                  <a16:creationId xmlns:a16="http://schemas.microsoft.com/office/drawing/2014/main" id="{A8B6AFE8-FB74-4370-981A-373A541D61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7838" y="2679701"/>
              <a:ext cx="2301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0" name="Rectangle 140">
              <a:extLst>
                <a:ext uri="{FF2B5EF4-FFF2-40B4-BE49-F238E27FC236}">
                  <a16:creationId xmlns:a16="http://schemas.microsoft.com/office/drawing/2014/main" id="{E3A0E9BE-937D-492D-85CE-EE125A01A1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7838" y="2795588"/>
              <a:ext cx="2301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1" name="Rectangle 141">
              <a:extLst>
                <a:ext uri="{FF2B5EF4-FFF2-40B4-BE49-F238E27FC236}">
                  <a16:creationId xmlns:a16="http://schemas.microsoft.com/office/drawing/2014/main" id="{8EB77726-F53B-4409-B8F1-ADC9601DDE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7838" y="2911476"/>
              <a:ext cx="2301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2" name="Rectangle 142">
              <a:extLst>
                <a:ext uri="{FF2B5EF4-FFF2-40B4-BE49-F238E27FC236}">
                  <a16:creationId xmlns:a16="http://schemas.microsoft.com/office/drawing/2014/main" id="{048B8868-20B2-4486-AB07-95FB27B100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8913" y="2911476"/>
              <a:ext cx="2301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3" name="Rectangle 143">
              <a:extLst>
                <a:ext uri="{FF2B5EF4-FFF2-40B4-BE49-F238E27FC236}">
                  <a16:creationId xmlns:a16="http://schemas.microsoft.com/office/drawing/2014/main" id="{7890407C-CC87-4CD4-B323-6B5D429051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8913" y="2795588"/>
              <a:ext cx="2301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4" name="Rectangle 144">
              <a:extLst>
                <a:ext uri="{FF2B5EF4-FFF2-40B4-BE49-F238E27FC236}">
                  <a16:creationId xmlns:a16="http://schemas.microsoft.com/office/drawing/2014/main" id="{FF0801BA-1E3E-4675-8EC9-D55ACBBA13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8913" y="2679701"/>
              <a:ext cx="2301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5" name="Rectangle 145">
              <a:extLst>
                <a:ext uri="{FF2B5EF4-FFF2-40B4-BE49-F238E27FC236}">
                  <a16:creationId xmlns:a16="http://schemas.microsoft.com/office/drawing/2014/main" id="{7BFF6B10-FEFB-447A-A91F-F47963B531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8913" y="2679701"/>
              <a:ext cx="5715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3" name="Group 392">
            <a:extLst>
              <a:ext uri="{FF2B5EF4-FFF2-40B4-BE49-F238E27FC236}">
                <a16:creationId xmlns:a16="http://schemas.microsoft.com/office/drawing/2014/main" id="{18D805D8-C1A0-4F6E-B4D3-39563A46D309}"/>
              </a:ext>
            </a:extLst>
          </p:cNvPr>
          <p:cNvGrpSpPr/>
          <p:nvPr/>
        </p:nvGrpSpPr>
        <p:grpSpPr>
          <a:xfrm>
            <a:off x="1992313" y="2419351"/>
            <a:ext cx="461963" cy="577850"/>
            <a:chOff x="1992313" y="2419351"/>
            <a:chExt cx="461963" cy="577850"/>
          </a:xfrm>
          <a:solidFill>
            <a:schemeClr val="accent1"/>
          </a:solidFill>
        </p:grpSpPr>
        <p:sp>
          <p:nvSpPr>
            <p:cNvPr id="306" name="Freeform 146">
              <a:extLst>
                <a:ext uri="{FF2B5EF4-FFF2-40B4-BE49-F238E27FC236}">
                  <a16:creationId xmlns:a16="http://schemas.microsoft.com/office/drawing/2014/main" id="{E4394C04-F7A2-41D1-B279-1ADDDA8D8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3926" y="2852738"/>
              <a:ext cx="58738" cy="144463"/>
            </a:xfrm>
            <a:custGeom>
              <a:avLst/>
              <a:gdLst>
                <a:gd name="T0" fmla="*/ 160 w 160"/>
                <a:gd name="T1" fmla="*/ 80 h 401"/>
                <a:gd name="T2" fmla="*/ 0 w 160"/>
                <a:gd name="T3" fmla="*/ 0 h 401"/>
                <a:gd name="T4" fmla="*/ 0 w 160"/>
                <a:gd name="T5" fmla="*/ 401 h 401"/>
                <a:gd name="T6" fmla="*/ 160 w 160"/>
                <a:gd name="T7" fmla="*/ 401 h 401"/>
                <a:gd name="T8" fmla="*/ 160 w 160"/>
                <a:gd name="T9" fmla="*/ 8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401">
                  <a:moveTo>
                    <a:pt x="160" y="80"/>
                  </a:moveTo>
                  <a:lnTo>
                    <a:pt x="0" y="0"/>
                  </a:lnTo>
                  <a:lnTo>
                    <a:pt x="0" y="401"/>
                  </a:lnTo>
                  <a:lnTo>
                    <a:pt x="160" y="401"/>
                  </a:lnTo>
                  <a:lnTo>
                    <a:pt x="16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7" name="Rectangle 147">
              <a:extLst>
                <a:ext uri="{FF2B5EF4-FFF2-40B4-BE49-F238E27FC236}">
                  <a16:creationId xmlns:a16="http://schemas.microsoft.com/office/drawing/2014/main" id="{CEF28FD0-0092-4CF9-AFC9-F4CFFCBEA6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79626" y="2419351"/>
              <a:ext cx="57150" cy="173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8" name="Rectangle 148">
              <a:extLst>
                <a:ext uri="{FF2B5EF4-FFF2-40B4-BE49-F238E27FC236}">
                  <a16:creationId xmlns:a16="http://schemas.microsoft.com/office/drawing/2014/main" id="{8350C002-B590-46C7-8C0D-70A7E9F66E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9813" y="2419351"/>
              <a:ext cx="58738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9" name="Freeform 149">
              <a:extLst>
                <a:ext uri="{FF2B5EF4-FFF2-40B4-BE49-F238E27FC236}">
                  <a16:creationId xmlns:a16="http://schemas.microsoft.com/office/drawing/2014/main" id="{8B90206E-B3F4-4FFD-BF5E-795C14D343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2313" y="2592388"/>
              <a:ext cx="461963" cy="290513"/>
            </a:xfrm>
            <a:custGeom>
              <a:avLst/>
              <a:gdLst>
                <a:gd name="T0" fmla="*/ 1263 w 1283"/>
                <a:gd name="T1" fmla="*/ 0 h 804"/>
                <a:gd name="T2" fmla="*/ 21 w 1283"/>
                <a:gd name="T3" fmla="*/ 0 h 804"/>
                <a:gd name="T4" fmla="*/ 0 w 1283"/>
                <a:gd name="T5" fmla="*/ 160 h 804"/>
                <a:gd name="T6" fmla="*/ 642 w 1283"/>
                <a:gd name="T7" fmla="*/ 801 h 804"/>
                <a:gd name="T8" fmla="*/ 722 w 1283"/>
                <a:gd name="T9" fmla="*/ 801 h 804"/>
                <a:gd name="T10" fmla="*/ 553 w 1283"/>
                <a:gd name="T11" fmla="*/ 633 h 804"/>
                <a:gd name="T12" fmla="*/ 167 w 1283"/>
                <a:gd name="T13" fmla="*/ 240 h 804"/>
                <a:gd name="T14" fmla="*/ 161 w 1283"/>
                <a:gd name="T15" fmla="*/ 160 h 804"/>
                <a:gd name="T16" fmla="*/ 1123 w 1283"/>
                <a:gd name="T17" fmla="*/ 160 h 804"/>
                <a:gd name="T18" fmla="*/ 1116 w 1283"/>
                <a:gd name="T19" fmla="*/ 240 h 804"/>
                <a:gd name="T20" fmla="*/ 781 w 1283"/>
                <a:gd name="T21" fmla="*/ 620 h 804"/>
                <a:gd name="T22" fmla="*/ 906 w 1283"/>
                <a:gd name="T23" fmla="*/ 745 h 804"/>
                <a:gd name="T24" fmla="*/ 1283 w 1283"/>
                <a:gd name="T25" fmla="*/ 160 h 804"/>
                <a:gd name="T26" fmla="*/ 1263 w 1283"/>
                <a:gd name="T27" fmla="*/ 0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3" h="804">
                  <a:moveTo>
                    <a:pt x="1263" y="0"/>
                  </a:moveTo>
                  <a:lnTo>
                    <a:pt x="21" y="0"/>
                  </a:lnTo>
                  <a:cubicBezTo>
                    <a:pt x="7" y="51"/>
                    <a:pt x="0" y="105"/>
                    <a:pt x="0" y="160"/>
                  </a:cubicBezTo>
                  <a:cubicBezTo>
                    <a:pt x="0" y="514"/>
                    <a:pt x="288" y="801"/>
                    <a:pt x="642" y="801"/>
                  </a:cubicBezTo>
                  <a:cubicBezTo>
                    <a:pt x="667" y="801"/>
                    <a:pt x="697" y="804"/>
                    <a:pt x="722" y="801"/>
                  </a:cubicBezTo>
                  <a:lnTo>
                    <a:pt x="553" y="633"/>
                  </a:lnTo>
                  <a:cubicBezTo>
                    <a:pt x="356" y="596"/>
                    <a:pt x="201" y="439"/>
                    <a:pt x="167" y="240"/>
                  </a:cubicBezTo>
                  <a:cubicBezTo>
                    <a:pt x="163" y="214"/>
                    <a:pt x="161" y="187"/>
                    <a:pt x="161" y="160"/>
                  </a:cubicBezTo>
                  <a:lnTo>
                    <a:pt x="1123" y="160"/>
                  </a:lnTo>
                  <a:cubicBezTo>
                    <a:pt x="1123" y="187"/>
                    <a:pt x="1121" y="214"/>
                    <a:pt x="1116" y="240"/>
                  </a:cubicBezTo>
                  <a:cubicBezTo>
                    <a:pt x="1086" y="421"/>
                    <a:pt x="954" y="568"/>
                    <a:pt x="781" y="620"/>
                  </a:cubicBezTo>
                  <a:lnTo>
                    <a:pt x="906" y="745"/>
                  </a:lnTo>
                  <a:cubicBezTo>
                    <a:pt x="1128" y="644"/>
                    <a:pt x="1283" y="420"/>
                    <a:pt x="1283" y="160"/>
                  </a:cubicBezTo>
                  <a:cubicBezTo>
                    <a:pt x="1283" y="105"/>
                    <a:pt x="1276" y="51"/>
                    <a:pt x="12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4" name="Group 393">
            <a:extLst>
              <a:ext uri="{FF2B5EF4-FFF2-40B4-BE49-F238E27FC236}">
                <a16:creationId xmlns:a16="http://schemas.microsoft.com/office/drawing/2014/main" id="{EF8E304C-087E-4084-BDFB-2B2AAE77E847}"/>
              </a:ext>
            </a:extLst>
          </p:cNvPr>
          <p:cNvGrpSpPr/>
          <p:nvPr/>
        </p:nvGrpSpPr>
        <p:grpSpPr>
          <a:xfrm>
            <a:off x="2697163" y="2419351"/>
            <a:ext cx="577851" cy="563563"/>
            <a:chOff x="2697163" y="2419351"/>
            <a:chExt cx="577851" cy="563563"/>
          </a:xfrm>
          <a:solidFill>
            <a:schemeClr val="accent1"/>
          </a:solidFill>
        </p:grpSpPr>
        <p:sp>
          <p:nvSpPr>
            <p:cNvPr id="310" name="Freeform 150">
              <a:extLst>
                <a:ext uri="{FF2B5EF4-FFF2-40B4-BE49-F238E27FC236}">
                  <a16:creationId xmlns:a16="http://schemas.microsoft.com/office/drawing/2014/main" id="{1EFF60B9-19AE-4EF0-A8B7-E37D34D5A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6276" y="2419351"/>
              <a:ext cx="58738" cy="433388"/>
            </a:xfrm>
            <a:custGeom>
              <a:avLst/>
              <a:gdLst>
                <a:gd name="T0" fmla="*/ 160 w 160"/>
                <a:gd name="T1" fmla="*/ 80 h 1202"/>
                <a:gd name="T2" fmla="*/ 160 w 160"/>
                <a:gd name="T3" fmla="*/ 1202 h 1202"/>
                <a:gd name="T4" fmla="*/ 0 w 160"/>
                <a:gd name="T5" fmla="*/ 1202 h 1202"/>
                <a:gd name="T6" fmla="*/ 0 w 160"/>
                <a:gd name="T7" fmla="*/ 0 h 1202"/>
                <a:gd name="T8" fmla="*/ 80 w 160"/>
                <a:gd name="T9" fmla="*/ 0 h 1202"/>
                <a:gd name="T10" fmla="*/ 160 w 160"/>
                <a:gd name="T11" fmla="*/ 8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0" h="1202">
                  <a:moveTo>
                    <a:pt x="160" y="80"/>
                  </a:moveTo>
                  <a:lnTo>
                    <a:pt x="160" y="1202"/>
                  </a:lnTo>
                  <a:lnTo>
                    <a:pt x="0" y="1202"/>
                  </a:lnTo>
                  <a:lnTo>
                    <a:pt x="0" y="0"/>
                  </a:lnTo>
                  <a:lnTo>
                    <a:pt x="80" y="0"/>
                  </a:lnTo>
                  <a:lnTo>
                    <a:pt x="16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1" name="Rectangle 151">
              <a:extLst>
                <a:ext uri="{FF2B5EF4-FFF2-40B4-BE49-F238E27FC236}">
                  <a16:creationId xmlns:a16="http://schemas.microsoft.com/office/drawing/2014/main" id="{79214F8B-2474-45C9-9B32-D4E95C9D15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6276" y="2736851"/>
              <a:ext cx="58738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2" name="Freeform 152">
              <a:extLst>
                <a:ext uri="{FF2B5EF4-FFF2-40B4-BE49-F238E27FC236}">
                  <a16:creationId xmlns:a16="http://schemas.microsoft.com/office/drawing/2014/main" id="{A16D97DA-5A65-4AC8-BC7B-587E934FA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7163" y="2419351"/>
              <a:ext cx="577850" cy="563563"/>
            </a:xfrm>
            <a:custGeom>
              <a:avLst/>
              <a:gdLst>
                <a:gd name="T0" fmla="*/ 0 w 1603"/>
                <a:gd name="T1" fmla="*/ 80 h 1565"/>
                <a:gd name="T2" fmla="*/ 80 w 1603"/>
                <a:gd name="T3" fmla="*/ 0 h 1565"/>
                <a:gd name="T4" fmla="*/ 1282 w 1603"/>
                <a:gd name="T5" fmla="*/ 0 h 1565"/>
                <a:gd name="T6" fmla="*/ 1282 w 1603"/>
                <a:gd name="T7" fmla="*/ 561 h 1565"/>
                <a:gd name="T8" fmla="*/ 801 w 1603"/>
                <a:gd name="T9" fmla="*/ 1122 h 1565"/>
                <a:gd name="T10" fmla="*/ 481 w 1603"/>
                <a:gd name="T11" fmla="*/ 856 h 1565"/>
                <a:gd name="T12" fmla="*/ 481 w 1603"/>
                <a:gd name="T13" fmla="*/ 647 h 1565"/>
                <a:gd name="T14" fmla="*/ 783 w 1603"/>
                <a:gd name="T15" fmla="*/ 898 h 1565"/>
                <a:gd name="T16" fmla="*/ 1121 w 1603"/>
                <a:gd name="T17" fmla="*/ 493 h 1565"/>
                <a:gd name="T18" fmla="*/ 1122 w 1603"/>
                <a:gd name="T19" fmla="*/ 160 h 1565"/>
                <a:gd name="T20" fmla="*/ 160 w 1603"/>
                <a:gd name="T21" fmla="*/ 160 h 1565"/>
                <a:gd name="T22" fmla="*/ 160 w 1603"/>
                <a:gd name="T23" fmla="*/ 1160 h 1565"/>
                <a:gd name="T24" fmla="*/ 801 w 1603"/>
                <a:gd name="T25" fmla="*/ 1394 h 1565"/>
                <a:gd name="T26" fmla="*/ 1523 w 1603"/>
                <a:gd name="T27" fmla="*/ 1131 h 1565"/>
                <a:gd name="T28" fmla="*/ 1603 w 1603"/>
                <a:gd name="T29" fmla="*/ 1051 h 1565"/>
                <a:gd name="T30" fmla="*/ 1603 w 1603"/>
                <a:gd name="T31" fmla="*/ 1219 h 1565"/>
                <a:gd name="T32" fmla="*/ 1523 w 1603"/>
                <a:gd name="T33" fmla="*/ 1303 h 1565"/>
                <a:gd name="T34" fmla="*/ 801 w 1603"/>
                <a:gd name="T35" fmla="*/ 1565 h 1565"/>
                <a:gd name="T36" fmla="*/ 79 w 1603"/>
                <a:gd name="T37" fmla="*/ 1302 h 1565"/>
                <a:gd name="T38" fmla="*/ 1 w 1603"/>
                <a:gd name="T39" fmla="*/ 1224 h 1565"/>
                <a:gd name="T40" fmla="*/ 0 w 1603"/>
                <a:gd name="T41" fmla="*/ 80 h 1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03" h="1565">
                  <a:moveTo>
                    <a:pt x="0" y="80"/>
                  </a:moveTo>
                  <a:lnTo>
                    <a:pt x="80" y="0"/>
                  </a:lnTo>
                  <a:lnTo>
                    <a:pt x="1282" y="0"/>
                  </a:lnTo>
                  <a:lnTo>
                    <a:pt x="1282" y="561"/>
                  </a:lnTo>
                  <a:lnTo>
                    <a:pt x="801" y="1122"/>
                  </a:lnTo>
                  <a:lnTo>
                    <a:pt x="481" y="856"/>
                  </a:lnTo>
                  <a:lnTo>
                    <a:pt x="481" y="647"/>
                  </a:lnTo>
                  <a:lnTo>
                    <a:pt x="783" y="898"/>
                  </a:lnTo>
                  <a:lnTo>
                    <a:pt x="1121" y="493"/>
                  </a:lnTo>
                  <a:lnTo>
                    <a:pt x="1122" y="160"/>
                  </a:lnTo>
                  <a:lnTo>
                    <a:pt x="160" y="160"/>
                  </a:lnTo>
                  <a:lnTo>
                    <a:pt x="160" y="1160"/>
                  </a:lnTo>
                  <a:lnTo>
                    <a:pt x="801" y="1394"/>
                  </a:lnTo>
                  <a:lnTo>
                    <a:pt x="1523" y="1131"/>
                  </a:lnTo>
                  <a:lnTo>
                    <a:pt x="1603" y="1051"/>
                  </a:lnTo>
                  <a:lnTo>
                    <a:pt x="1603" y="1219"/>
                  </a:lnTo>
                  <a:lnTo>
                    <a:pt x="1523" y="1303"/>
                  </a:lnTo>
                  <a:lnTo>
                    <a:pt x="801" y="1565"/>
                  </a:lnTo>
                  <a:lnTo>
                    <a:pt x="79" y="1302"/>
                  </a:lnTo>
                  <a:lnTo>
                    <a:pt x="1" y="1224"/>
                  </a:lnTo>
                  <a:lnTo>
                    <a:pt x="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42" name="Group 441">
            <a:extLst>
              <a:ext uri="{FF2B5EF4-FFF2-40B4-BE49-F238E27FC236}">
                <a16:creationId xmlns:a16="http://schemas.microsoft.com/office/drawing/2014/main" id="{18A416B2-D60D-4934-9360-E2C2125817E8}"/>
              </a:ext>
            </a:extLst>
          </p:cNvPr>
          <p:cNvGrpSpPr/>
          <p:nvPr/>
        </p:nvGrpSpPr>
        <p:grpSpPr>
          <a:xfrm>
            <a:off x="1258888" y="5470526"/>
            <a:ext cx="476250" cy="571500"/>
            <a:chOff x="1258888" y="5470526"/>
            <a:chExt cx="476250" cy="571500"/>
          </a:xfrm>
          <a:solidFill>
            <a:schemeClr val="accent1"/>
          </a:solidFill>
        </p:grpSpPr>
        <p:sp>
          <p:nvSpPr>
            <p:cNvPr id="313" name="Freeform 153">
              <a:extLst>
                <a:ext uri="{FF2B5EF4-FFF2-40B4-BE49-F238E27FC236}">
                  <a16:creationId xmlns:a16="http://schemas.microsoft.com/office/drawing/2014/main" id="{A0CADA73-FA9A-4B4C-8A74-5D69FAADE8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2888" y="5819776"/>
              <a:ext cx="222250" cy="222250"/>
            </a:xfrm>
            <a:custGeom>
              <a:avLst/>
              <a:gdLst>
                <a:gd name="T0" fmla="*/ 619 w 619"/>
                <a:gd name="T1" fmla="*/ 114 h 619"/>
                <a:gd name="T2" fmla="*/ 505 w 619"/>
                <a:gd name="T3" fmla="*/ 0 h 619"/>
                <a:gd name="T4" fmla="*/ 24 w 619"/>
                <a:gd name="T5" fmla="*/ 481 h 619"/>
                <a:gd name="T6" fmla="*/ 0 w 619"/>
                <a:gd name="T7" fmla="*/ 619 h 619"/>
                <a:gd name="T8" fmla="*/ 138 w 619"/>
                <a:gd name="T9" fmla="*/ 595 h 619"/>
                <a:gd name="T10" fmla="*/ 619 w 619"/>
                <a:gd name="T11" fmla="*/ 114 h 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9" h="619">
                  <a:moveTo>
                    <a:pt x="619" y="114"/>
                  </a:moveTo>
                  <a:lnTo>
                    <a:pt x="505" y="0"/>
                  </a:lnTo>
                  <a:lnTo>
                    <a:pt x="24" y="481"/>
                  </a:lnTo>
                  <a:lnTo>
                    <a:pt x="0" y="619"/>
                  </a:lnTo>
                  <a:lnTo>
                    <a:pt x="138" y="595"/>
                  </a:lnTo>
                  <a:lnTo>
                    <a:pt x="619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4" name="Freeform 154">
              <a:extLst>
                <a:ext uri="{FF2B5EF4-FFF2-40B4-BE49-F238E27FC236}">
                  <a16:creationId xmlns:a16="http://schemas.microsoft.com/office/drawing/2014/main" id="{55DD95E9-342B-49B3-8410-99E60224A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8888" y="5470526"/>
              <a:ext cx="404813" cy="519113"/>
            </a:xfrm>
            <a:custGeom>
              <a:avLst/>
              <a:gdLst>
                <a:gd name="T0" fmla="*/ 1122 w 1122"/>
                <a:gd name="T1" fmla="*/ 561 h 1443"/>
                <a:gd name="T2" fmla="*/ 1122 w 1122"/>
                <a:gd name="T3" fmla="*/ 949 h 1443"/>
                <a:gd name="T4" fmla="*/ 629 w 1122"/>
                <a:gd name="T5" fmla="*/ 1443 h 1443"/>
                <a:gd name="T6" fmla="*/ 0 w 1122"/>
                <a:gd name="T7" fmla="*/ 1443 h 1443"/>
                <a:gd name="T8" fmla="*/ 0 w 1122"/>
                <a:gd name="T9" fmla="*/ 0 h 1443"/>
                <a:gd name="T10" fmla="*/ 561 w 1122"/>
                <a:gd name="T11" fmla="*/ 0 h 1443"/>
                <a:gd name="T12" fmla="*/ 561 w 1122"/>
                <a:gd name="T13" fmla="*/ 161 h 1443"/>
                <a:gd name="T14" fmla="*/ 160 w 1122"/>
                <a:gd name="T15" fmla="*/ 161 h 1443"/>
                <a:gd name="T16" fmla="*/ 160 w 1122"/>
                <a:gd name="T17" fmla="*/ 1283 h 1443"/>
                <a:gd name="T18" fmla="*/ 561 w 1122"/>
                <a:gd name="T19" fmla="*/ 1283 h 1443"/>
                <a:gd name="T20" fmla="*/ 962 w 1122"/>
                <a:gd name="T21" fmla="*/ 880 h 1443"/>
                <a:gd name="T22" fmla="*/ 962 w 1122"/>
                <a:gd name="T23" fmla="*/ 561 h 1443"/>
                <a:gd name="T24" fmla="*/ 1122 w 1122"/>
                <a:gd name="T25" fmla="*/ 561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2" h="1443">
                  <a:moveTo>
                    <a:pt x="1122" y="561"/>
                  </a:moveTo>
                  <a:lnTo>
                    <a:pt x="1122" y="949"/>
                  </a:lnTo>
                  <a:lnTo>
                    <a:pt x="629" y="1443"/>
                  </a:lnTo>
                  <a:lnTo>
                    <a:pt x="0" y="1443"/>
                  </a:lnTo>
                  <a:lnTo>
                    <a:pt x="0" y="0"/>
                  </a:lnTo>
                  <a:lnTo>
                    <a:pt x="561" y="0"/>
                  </a:lnTo>
                  <a:lnTo>
                    <a:pt x="561" y="161"/>
                  </a:lnTo>
                  <a:lnTo>
                    <a:pt x="160" y="161"/>
                  </a:lnTo>
                  <a:lnTo>
                    <a:pt x="160" y="1283"/>
                  </a:lnTo>
                  <a:lnTo>
                    <a:pt x="561" y="1283"/>
                  </a:lnTo>
                  <a:lnTo>
                    <a:pt x="962" y="880"/>
                  </a:lnTo>
                  <a:lnTo>
                    <a:pt x="962" y="561"/>
                  </a:lnTo>
                  <a:lnTo>
                    <a:pt x="1122" y="5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5" name="Freeform 155">
              <a:extLst>
                <a:ext uri="{FF2B5EF4-FFF2-40B4-BE49-F238E27FC236}">
                  <a16:creationId xmlns:a16="http://schemas.microsoft.com/office/drawing/2014/main" id="{B2B736CD-A907-4C59-B57A-C90E0ACB6B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0501" y="5470526"/>
              <a:ext cx="203200" cy="201613"/>
            </a:xfrm>
            <a:custGeom>
              <a:avLst/>
              <a:gdLst>
                <a:gd name="T0" fmla="*/ 160 w 561"/>
                <a:gd name="T1" fmla="*/ 401 h 561"/>
                <a:gd name="T2" fmla="*/ 160 w 561"/>
                <a:gd name="T3" fmla="*/ 241 h 561"/>
                <a:gd name="T4" fmla="*/ 321 w 561"/>
                <a:gd name="T5" fmla="*/ 401 h 561"/>
                <a:gd name="T6" fmla="*/ 160 w 561"/>
                <a:gd name="T7" fmla="*/ 401 h 561"/>
                <a:gd name="T8" fmla="*/ 160 w 561"/>
                <a:gd name="T9" fmla="*/ 0 h 561"/>
                <a:gd name="T10" fmla="*/ 0 w 561"/>
                <a:gd name="T11" fmla="*/ 0 h 561"/>
                <a:gd name="T12" fmla="*/ 0 w 561"/>
                <a:gd name="T13" fmla="*/ 481 h 561"/>
                <a:gd name="T14" fmla="*/ 80 w 561"/>
                <a:gd name="T15" fmla="*/ 561 h 561"/>
                <a:gd name="T16" fmla="*/ 561 w 561"/>
                <a:gd name="T17" fmla="*/ 561 h 561"/>
                <a:gd name="T18" fmla="*/ 561 w 561"/>
                <a:gd name="T19" fmla="*/ 401 h 561"/>
                <a:gd name="T20" fmla="*/ 160 w 561"/>
                <a:gd name="T21" fmla="*/ 0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1" h="561">
                  <a:moveTo>
                    <a:pt x="160" y="401"/>
                  </a:moveTo>
                  <a:lnTo>
                    <a:pt x="160" y="241"/>
                  </a:lnTo>
                  <a:lnTo>
                    <a:pt x="321" y="401"/>
                  </a:lnTo>
                  <a:lnTo>
                    <a:pt x="160" y="401"/>
                  </a:lnTo>
                  <a:close/>
                  <a:moveTo>
                    <a:pt x="160" y="0"/>
                  </a:moveTo>
                  <a:lnTo>
                    <a:pt x="0" y="0"/>
                  </a:lnTo>
                  <a:lnTo>
                    <a:pt x="0" y="481"/>
                  </a:lnTo>
                  <a:lnTo>
                    <a:pt x="80" y="561"/>
                  </a:lnTo>
                  <a:lnTo>
                    <a:pt x="561" y="561"/>
                  </a:lnTo>
                  <a:lnTo>
                    <a:pt x="561" y="401"/>
                  </a:lnTo>
                  <a:lnTo>
                    <a:pt x="1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6" name="Rectangle 156">
              <a:extLst>
                <a:ext uri="{FF2B5EF4-FFF2-40B4-BE49-F238E27FC236}">
                  <a16:creationId xmlns:a16="http://schemas.microsoft.com/office/drawing/2014/main" id="{9BE9261D-333A-43F8-970D-1C70FC45BD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4963" y="5672138"/>
              <a:ext cx="58738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7" name="Rectangle 157">
              <a:extLst>
                <a:ext uri="{FF2B5EF4-FFF2-40B4-BE49-F238E27FC236}">
                  <a16:creationId xmlns:a16="http://schemas.microsoft.com/office/drawing/2014/main" id="{050F19A0-B109-438E-A245-D5B3A5FA61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3351" y="5470526"/>
              <a:ext cx="5715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5" name="Group 434">
            <a:extLst>
              <a:ext uri="{FF2B5EF4-FFF2-40B4-BE49-F238E27FC236}">
                <a16:creationId xmlns:a16="http://schemas.microsoft.com/office/drawing/2014/main" id="{BBF321E6-A93A-4CDC-BAA9-CF66C5B67AAA}"/>
              </a:ext>
            </a:extLst>
          </p:cNvPr>
          <p:cNvGrpSpPr/>
          <p:nvPr/>
        </p:nvGrpSpPr>
        <p:grpSpPr>
          <a:xfrm>
            <a:off x="3487738" y="5470526"/>
            <a:ext cx="520701" cy="577850"/>
            <a:chOff x="3487738" y="5470526"/>
            <a:chExt cx="520701" cy="577850"/>
          </a:xfrm>
          <a:solidFill>
            <a:schemeClr val="accent1"/>
          </a:solidFill>
        </p:grpSpPr>
        <p:sp>
          <p:nvSpPr>
            <p:cNvPr id="318" name="Freeform 158">
              <a:extLst>
                <a:ext uri="{FF2B5EF4-FFF2-40B4-BE49-F238E27FC236}">
                  <a16:creationId xmlns:a16="http://schemas.microsoft.com/office/drawing/2014/main" id="{E9C610CF-F9BB-4F16-98E9-474AC4008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1726" y="5470526"/>
              <a:ext cx="214313" cy="577850"/>
            </a:xfrm>
            <a:custGeom>
              <a:avLst/>
              <a:gdLst>
                <a:gd name="T0" fmla="*/ 166 w 595"/>
                <a:gd name="T1" fmla="*/ 1604 h 1604"/>
                <a:gd name="T2" fmla="*/ 0 w 595"/>
                <a:gd name="T3" fmla="*/ 1604 h 1604"/>
                <a:gd name="T4" fmla="*/ 430 w 595"/>
                <a:gd name="T5" fmla="*/ 0 h 1604"/>
                <a:gd name="T6" fmla="*/ 595 w 595"/>
                <a:gd name="T7" fmla="*/ 0 h 1604"/>
                <a:gd name="T8" fmla="*/ 166 w 595"/>
                <a:gd name="T9" fmla="*/ 1604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5" h="1604">
                  <a:moveTo>
                    <a:pt x="166" y="1604"/>
                  </a:moveTo>
                  <a:lnTo>
                    <a:pt x="0" y="1604"/>
                  </a:lnTo>
                  <a:lnTo>
                    <a:pt x="430" y="0"/>
                  </a:lnTo>
                  <a:lnTo>
                    <a:pt x="595" y="0"/>
                  </a:lnTo>
                  <a:lnTo>
                    <a:pt x="166" y="16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9" name="Freeform 159">
              <a:extLst>
                <a:ext uri="{FF2B5EF4-FFF2-40B4-BE49-F238E27FC236}">
                  <a16:creationId xmlns:a16="http://schemas.microsoft.com/office/drawing/2014/main" id="{A2AEA19F-E7AF-448D-867B-0E642EC382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738" y="5614988"/>
              <a:ext cx="165100" cy="185738"/>
            </a:xfrm>
            <a:custGeom>
              <a:avLst/>
              <a:gdLst>
                <a:gd name="T0" fmla="*/ 247 w 457"/>
                <a:gd name="T1" fmla="*/ 0 h 518"/>
                <a:gd name="T2" fmla="*/ 457 w 457"/>
                <a:gd name="T3" fmla="*/ 1 h 518"/>
                <a:gd name="T4" fmla="*/ 23 w 457"/>
                <a:gd name="T5" fmla="*/ 518 h 518"/>
                <a:gd name="T6" fmla="*/ 0 w 457"/>
                <a:gd name="T7" fmla="*/ 492 h 518"/>
                <a:gd name="T8" fmla="*/ 1 w 457"/>
                <a:gd name="T9" fmla="*/ 294 h 518"/>
                <a:gd name="T10" fmla="*/ 247 w 457"/>
                <a:gd name="T11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7" h="518">
                  <a:moveTo>
                    <a:pt x="247" y="0"/>
                  </a:moveTo>
                  <a:lnTo>
                    <a:pt x="457" y="1"/>
                  </a:lnTo>
                  <a:lnTo>
                    <a:pt x="23" y="518"/>
                  </a:lnTo>
                  <a:lnTo>
                    <a:pt x="0" y="492"/>
                  </a:lnTo>
                  <a:lnTo>
                    <a:pt x="1" y="294"/>
                  </a:lnTo>
                  <a:lnTo>
                    <a:pt x="2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0" name="Freeform 160">
              <a:extLst>
                <a:ext uri="{FF2B5EF4-FFF2-40B4-BE49-F238E27FC236}">
                  <a16:creationId xmlns:a16="http://schemas.microsoft.com/office/drawing/2014/main" id="{72D8973C-346F-4814-8C1E-34A5D623A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7263" y="5756276"/>
              <a:ext cx="160338" cy="147638"/>
            </a:xfrm>
            <a:custGeom>
              <a:avLst/>
              <a:gdLst>
                <a:gd name="T0" fmla="*/ 238 w 447"/>
                <a:gd name="T1" fmla="*/ 409 h 409"/>
                <a:gd name="T2" fmla="*/ 447 w 447"/>
                <a:gd name="T3" fmla="*/ 409 h 409"/>
                <a:gd name="T4" fmla="*/ 104 w 447"/>
                <a:gd name="T5" fmla="*/ 0 h 409"/>
                <a:gd name="T6" fmla="*/ 0 w 447"/>
                <a:gd name="T7" fmla="*/ 125 h 409"/>
                <a:gd name="T8" fmla="*/ 238 w 447"/>
                <a:gd name="T9" fmla="*/ 409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7" h="409">
                  <a:moveTo>
                    <a:pt x="238" y="409"/>
                  </a:moveTo>
                  <a:lnTo>
                    <a:pt x="447" y="409"/>
                  </a:lnTo>
                  <a:lnTo>
                    <a:pt x="104" y="0"/>
                  </a:lnTo>
                  <a:lnTo>
                    <a:pt x="0" y="125"/>
                  </a:lnTo>
                  <a:lnTo>
                    <a:pt x="238" y="4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1" name="Freeform 161">
              <a:extLst>
                <a:ext uri="{FF2B5EF4-FFF2-40B4-BE49-F238E27FC236}">
                  <a16:creationId xmlns:a16="http://schemas.microsoft.com/office/drawing/2014/main" id="{4148FCDC-3FE5-4622-8469-8641C012F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4926" y="5716588"/>
              <a:ext cx="163513" cy="187325"/>
            </a:xfrm>
            <a:custGeom>
              <a:avLst/>
              <a:gdLst>
                <a:gd name="T0" fmla="*/ 210 w 456"/>
                <a:gd name="T1" fmla="*/ 518 h 518"/>
                <a:gd name="T2" fmla="*/ 0 w 456"/>
                <a:gd name="T3" fmla="*/ 518 h 518"/>
                <a:gd name="T4" fmla="*/ 434 w 456"/>
                <a:gd name="T5" fmla="*/ 0 h 518"/>
                <a:gd name="T6" fmla="*/ 456 w 456"/>
                <a:gd name="T7" fmla="*/ 26 h 518"/>
                <a:gd name="T8" fmla="*/ 456 w 456"/>
                <a:gd name="T9" fmla="*/ 225 h 518"/>
                <a:gd name="T10" fmla="*/ 210 w 456"/>
                <a:gd name="T11" fmla="*/ 518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6" h="518">
                  <a:moveTo>
                    <a:pt x="210" y="518"/>
                  </a:moveTo>
                  <a:lnTo>
                    <a:pt x="0" y="518"/>
                  </a:lnTo>
                  <a:lnTo>
                    <a:pt x="434" y="0"/>
                  </a:lnTo>
                  <a:lnTo>
                    <a:pt x="456" y="26"/>
                  </a:lnTo>
                  <a:lnTo>
                    <a:pt x="456" y="225"/>
                  </a:lnTo>
                  <a:lnTo>
                    <a:pt x="210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2" name="Freeform 162">
              <a:extLst>
                <a:ext uri="{FF2B5EF4-FFF2-40B4-BE49-F238E27FC236}">
                  <a16:creationId xmlns:a16="http://schemas.microsoft.com/office/drawing/2014/main" id="{431DB7F3-BD09-4C8D-B946-FD55D06BB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163" y="5614988"/>
              <a:ext cx="160338" cy="147638"/>
            </a:xfrm>
            <a:custGeom>
              <a:avLst/>
              <a:gdLst>
                <a:gd name="T0" fmla="*/ 209 w 447"/>
                <a:gd name="T1" fmla="*/ 1 h 409"/>
                <a:gd name="T2" fmla="*/ 0 w 447"/>
                <a:gd name="T3" fmla="*/ 0 h 409"/>
                <a:gd name="T4" fmla="*/ 343 w 447"/>
                <a:gd name="T5" fmla="*/ 409 h 409"/>
                <a:gd name="T6" fmla="*/ 447 w 447"/>
                <a:gd name="T7" fmla="*/ 284 h 409"/>
                <a:gd name="T8" fmla="*/ 209 w 447"/>
                <a:gd name="T9" fmla="*/ 1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7" h="409">
                  <a:moveTo>
                    <a:pt x="209" y="1"/>
                  </a:moveTo>
                  <a:lnTo>
                    <a:pt x="0" y="0"/>
                  </a:lnTo>
                  <a:lnTo>
                    <a:pt x="343" y="409"/>
                  </a:lnTo>
                  <a:lnTo>
                    <a:pt x="447" y="284"/>
                  </a:lnTo>
                  <a:lnTo>
                    <a:pt x="209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9" name="Group 428">
            <a:extLst>
              <a:ext uri="{FF2B5EF4-FFF2-40B4-BE49-F238E27FC236}">
                <a16:creationId xmlns:a16="http://schemas.microsoft.com/office/drawing/2014/main" id="{0B33F7A4-81C7-4079-989C-8F35E5B6FDE9}"/>
              </a:ext>
            </a:extLst>
          </p:cNvPr>
          <p:cNvGrpSpPr/>
          <p:nvPr/>
        </p:nvGrpSpPr>
        <p:grpSpPr>
          <a:xfrm>
            <a:off x="4984751" y="3436938"/>
            <a:ext cx="577850" cy="577851"/>
            <a:chOff x="4984751" y="3436938"/>
            <a:chExt cx="577850" cy="577851"/>
          </a:xfrm>
          <a:solidFill>
            <a:schemeClr val="accent1"/>
          </a:solidFill>
        </p:grpSpPr>
        <p:sp>
          <p:nvSpPr>
            <p:cNvPr id="323" name="Freeform 163">
              <a:extLst>
                <a:ext uri="{FF2B5EF4-FFF2-40B4-BE49-F238E27FC236}">
                  <a16:creationId xmlns:a16="http://schemas.microsoft.com/office/drawing/2014/main" id="{7D1B6FE8-894A-4EF2-B841-D45294A35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4751" y="3436938"/>
              <a:ext cx="547688" cy="461963"/>
            </a:xfrm>
            <a:custGeom>
              <a:avLst/>
              <a:gdLst>
                <a:gd name="T0" fmla="*/ 466 w 1523"/>
                <a:gd name="T1" fmla="*/ 882 h 1283"/>
                <a:gd name="T2" fmla="*/ 306 w 1523"/>
                <a:gd name="T3" fmla="*/ 0 h 1283"/>
                <a:gd name="T4" fmla="*/ 0 w 1523"/>
                <a:gd name="T5" fmla="*/ 0 h 1283"/>
                <a:gd name="T6" fmla="*/ 0 w 1523"/>
                <a:gd name="T7" fmla="*/ 160 h 1283"/>
                <a:gd name="T8" fmla="*/ 176 w 1523"/>
                <a:gd name="T9" fmla="*/ 160 h 1283"/>
                <a:gd name="T10" fmla="*/ 303 w 1523"/>
                <a:gd name="T11" fmla="*/ 880 h 1283"/>
                <a:gd name="T12" fmla="*/ 249 w 1523"/>
                <a:gd name="T13" fmla="*/ 1283 h 1283"/>
                <a:gd name="T14" fmla="*/ 1443 w 1523"/>
                <a:gd name="T15" fmla="*/ 1283 h 1283"/>
                <a:gd name="T16" fmla="*/ 1523 w 1523"/>
                <a:gd name="T17" fmla="*/ 1202 h 1283"/>
                <a:gd name="T18" fmla="*/ 1521 w 1523"/>
                <a:gd name="T19" fmla="*/ 1122 h 1283"/>
                <a:gd name="T20" fmla="*/ 430 w 1523"/>
                <a:gd name="T21" fmla="*/ 1125 h 1283"/>
                <a:gd name="T22" fmla="*/ 466 w 1523"/>
                <a:gd name="T23" fmla="*/ 882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23" h="1283">
                  <a:moveTo>
                    <a:pt x="466" y="882"/>
                  </a:moveTo>
                  <a:lnTo>
                    <a:pt x="306" y="0"/>
                  </a:lnTo>
                  <a:lnTo>
                    <a:pt x="0" y="0"/>
                  </a:lnTo>
                  <a:lnTo>
                    <a:pt x="0" y="160"/>
                  </a:lnTo>
                  <a:lnTo>
                    <a:pt x="176" y="160"/>
                  </a:lnTo>
                  <a:lnTo>
                    <a:pt x="303" y="880"/>
                  </a:lnTo>
                  <a:lnTo>
                    <a:pt x="249" y="1283"/>
                  </a:lnTo>
                  <a:lnTo>
                    <a:pt x="1443" y="1283"/>
                  </a:lnTo>
                  <a:lnTo>
                    <a:pt x="1523" y="1202"/>
                  </a:lnTo>
                  <a:lnTo>
                    <a:pt x="1521" y="1122"/>
                  </a:lnTo>
                  <a:lnTo>
                    <a:pt x="430" y="1125"/>
                  </a:lnTo>
                  <a:lnTo>
                    <a:pt x="466" y="8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4" name="Freeform 164">
              <a:extLst>
                <a:ext uri="{FF2B5EF4-FFF2-40B4-BE49-F238E27FC236}">
                  <a16:creationId xmlns:a16="http://schemas.microsoft.com/office/drawing/2014/main" id="{506CFAD9-FAEA-45AB-9B43-46AACF2C7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0638" y="3522663"/>
              <a:ext cx="461963" cy="231775"/>
            </a:xfrm>
            <a:custGeom>
              <a:avLst/>
              <a:gdLst>
                <a:gd name="T0" fmla="*/ 0 w 1283"/>
                <a:gd name="T1" fmla="*/ 0 h 642"/>
                <a:gd name="T2" fmla="*/ 1203 w 1283"/>
                <a:gd name="T3" fmla="*/ 0 h 642"/>
                <a:gd name="T4" fmla="*/ 1283 w 1283"/>
                <a:gd name="T5" fmla="*/ 80 h 642"/>
                <a:gd name="T6" fmla="*/ 1283 w 1283"/>
                <a:gd name="T7" fmla="*/ 561 h 642"/>
                <a:gd name="T8" fmla="*/ 1203 w 1283"/>
                <a:gd name="T9" fmla="*/ 642 h 642"/>
                <a:gd name="T10" fmla="*/ 272 w 1283"/>
                <a:gd name="T11" fmla="*/ 642 h 642"/>
                <a:gd name="T12" fmla="*/ 241 w 1283"/>
                <a:gd name="T13" fmla="*/ 481 h 642"/>
                <a:gd name="T14" fmla="*/ 1123 w 1283"/>
                <a:gd name="T15" fmla="*/ 481 h 642"/>
                <a:gd name="T16" fmla="*/ 1123 w 1283"/>
                <a:gd name="T17" fmla="*/ 161 h 642"/>
                <a:gd name="T18" fmla="*/ 0 w 1283"/>
                <a:gd name="T19" fmla="*/ 161 h 642"/>
                <a:gd name="T20" fmla="*/ 0 w 1283"/>
                <a:gd name="T21" fmla="*/ 0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3" h="642">
                  <a:moveTo>
                    <a:pt x="0" y="0"/>
                  </a:moveTo>
                  <a:lnTo>
                    <a:pt x="1203" y="0"/>
                  </a:lnTo>
                  <a:lnTo>
                    <a:pt x="1283" y="80"/>
                  </a:lnTo>
                  <a:lnTo>
                    <a:pt x="1283" y="561"/>
                  </a:lnTo>
                  <a:lnTo>
                    <a:pt x="1203" y="642"/>
                  </a:lnTo>
                  <a:lnTo>
                    <a:pt x="272" y="642"/>
                  </a:lnTo>
                  <a:lnTo>
                    <a:pt x="241" y="481"/>
                  </a:lnTo>
                  <a:lnTo>
                    <a:pt x="1123" y="481"/>
                  </a:lnTo>
                  <a:lnTo>
                    <a:pt x="1123" y="161"/>
                  </a:lnTo>
                  <a:lnTo>
                    <a:pt x="0" y="16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5" name="Oval 165">
              <a:extLst>
                <a:ext uri="{FF2B5EF4-FFF2-40B4-BE49-F238E27FC236}">
                  <a16:creationId xmlns:a16="http://schemas.microsoft.com/office/drawing/2014/main" id="{6AC4DD2C-9BAC-43CE-B707-DFDA8D04C1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0638" y="3927476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6" name="Oval 166">
              <a:extLst>
                <a:ext uri="{FF2B5EF4-FFF2-40B4-BE49-F238E27FC236}">
                  <a16:creationId xmlns:a16="http://schemas.microsoft.com/office/drawing/2014/main" id="{CBDF0662-CCC5-4B19-A0CF-1FDD67293F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8138" y="3927476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7" name="Freeform 167">
              <a:extLst>
                <a:ext uri="{FF2B5EF4-FFF2-40B4-BE49-F238E27FC236}">
                  <a16:creationId xmlns:a16="http://schemas.microsoft.com/office/drawing/2014/main" id="{A2D9CFFF-DFA6-42AE-971B-9CB2BDD3D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0163" y="3522663"/>
              <a:ext cx="71438" cy="58738"/>
            </a:xfrm>
            <a:custGeom>
              <a:avLst/>
              <a:gdLst>
                <a:gd name="T0" fmla="*/ 196 w 196"/>
                <a:gd name="T1" fmla="*/ 161 h 161"/>
                <a:gd name="T2" fmla="*/ 196 w 196"/>
                <a:gd name="T3" fmla="*/ 0 h 161"/>
                <a:gd name="T4" fmla="*/ 0 w 196"/>
                <a:gd name="T5" fmla="*/ 0 h 161"/>
                <a:gd name="T6" fmla="*/ 30 w 196"/>
                <a:gd name="T7" fmla="*/ 161 h 161"/>
                <a:gd name="T8" fmla="*/ 196 w 196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161">
                  <a:moveTo>
                    <a:pt x="196" y="161"/>
                  </a:moveTo>
                  <a:lnTo>
                    <a:pt x="196" y="0"/>
                  </a:lnTo>
                  <a:lnTo>
                    <a:pt x="0" y="0"/>
                  </a:lnTo>
                  <a:lnTo>
                    <a:pt x="30" y="161"/>
                  </a:lnTo>
                  <a:lnTo>
                    <a:pt x="196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1" name="Group 430">
            <a:extLst>
              <a:ext uri="{FF2B5EF4-FFF2-40B4-BE49-F238E27FC236}">
                <a16:creationId xmlns:a16="http://schemas.microsoft.com/office/drawing/2014/main" id="{7FFCFAC6-E7C5-4F3D-AC61-D286D595A578}"/>
              </a:ext>
            </a:extLst>
          </p:cNvPr>
          <p:cNvGrpSpPr/>
          <p:nvPr/>
        </p:nvGrpSpPr>
        <p:grpSpPr>
          <a:xfrm>
            <a:off x="4367213" y="4452938"/>
            <a:ext cx="288926" cy="577850"/>
            <a:chOff x="4367213" y="4452938"/>
            <a:chExt cx="288926" cy="577850"/>
          </a:xfrm>
          <a:solidFill>
            <a:schemeClr val="accent1"/>
          </a:solidFill>
        </p:grpSpPr>
        <p:sp>
          <p:nvSpPr>
            <p:cNvPr id="328" name="Rectangle 168">
              <a:extLst>
                <a:ext uri="{FF2B5EF4-FFF2-40B4-BE49-F238E27FC236}">
                  <a16:creationId xmlns:a16="http://schemas.microsoft.com/office/drawing/2014/main" id="{2877778B-38CD-4B24-8B68-143260C258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2938" y="4452938"/>
              <a:ext cx="115888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9" name="Freeform 169">
              <a:extLst>
                <a:ext uri="{FF2B5EF4-FFF2-40B4-BE49-F238E27FC236}">
                  <a16:creationId xmlns:a16="http://schemas.microsoft.com/office/drawing/2014/main" id="{BC88ABA6-42B5-497A-B066-6ADE5A6C7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7213" y="4973638"/>
              <a:ext cx="288925" cy="57150"/>
            </a:xfrm>
            <a:custGeom>
              <a:avLst/>
              <a:gdLst>
                <a:gd name="T0" fmla="*/ 0 w 802"/>
                <a:gd name="T1" fmla="*/ 0 h 160"/>
                <a:gd name="T2" fmla="*/ 0 w 802"/>
                <a:gd name="T3" fmla="*/ 80 h 160"/>
                <a:gd name="T4" fmla="*/ 80 w 802"/>
                <a:gd name="T5" fmla="*/ 160 h 160"/>
                <a:gd name="T6" fmla="*/ 721 w 802"/>
                <a:gd name="T7" fmla="*/ 160 h 160"/>
                <a:gd name="T8" fmla="*/ 802 w 802"/>
                <a:gd name="T9" fmla="*/ 80 h 160"/>
                <a:gd name="T10" fmla="*/ 802 w 802"/>
                <a:gd name="T11" fmla="*/ 0 h 160"/>
                <a:gd name="T12" fmla="*/ 0 w 802"/>
                <a:gd name="T13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2" h="160">
                  <a:moveTo>
                    <a:pt x="0" y="0"/>
                  </a:moveTo>
                  <a:lnTo>
                    <a:pt x="0" y="80"/>
                  </a:lnTo>
                  <a:lnTo>
                    <a:pt x="80" y="160"/>
                  </a:lnTo>
                  <a:lnTo>
                    <a:pt x="721" y="160"/>
                  </a:lnTo>
                  <a:lnTo>
                    <a:pt x="802" y="80"/>
                  </a:lnTo>
                  <a:lnTo>
                    <a:pt x="80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30" name="Freeform 170">
              <a:extLst>
                <a:ext uri="{FF2B5EF4-FFF2-40B4-BE49-F238E27FC236}">
                  <a16:creationId xmlns:a16="http://schemas.microsoft.com/office/drawing/2014/main" id="{5A00AE36-26CC-4F46-BBB9-A540B927F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7213" y="4540251"/>
              <a:ext cx="288925" cy="404813"/>
            </a:xfrm>
            <a:custGeom>
              <a:avLst/>
              <a:gdLst>
                <a:gd name="T0" fmla="*/ 588 w 802"/>
                <a:gd name="T1" fmla="*/ 29 h 1123"/>
                <a:gd name="T2" fmla="*/ 534 w 802"/>
                <a:gd name="T3" fmla="*/ 0 h 1123"/>
                <a:gd name="T4" fmla="*/ 481 w 802"/>
                <a:gd name="T5" fmla="*/ 0 h 1123"/>
                <a:gd name="T6" fmla="*/ 321 w 802"/>
                <a:gd name="T7" fmla="*/ 0 h 1123"/>
                <a:gd name="T8" fmla="*/ 267 w 802"/>
                <a:gd name="T9" fmla="*/ 0 h 1123"/>
                <a:gd name="T10" fmla="*/ 214 w 802"/>
                <a:gd name="T11" fmla="*/ 29 h 1123"/>
                <a:gd name="T12" fmla="*/ 0 w 802"/>
                <a:gd name="T13" fmla="*/ 380 h 1123"/>
                <a:gd name="T14" fmla="*/ 0 w 802"/>
                <a:gd name="T15" fmla="*/ 401 h 1123"/>
                <a:gd name="T16" fmla="*/ 0 w 802"/>
                <a:gd name="T17" fmla="*/ 1123 h 1123"/>
                <a:gd name="T18" fmla="*/ 160 w 802"/>
                <a:gd name="T19" fmla="*/ 1123 h 1123"/>
                <a:gd name="T20" fmla="*/ 160 w 802"/>
                <a:gd name="T21" fmla="*/ 401 h 1123"/>
                <a:gd name="T22" fmla="*/ 321 w 802"/>
                <a:gd name="T23" fmla="*/ 161 h 1123"/>
                <a:gd name="T24" fmla="*/ 481 w 802"/>
                <a:gd name="T25" fmla="*/ 161 h 1123"/>
                <a:gd name="T26" fmla="*/ 641 w 802"/>
                <a:gd name="T27" fmla="*/ 401 h 1123"/>
                <a:gd name="T28" fmla="*/ 641 w 802"/>
                <a:gd name="T29" fmla="*/ 1123 h 1123"/>
                <a:gd name="T30" fmla="*/ 802 w 802"/>
                <a:gd name="T31" fmla="*/ 1123 h 1123"/>
                <a:gd name="T32" fmla="*/ 802 w 802"/>
                <a:gd name="T33" fmla="*/ 401 h 1123"/>
                <a:gd name="T34" fmla="*/ 802 w 802"/>
                <a:gd name="T35" fmla="*/ 380 h 1123"/>
                <a:gd name="T36" fmla="*/ 588 w 802"/>
                <a:gd name="T37" fmla="*/ 29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02" h="1123">
                  <a:moveTo>
                    <a:pt x="588" y="29"/>
                  </a:moveTo>
                  <a:lnTo>
                    <a:pt x="534" y="0"/>
                  </a:lnTo>
                  <a:lnTo>
                    <a:pt x="481" y="0"/>
                  </a:lnTo>
                  <a:lnTo>
                    <a:pt x="321" y="0"/>
                  </a:lnTo>
                  <a:lnTo>
                    <a:pt x="267" y="0"/>
                  </a:lnTo>
                  <a:lnTo>
                    <a:pt x="214" y="29"/>
                  </a:lnTo>
                  <a:lnTo>
                    <a:pt x="0" y="380"/>
                  </a:lnTo>
                  <a:lnTo>
                    <a:pt x="0" y="401"/>
                  </a:lnTo>
                  <a:lnTo>
                    <a:pt x="0" y="1123"/>
                  </a:lnTo>
                  <a:lnTo>
                    <a:pt x="160" y="1123"/>
                  </a:lnTo>
                  <a:lnTo>
                    <a:pt x="160" y="401"/>
                  </a:lnTo>
                  <a:lnTo>
                    <a:pt x="321" y="161"/>
                  </a:lnTo>
                  <a:lnTo>
                    <a:pt x="481" y="161"/>
                  </a:lnTo>
                  <a:lnTo>
                    <a:pt x="641" y="401"/>
                  </a:lnTo>
                  <a:lnTo>
                    <a:pt x="641" y="1123"/>
                  </a:lnTo>
                  <a:lnTo>
                    <a:pt x="802" y="1123"/>
                  </a:lnTo>
                  <a:lnTo>
                    <a:pt x="802" y="401"/>
                  </a:lnTo>
                  <a:lnTo>
                    <a:pt x="802" y="380"/>
                  </a:lnTo>
                  <a:lnTo>
                    <a:pt x="58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31" name="Rectangle 171">
              <a:extLst>
                <a:ext uri="{FF2B5EF4-FFF2-40B4-BE49-F238E27FC236}">
                  <a16:creationId xmlns:a16="http://schemas.microsoft.com/office/drawing/2014/main" id="{0B8E3658-A8FF-4615-AC2A-44A3301F99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7213" y="4857751"/>
              <a:ext cx="57150" cy="873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32" name="Rectangle 172">
              <a:extLst>
                <a:ext uri="{FF2B5EF4-FFF2-40B4-BE49-F238E27FC236}">
                  <a16:creationId xmlns:a16="http://schemas.microsoft.com/office/drawing/2014/main" id="{A66A90D4-9668-4388-A159-1DF48372B9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7401" y="4857751"/>
              <a:ext cx="58738" cy="873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19" name="Group 418">
            <a:extLst>
              <a:ext uri="{FF2B5EF4-FFF2-40B4-BE49-F238E27FC236}">
                <a16:creationId xmlns:a16="http://schemas.microsoft.com/office/drawing/2014/main" id="{CF4461F2-A836-4EBD-B1C9-72EE0C31F77F}"/>
              </a:ext>
            </a:extLst>
          </p:cNvPr>
          <p:cNvGrpSpPr/>
          <p:nvPr/>
        </p:nvGrpSpPr>
        <p:grpSpPr>
          <a:xfrm>
            <a:off x="7272338" y="4525963"/>
            <a:ext cx="568325" cy="449263"/>
            <a:chOff x="7272338" y="4525963"/>
            <a:chExt cx="568325" cy="449263"/>
          </a:xfrm>
          <a:solidFill>
            <a:schemeClr val="accent1"/>
          </a:solidFill>
        </p:grpSpPr>
        <p:sp>
          <p:nvSpPr>
            <p:cNvPr id="333" name="Freeform 173">
              <a:extLst>
                <a:ext uri="{FF2B5EF4-FFF2-40B4-BE49-F238E27FC236}">
                  <a16:creationId xmlns:a16="http://schemas.microsoft.com/office/drawing/2014/main" id="{B7E41245-4D4B-4D1D-A245-01356A8F77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2338" y="4525963"/>
              <a:ext cx="568325" cy="449263"/>
            </a:xfrm>
            <a:custGeom>
              <a:avLst/>
              <a:gdLst>
                <a:gd name="T0" fmla="*/ 594 w 1579"/>
                <a:gd name="T1" fmla="*/ 153 h 1250"/>
                <a:gd name="T2" fmla="*/ 663 w 1579"/>
                <a:gd name="T3" fmla="*/ 152 h 1250"/>
                <a:gd name="T4" fmla="*/ 793 w 1579"/>
                <a:gd name="T5" fmla="*/ 288 h 1250"/>
                <a:gd name="T6" fmla="*/ 593 w 1579"/>
                <a:gd name="T7" fmla="*/ 288 h 1250"/>
                <a:gd name="T8" fmla="*/ 594 w 1579"/>
                <a:gd name="T9" fmla="*/ 153 h 1250"/>
                <a:gd name="T10" fmla="*/ 1386 w 1579"/>
                <a:gd name="T11" fmla="*/ 288 h 1250"/>
                <a:gd name="T12" fmla="*/ 1386 w 1579"/>
                <a:gd name="T13" fmla="*/ 288 h 1250"/>
                <a:gd name="T14" fmla="*/ 1005 w 1579"/>
                <a:gd name="T15" fmla="*/ 288 h 1250"/>
                <a:gd name="T16" fmla="*/ 757 w 1579"/>
                <a:gd name="T17" fmla="*/ 26 h 1250"/>
                <a:gd name="T18" fmla="*/ 697 w 1579"/>
                <a:gd name="T19" fmla="*/ 0 h 1250"/>
                <a:gd name="T20" fmla="*/ 439 w 1579"/>
                <a:gd name="T21" fmla="*/ 0 h 1250"/>
                <a:gd name="T22" fmla="*/ 438 w 1579"/>
                <a:gd name="T23" fmla="*/ 82 h 1250"/>
                <a:gd name="T24" fmla="*/ 438 w 1579"/>
                <a:gd name="T25" fmla="*/ 288 h 1250"/>
                <a:gd name="T26" fmla="*/ 369 w 1579"/>
                <a:gd name="T27" fmla="*/ 288 h 1250"/>
                <a:gd name="T28" fmla="*/ 0 w 1579"/>
                <a:gd name="T29" fmla="*/ 45 h 1250"/>
                <a:gd name="T30" fmla="*/ 2 w 1579"/>
                <a:gd name="T31" fmla="*/ 200 h 1250"/>
                <a:gd name="T32" fmla="*/ 2 w 1579"/>
                <a:gd name="T33" fmla="*/ 688 h 1250"/>
                <a:gd name="T34" fmla="*/ 85 w 1579"/>
                <a:gd name="T35" fmla="*/ 771 h 1250"/>
                <a:gd name="T36" fmla="*/ 438 w 1579"/>
                <a:gd name="T37" fmla="*/ 771 h 1250"/>
                <a:gd name="T38" fmla="*/ 438 w 1579"/>
                <a:gd name="T39" fmla="*/ 918 h 1250"/>
                <a:gd name="T40" fmla="*/ 603 w 1579"/>
                <a:gd name="T41" fmla="*/ 918 h 1250"/>
                <a:gd name="T42" fmla="*/ 603 w 1579"/>
                <a:gd name="T43" fmla="*/ 688 h 1250"/>
                <a:gd name="T44" fmla="*/ 520 w 1579"/>
                <a:gd name="T45" fmla="*/ 606 h 1250"/>
                <a:gd name="T46" fmla="*/ 161 w 1579"/>
                <a:gd name="T47" fmla="*/ 605 h 1250"/>
                <a:gd name="T48" fmla="*/ 161 w 1579"/>
                <a:gd name="T49" fmla="*/ 345 h 1250"/>
                <a:gd name="T50" fmla="*/ 299 w 1579"/>
                <a:gd name="T51" fmla="*/ 439 h 1250"/>
                <a:gd name="T52" fmla="*/ 344 w 1579"/>
                <a:gd name="T53" fmla="*/ 453 h 1250"/>
                <a:gd name="T54" fmla="*/ 1320 w 1579"/>
                <a:gd name="T55" fmla="*/ 453 h 1250"/>
                <a:gd name="T56" fmla="*/ 1407 w 1579"/>
                <a:gd name="T57" fmla="*/ 591 h 1250"/>
                <a:gd name="T58" fmla="*/ 1372 w 1579"/>
                <a:gd name="T59" fmla="*/ 651 h 1250"/>
                <a:gd name="T60" fmla="*/ 983 w 1579"/>
                <a:gd name="T61" fmla="*/ 651 h 1250"/>
                <a:gd name="T62" fmla="*/ 915 w 1579"/>
                <a:gd name="T63" fmla="*/ 686 h 1250"/>
                <a:gd name="T64" fmla="*/ 648 w 1579"/>
                <a:gd name="T65" fmla="*/ 1071 h 1250"/>
                <a:gd name="T66" fmla="*/ 610 w 1579"/>
                <a:gd name="T67" fmla="*/ 1031 h 1250"/>
                <a:gd name="T68" fmla="*/ 450 w 1579"/>
                <a:gd name="T69" fmla="*/ 1032 h 1250"/>
                <a:gd name="T70" fmla="*/ 643 w 1579"/>
                <a:gd name="T71" fmla="*/ 1250 h 1250"/>
                <a:gd name="T72" fmla="*/ 744 w 1579"/>
                <a:gd name="T73" fmla="*/ 1221 h 1250"/>
                <a:gd name="T74" fmla="*/ 1026 w 1579"/>
                <a:gd name="T75" fmla="*/ 815 h 1250"/>
                <a:gd name="T76" fmla="*/ 1401 w 1579"/>
                <a:gd name="T77" fmla="*/ 815 h 1250"/>
                <a:gd name="T78" fmla="*/ 1444 w 1579"/>
                <a:gd name="T79" fmla="*/ 803 h 1250"/>
                <a:gd name="T80" fmla="*/ 1571 w 1579"/>
                <a:gd name="T81" fmla="*/ 608 h 1250"/>
                <a:gd name="T82" fmla="*/ 1386 w 1579"/>
                <a:gd name="T83" fmla="*/ 288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79" h="1250">
                  <a:moveTo>
                    <a:pt x="594" y="153"/>
                  </a:moveTo>
                  <a:lnTo>
                    <a:pt x="663" y="152"/>
                  </a:lnTo>
                  <a:lnTo>
                    <a:pt x="793" y="288"/>
                  </a:lnTo>
                  <a:lnTo>
                    <a:pt x="593" y="288"/>
                  </a:lnTo>
                  <a:lnTo>
                    <a:pt x="594" y="153"/>
                  </a:lnTo>
                  <a:close/>
                  <a:moveTo>
                    <a:pt x="1386" y="288"/>
                  </a:moveTo>
                  <a:lnTo>
                    <a:pt x="1386" y="288"/>
                  </a:lnTo>
                  <a:lnTo>
                    <a:pt x="1005" y="288"/>
                  </a:lnTo>
                  <a:lnTo>
                    <a:pt x="757" y="26"/>
                  </a:lnTo>
                  <a:lnTo>
                    <a:pt x="697" y="0"/>
                  </a:lnTo>
                  <a:lnTo>
                    <a:pt x="439" y="0"/>
                  </a:lnTo>
                  <a:lnTo>
                    <a:pt x="438" y="82"/>
                  </a:lnTo>
                  <a:lnTo>
                    <a:pt x="438" y="288"/>
                  </a:lnTo>
                  <a:lnTo>
                    <a:pt x="369" y="288"/>
                  </a:lnTo>
                  <a:lnTo>
                    <a:pt x="0" y="45"/>
                  </a:lnTo>
                  <a:lnTo>
                    <a:pt x="2" y="200"/>
                  </a:lnTo>
                  <a:lnTo>
                    <a:pt x="2" y="688"/>
                  </a:lnTo>
                  <a:lnTo>
                    <a:pt x="85" y="771"/>
                  </a:lnTo>
                  <a:lnTo>
                    <a:pt x="438" y="771"/>
                  </a:lnTo>
                  <a:lnTo>
                    <a:pt x="438" y="918"/>
                  </a:lnTo>
                  <a:lnTo>
                    <a:pt x="603" y="918"/>
                  </a:lnTo>
                  <a:lnTo>
                    <a:pt x="603" y="688"/>
                  </a:lnTo>
                  <a:lnTo>
                    <a:pt x="520" y="606"/>
                  </a:lnTo>
                  <a:lnTo>
                    <a:pt x="161" y="605"/>
                  </a:lnTo>
                  <a:lnTo>
                    <a:pt x="161" y="345"/>
                  </a:lnTo>
                  <a:lnTo>
                    <a:pt x="299" y="439"/>
                  </a:lnTo>
                  <a:lnTo>
                    <a:pt x="344" y="453"/>
                  </a:lnTo>
                  <a:lnTo>
                    <a:pt x="1320" y="453"/>
                  </a:lnTo>
                  <a:cubicBezTo>
                    <a:pt x="1385" y="523"/>
                    <a:pt x="1410" y="558"/>
                    <a:pt x="1407" y="591"/>
                  </a:cubicBezTo>
                  <a:cubicBezTo>
                    <a:pt x="1405" y="616"/>
                    <a:pt x="1386" y="638"/>
                    <a:pt x="1372" y="651"/>
                  </a:cubicBezTo>
                  <a:lnTo>
                    <a:pt x="983" y="651"/>
                  </a:lnTo>
                  <a:lnTo>
                    <a:pt x="915" y="686"/>
                  </a:lnTo>
                  <a:lnTo>
                    <a:pt x="648" y="1071"/>
                  </a:lnTo>
                  <a:lnTo>
                    <a:pt x="610" y="1031"/>
                  </a:lnTo>
                  <a:lnTo>
                    <a:pt x="450" y="1032"/>
                  </a:lnTo>
                  <a:lnTo>
                    <a:pt x="643" y="1250"/>
                  </a:lnTo>
                  <a:lnTo>
                    <a:pt x="744" y="1221"/>
                  </a:lnTo>
                  <a:lnTo>
                    <a:pt x="1026" y="815"/>
                  </a:lnTo>
                  <a:lnTo>
                    <a:pt x="1401" y="815"/>
                  </a:lnTo>
                  <a:lnTo>
                    <a:pt x="1444" y="803"/>
                  </a:lnTo>
                  <a:cubicBezTo>
                    <a:pt x="1456" y="796"/>
                    <a:pt x="1559" y="729"/>
                    <a:pt x="1571" y="608"/>
                  </a:cubicBezTo>
                  <a:cubicBezTo>
                    <a:pt x="1579" y="523"/>
                    <a:pt x="1537" y="440"/>
                    <a:pt x="1386" y="2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34" name="Freeform 174">
              <a:extLst>
                <a:ext uri="{FF2B5EF4-FFF2-40B4-BE49-F238E27FC236}">
                  <a16:creationId xmlns:a16="http://schemas.microsoft.com/office/drawing/2014/main" id="{C6260899-85C5-4337-869E-353758B95C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463" y="4535488"/>
              <a:ext cx="123825" cy="93663"/>
            </a:xfrm>
            <a:custGeom>
              <a:avLst/>
              <a:gdLst>
                <a:gd name="T0" fmla="*/ 0 w 342"/>
                <a:gd name="T1" fmla="*/ 126 h 262"/>
                <a:gd name="T2" fmla="*/ 125 w 342"/>
                <a:gd name="T3" fmla="*/ 262 h 262"/>
                <a:gd name="T4" fmla="*/ 342 w 342"/>
                <a:gd name="T5" fmla="*/ 262 h 262"/>
                <a:gd name="T6" fmla="*/ 94 w 342"/>
                <a:gd name="T7" fmla="*/ 0 h 262"/>
                <a:gd name="T8" fmla="*/ 0 w 342"/>
                <a:gd name="T9" fmla="*/ 126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" h="262">
                  <a:moveTo>
                    <a:pt x="0" y="126"/>
                  </a:moveTo>
                  <a:lnTo>
                    <a:pt x="125" y="262"/>
                  </a:lnTo>
                  <a:lnTo>
                    <a:pt x="342" y="262"/>
                  </a:lnTo>
                  <a:lnTo>
                    <a:pt x="94" y="0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4" name="Group 423">
            <a:extLst>
              <a:ext uri="{FF2B5EF4-FFF2-40B4-BE49-F238E27FC236}">
                <a16:creationId xmlns:a16="http://schemas.microsoft.com/office/drawing/2014/main" id="{49579008-3773-416A-912D-D1E0502872CD}"/>
              </a:ext>
            </a:extLst>
          </p:cNvPr>
          <p:cNvGrpSpPr/>
          <p:nvPr/>
        </p:nvGrpSpPr>
        <p:grpSpPr>
          <a:xfrm>
            <a:off x="5746751" y="3436938"/>
            <a:ext cx="577850" cy="577851"/>
            <a:chOff x="5746751" y="3436938"/>
            <a:chExt cx="577850" cy="577851"/>
          </a:xfrm>
          <a:solidFill>
            <a:schemeClr val="accent1"/>
          </a:solidFill>
        </p:grpSpPr>
        <p:sp>
          <p:nvSpPr>
            <p:cNvPr id="335" name="Freeform 175">
              <a:extLst>
                <a:ext uri="{FF2B5EF4-FFF2-40B4-BE49-F238E27FC236}">
                  <a16:creationId xmlns:a16="http://schemas.microsoft.com/office/drawing/2014/main" id="{1B9435BB-D0CE-4A4E-AB4B-BFA4A6E968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5513" y="3436938"/>
              <a:ext cx="312738" cy="325438"/>
            </a:xfrm>
            <a:custGeom>
              <a:avLst/>
              <a:gdLst>
                <a:gd name="T0" fmla="*/ 0 w 866"/>
                <a:gd name="T1" fmla="*/ 0 h 905"/>
                <a:gd name="T2" fmla="*/ 0 w 866"/>
                <a:gd name="T3" fmla="*/ 905 h 905"/>
                <a:gd name="T4" fmla="*/ 866 w 866"/>
                <a:gd name="T5" fmla="*/ 624 h 905"/>
                <a:gd name="T6" fmla="*/ 845 w 866"/>
                <a:gd name="T7" fmla="*/ 555 h 905"/>
                <a:gd name="T8" fmla="*/ 75 w 866"/>
                <a:gd name="T9" fmla="*/ 0 h 905"/>
                <a:gd name="T10" fmla="*/ 0 w 866"/>
                <a:gd name="T11" fmla="*/ 0 h 905"/>
                <a:gd name="T12" fmla="*/ 161 w 866"/>
                <a:gd name="T13" fmla="*/ 160 h 905"/>
                <a:gd name="T14" fmla="*/ 662 w 866"/>
                <a:gd name="T15" fmla="*/ 532 h 905"/>
                <a:gd name="T16" fmla="*/ 165 w 866"/>
                <a:gd name="T17" fmla="*/ 694 h 905"/>
                <a:gd name="T18" fmla="*/ 161 w 866"/>
                <a:gd name="T19" fmla="*/ 160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6" h="905">
                  <a:moveTo>
                    <a:pt x="0" y="0"/>
                  </a:moveTo>
                  <a:lnTo>
                    <a:pt x="0" y="905"/>
                  </a:lnTo>
                  <a:lnTo>
                    <a:pt x="866" y="624"/>
                  </a:lnTo>
                  <a:lnTo>
                    <a:pt x="845" y="555"/>
                  </a:lnTo>
                  <a:cubicBezTo>
                    <a:pt x="735" y="218"/>
                    <a:pt x="429" y="0"/>
                    <a:pt x="75" y="0"/>
                  </a:cubicBezTo>
                  <a:lnTo>
                    <a:pt x="0" y="0"/>
                  </a:lnTo>
                  <a:close/>
                  <a:moveTo>
                    <a:pt x="161" y="160"/>
                  </a:moveTo>
                  <a:cubicBezTo>
                    <a:pt x="385" y="196"/>
                    <a:pt x="567" y="321"/>
                    <a:pt x="662" y="532"/>
                  </a:cubicBezTo>
                  <a:lnTo>
                    <a:pt x="165" y="694"/>
                  </a:lnTo>
                  <a:lnTo>
                    <a:pt x="161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36" name="Freeform 176">
              <a:extLst>
                <a:ext uri="{FF2B5EF4-FFF2-40B4-BE49-F238E27FC236}">
                  <a16:creationId xmlns:a16="http://schemas.microsoft.com/office/drawing/2014/main" id="{288743CD-03DD-4F2B-8862-0BC2B89C36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7101" y="3436938"/>
              <a:ext cx="309563" cy="325438"/>
            </a:xfrm>
            <a:custGeom>
              <a:avLst/>
              <a:gdLst>
                <a:gd name="T0" fmla="*/ 861 w 861"/>
                <a:gd name="T1" fmla="*/ 616 h 904"/>
                <a:gd name="T2" fmla="*/ 861 w 861"/>
                <a:gd name="T3" fmla="*/ 625 h 904"/>
                <a:gd name="T4" fmla="*/ 1 w 861"/>
                <a:gd name="T5" fmla="*/ 904 h 904"/>
                <a:gd name="T6" fmla="*/ 0 w 861"/>
                <a:gd name="T7" fmla="*/ 904 h 904"/>
                <a:gd name="T8" fmla="*/ 0 w 861"/>
                <a:gd name="T9" fmla="*/ 0 h 904"/>
                <a:gd name="T10" fmla="*/ 72 w 861"/>
                <a:gd name="T11" fmla="*/ 0 h 904"/>
                <a:gd name="T12" fmla="*/ 72 w 861"/>
                <a:gd name="T13" fmla="*/ 0 h 904"/>
                <a:gd name="T14" fmla="*/ 842 w 861"/>
                <a:gd name="T15" fmla="*/ 555 h 904"/>
                <a:gd name="T16" fmla="*/ 861 w 861"/>
                <a:gd name="T17" fmla="*/ 616 h 904"/>
                <a:gd name="T18" fmla="*/ 158 w 861"/>
                <a:gd name="T19" fmla="*/ 160 h 904"/>
                <a:gd name="T20" fmla="*/ 659 w 861"/>
                <a:gd name="T21" fmla="*/ 532 h 904"/>
                <a:gd name="T22" fmla="*/ 659 w 861"/>
                <a:gd name="T23" fmla="*/ 532 h 904"/>
                <a:gd name="T24" fmla="*/ 162 w 861"/>
                <a:gd name="T25" fmla="*/ 694 h 904"/>
                <a:gd name="T26" fmla="*/ 158 w 861"/>
                <a:gd name="T27" fmla="*/ 16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61" h="904">
                  <a:moveTo>
                    <a:pt x="861" y="616"/>
                  </a:moveTo>
                  <a:lnTo>
                    <a:pt x="861" y="625"/>
                  </a:lnTo>
                  <a:lnTo>
                    <a:pt x="1" y="904"/>
                  </a:lnTo>
                  <a:lnTo>
                    <a:pt x="0" y="904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0"/>
                  </a:lnTo>
                  <a:cubicBezTo>
                    <a:pt x="426" y="0"/>
                    <a:pt x="732" y="218"/>
                    <a:pt x="842" y="555"/>
                  </a:cubicBezTo>
                  <a:lnTo>
                    <a:pt x="861" y="616"/>
                  </a:lnTo>
                  <a:close/>
                  <a:moveTo>
                    <a:pt x="158" y="160"/>
                  </a:moveTo>
                  <a:cubicBezTo>
                    <a:pt x="382" y="196"/>
                    <a:pt x="564" y="321"/>
                    <a:pt x="659" y="532"/>
                  </a:cubicBezTo>
                  <a:lnTo>
                    <a:pt x="659" y="532"/>
                  </a:lnTo>
                  <a:lnTo>
                    <a:pt x="162" y="694"/>
                  </a:lnTo>
                  <a:lnTo>
                    <a:pt x="158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37" name="Freeform 177">
              <a:extLst>
                <a:ext uri="{FF2B5EF4-FFF2-40B4-BE49-F238E27FC236}">
                  <a16:creationId xmlns:a16="http://schemas.microsoft.com/office/drawing/2014/main" id="{B81B2F59-AB08-4959-B71C-EE8FBE4C9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6751" y="3438526"/>
              <a:ext cx="577850" cy="576263"/>
            </a:xfrm>
            <a:custGeom>
              <a:avLst/>
              <a:gdLst>
                <a:gd name="T0" fmla="*/ 1584 w 1604"/>
                <a:gd name="T1" fmla="*/ 621 h 1599"/>
                <a:gd name="T2" fmla="*/ 1604 w 1604"/>
                <a:gd name="T3" fmla="*/ 798 h 1599"/>
                <a:gd name="T4" fmla="*/ 802 w 1604"/>
                <a:gd name="T5" fmla="*/ 1599 h 1599"/>
                <a:gd name="T6" fmla="*/ 0 w 1604"/>
                <a:gd name="T7" fmla="*/ 798 h 1599"/>
                <a:gd name="T8" fmla="*/ 720 w 1604"/>
                <a:gd name="T9" fmla="*/ 0 h 1599"/>
                <a:gd name="T10" fmla="*/ 719 w 1604"/>
                <a:gd name="T11" fmla="*/ 161 h 1599"/>
                <a:gd name="T12" fmla="*/ 161 w 1604"/>
                <a:gd name="T13" fmla="*/ 798 h 1599"/>
                <a:gd name="T14" fmla="*/ 802 w 1604"/>
                <a:gd name="T15" fmla="*/ 1439 h 1599"/>
                <a:gd name="T16" fmla="*/ 1443 w 1604"/>
                <a:gd name="T17" fmla="*/ 798 h 1599"/>
                <a:gd name="T18" fmla="*/ 1431 w 1604"/>
                <a:gd name="T19" fmla="*/ 670 h 1599"/>
                <a:gd name="T20" fmla="*/ 1584 w 1604"/>
                <a:gd name="T21" fmla="*/ 621 h 1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4" h="1599">
                  <a:moveTo>
                    <a:pt x="1584" y="621"/>
                  </a:moveTo>
                  <a:cubicBezTo>
                    <a:pt x="1597" y="678"/>
                    <a:pt x="1604" y="737"/>
                    <a:pt x="1604" y="798"/>
                  </a:cubicBezTo>
                  <a:cubicBezTo>
                    <a:pt x="1604" y="1240"/>
                    <a:pt x="1245" y="1599"/>
                    <a:pt x="802" y="1599"/>
                  </a:cubicBezTo>
                  <a:cubicBezTo>
                    <a:pt x="359" y="1599"/>
                    <a:pt x="0" y="1240"/>
                    <a:pt x="0" y="798"/>
                  </a:cubicBezTo>
                  <a:cubicBezTo>
                    <a:pt x="0" y="382"/>
                    <a:pt x="316" y="41"/>
                    <a:pt x="720" y="0"/>
                  </a:cubicBezTo>
                  <a:lnTo>
                    <a:pt x="719" y="161"/>
                  </a:lnTo>
                  <a:cubicBezTo>
                    <a:pt x="404" y="202"/>
                    <a:pt x="161" y="471"/>
                    <a:pt x="161" y="798"/>
                  </a:cubicBezTo>
                  <a:cubicBezTo>
                    <a:pt x="161" y="1152"/>
                    <a:pt x="448" y="1439"/>
                    <a:pt x="802" y="1439"/>
                  </a:cubicBezTo>
                  <a:cubicBezTo>
                    <a:pt x="1156" y="1439"/>
                    <a:pt x="1443" y="1152"/>
                    <a:pt x="1443" y="798"/>
                  </a:cubicBezTo>
                  <a:cubicBezTo>
                    <a:pt x="1443" y="754"/>
                    <a:pt x="1439" y="711"/>
                    <a:pt x="1431" y="670"/>
                  </a:cubicBezTo>
                  <a:lnTo>
                    <a:pt x="1584" y="6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38" name="Freeform 178">
              <a:extLst>
                <a:ext uri="{FF2B5EF4-FFF2-40B4-BE49-F238E27FC236}">
                  <a16:creationId xmlns:a16="http://schemas.microsoft.com/office/drawing/2014/main" id="{AB03D6F7-0010-4E1E-A0DD-E15B47792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6751" y="3438526"/>
              <a:ext cx="258763" cy="287338"/>
            </a:xfrm>
            <a:custGeom>
              <a:avLst/>
              <a:gdLst>
                <a:gd name="T0" fmla="*/ 0 w 720"/>
                <a:gd name="T1" fmla="*/ 797 h 797"/>
                <a:gd name="T2" fmla="*/ 720 w 720"/>
                <a:gd name="T3" fmla="*/ 0 h 797"/>
                <a:gd name="T4" fmla="*/ 719 w 720"/>
                <a:gd name="T5" fmla="*/ 161 h 797"/>
                <a:gd name="T6" fmla="*/ 161 w 720"/>
                <a:gd name="T7" fmla="*/ 797 h 797"/>
                <a:gd name="T8" fmla="*/ 0 w 720"/>
                <a:gd name="T9" fmla="*/ 797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0" h="797">
                  <a:moveTo>
                    <a:pt x="0" y="797"/>
                  </a:moveTo>
                  <a:cubicBezTo>
                    <a:pt x="0" y="382"/>
                    <a:pt x="316" y="41"/>
                    <a:pt x="720" y="0"/>
                  </a:cubicBezTo>
                  <a:lnTo>
                    <a:pt x="719" y="161"/>
                  </a:lnTo>
                  <a:cubicBezTo>
                    <a:pt x="404" y="202"/>
                    <a:pt x="161" y="471"/>
                    <a:pt x="161" y="797"/>
                  </a:cubicBezTo>
                  <a:lnTo>
                    <a:pt x="0" y="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8" name="Group 427">
            <a:extLst>
              <a:ext uri="{FF2B5EF4-FFF2-40B4-BE49-F238E27FC236}">
                <a16:creationId xmlns:a16="http://schemas.microsoft.com/office/drawing/2014/main" id="{5AB441BC-7F86-46E1-8873-7B68D1936986}"/>
              </a:ext>
            </a:extLst>
          </p:cNvPr>
          <p:cNvGrpSpPr/>
          <p:nvPr/>
        </p:nvGrpSpPr>
        <p:grpSpPr>
          <a:xfrm>
            <a:off x="4984751" y="4452938"/>
            <a:ext cx="577850" cy="577850"/>
            <a:chOff x="4984751" y="4452938"/>
            <a:chExt cx="577850" cy="577850"/>
          </a:xfrm>
          <a:solidFill>
            <a:schemeClr val="accent1"/>
          </a:solidFill>
        </p:grpSpPr>
        <p:sp>
          <p:nvSpPr>
            <p:cNvPr id="339" name="Freeform 179">
              <a:extLst>
                <a:ext uri="{FF2B5EF4-FFF2-40B4-BE49-F238E27FC236}">
                  <a16:creationId xmlns:a16="http://schemas.microsoft.com/office/drawing/2014/main" id="{7912618E-6730-4553-AC0D-9073634E18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4751" y="4452938"/>
              <a:ext cx="577850" cy="577850"/>
            </a:xfrm>
            <a:custGeom>
              <a:avLst/>
              <a:gdLst>
                <a:gd name="T0" fmla="*/ 320 w 1603"/>
                <a:gd name="T1" fmla="*/ 1443 h 1603"/>
                <a:gd name="T2" fmla="*/ 160 w 1603"/>
                <a:gd name="T3" fmla="*/ 1283 h 1603"/>
                <a:gd name="T4" fmla="*/ 320 w 1603"/>
                <a:gd name="T5" fmla="*/ 1122 h 1603"/>
                <a:gd name="T6" fmla="*/ 481 w 1603"/>
                <a:gd name="T7" fmla="*/ 1283 h 1603"/>
                <a:gd name="T8" fmla="*/ 320 w 1603"/>
                <a:gd name="T9" fmla="*/ 1443 h 1603"/>
                <a:gd name="T10" fmla="*/ 882 w 1603"/>
                <a:gd name="T11" fmla="*/ 481 h 1603"/>
                <a:gd name="T12" fmla="*/ 721 w 1603"/>
                <a:gd name="T13" fmla="*/ 481 h 1603"/>
                <a:gd name="T14" fmla="*/ 721 w 1603"/>
                <a:gd name="T15" fmla="*/ 321 h 1603"/>
                <a:gd name="T16" fmla="*/ 882 w 1603"/>
                <a:gd name="T17" fmla="*/ 321 h 1603"/>
                <a:gd name="T18" fmla="*/ 882 w 1603"/>
                <a:gd name="T19" fmla="*/ 481 h 1603"/>
                <a:gd name="T20" fmla="*/ 1443 w 1603"/>
                <a:gd name="T21" fmla="*/ 1203 h 1603"/>
                <a:gd name="T22" fmla="*/ 631 w 1603"/>
                <a:gd name="T23" fmla="*/ 1203 h 1603"/>
                <a:gd name="T24" fmla="*/ 598 w 1603"/>
                <a:gd name="T25" fmla="*/ 1122 h 1603"/>
                <a:gd name="T26" fmla="*/ 1282 w 1603"/>
                <a:gd name="T27" fmla="*/ 1122 h 1603"/>
                <a:gd name="T28" fmla="*/ 1282 w 1603"/>
                <a:gd name="T29" fmla="*/ 481 h 1603"/>
                <a:gd name="T30" fmla="*/ 1042 w 1603"/>
                <a:gd name="T31" fmla="*/ 481 h 1603"/>
                <a:gd name="T32" fmla="*/ 1042 w 1603"/>
                <a:gd name="T33" fmla="*/ 160 h 1603"/>
                <a:gd name="T34" fmla="*/ 561 w 1603"/>
                <a:gd name="T35" fmla="*/ 160 h 1603"/>
                <a:gd name="T36" fmla="*/ 561 w 1603"/>
                <a:gd name="T37" fmla="*/ 882 h 1603"/>
                <a:gd name="T38" fmla="*/ 721 w 1603"/>
                <a:gd name="T39" fmla="*/ 882 h 1603"/>
                <a:gd name="T40" fmla="*/ 721 w 1603"/>
                <a:gd name="T41" fmla="*/ 641 h 1603"/>
                <a:gd name="T42" fmla="*/ 1122 w 1603"/>
                <a:gd name="T43" fmla="*/ 641 h 1603"/>
                <a:gd name="T44" fmla="*/ 1122 w 1603"/>
                <a:gd name="T45" fmla="*/ 962 h 1603"/>
                <a:gd name="T46" fmla="*/ 561 w 1603"/>
                <a:gd name="T47" fmla="*/ 962 h 1603"/>
                <a:gd name="T48" fmla="*/ 561 w 1603"/>
                <a:gd name="T49" fmla="*/ 1071 h 1603"/>
                <a:gd name="T50" fmla="*/ 401 w 1603"/>
                <a:gd name="T51" fmla="*/ 972 h 1603"/>
                <a:gd name="T52" fmla="*/ 401 w 1603"/>
                <a:gd name="T53" fmla="*/ 0 h 1603"/>
                <a:gd name="T54" fmla="*/ 0 w 1603"/>
                <a:gd name="T55" fmla="*/ 0 h 1603"/>
                <a:gd name="T56" fmla="*/ 0 w 1603"/>
                <a:gd name="T57" fmla="*/ 160 h 1603"/>
                <a:gd name="T58" fmla="*/ 240 w 1603"/>
                <a:gd name="T59" fmla="*/ 160 h 1603"/>
                <a:gd name="T60" fmla="*/ 240 w 1603"/>
                <a:gd name="T61" fmla="*/ 972 h 1603"/>
                <a:gd name="T62" fmla="*/ 0 w 1603"/>
                <a:gd name="T63" fmla="*/ 1283 h 1603"/>
                <a:gd name="T64" fmla="*/ 320 w 1603"/>
                <a:gd name="T65" fmla="*/ 1603 h 1603"/>
                <a:gd name="T66" fmla="*/ 631 w 1603"/>
                <a:gd name="T67" fmla="*/ 1363 h 1603"/>
                <a:gd name="T68" fmla="*/ 1443 w 1603"/>
                <a:gd name="T69" fmla="*/ 1363 h 1603"/>
                <a:gd name="T70" fmla="*/ 1603 w 1603"/>
                <a:gd name="T71" fmla="*/ 1523 h 1603"/>
                <a:gd name="T72" fmla="*/ 1603 w 1603"/>
                <a:gd name="T73" fmla="*/ 1363 h 1603"/>
                <a:gd name="T74" fmla="*/ 1443 w 1603"/>
                <a:gd name="T75" fmla="*/ 1203 h 1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03" h="1603">
                  <a:moveTo>
                    <a:pt x="320" y="1443"/>
                  </a:moveTo>
                  <a:cubicBezTo>
                    <a:pt x="232" y="1443"/>
                    <a:pt x="160" y="1371"/>
                    <a:pt x="160" y="1283"/>
                  </a:cubicBezTo>
                  <a:cubicBezTo>
                    <a:pt x="160" y="1194"/>
                    <a:pt x="232" y="1122"/>
                    <a:pt x="320" y="1122"/>
                  </a:cubicBezTo>
                  <a:cubicBezTo>
                    <a:pt x="409" y="1122"/>
                    <a:pt x="481" y="1194"/>
                    <a:pt x="481" y="1283"/>
                  </a:cubicBezTo>
                  <a:cubicBezTo>
                    <a:pt x="481" y="1371"/>
                    <a:pt x="409" y="1443"/>
                    <a:pt x="320" y="1443"/>
                  </a:cubicBezTo>
                  <a:close/>
                  <a:moveTo>
                    <a:pt x="882" y="481"/>
                  </a:moveTo>
                  <a:lnTo>
                    <a:pt x="721" y="481"/>
                  </a:lnTo>
                  <a:lnTo>
                    <a:pt x="721" y="321"/>
                  </a:lnTo>
                  <a:lnTo>
                    <a:pt x="882" y="321"/>
                  </a:lnTo>
                  <a:lnTo>
                    <a:pt x="882" y="481"/>
                  </a:lnTo>
                  <a:close/>
                  <a:moveTo>
                    <a:pt x="1443" y="1203"/>
                  </a:moveTo>
                  <a:lnTo>
                    <a:pt x="631" y="1203"/>
                  </a:lnTo>
                  <a:cubicBezTo>
                    <a:pt x="624" y="1174"/>
                    <a:pt x="612" y="1147"/>
                    <a:pt x="598" y="1122"/>
                  </a:cubicBezTo>
                  <a:lnTo>
                    <a:pt x="1282" y="1122"/>
                  </a:lnTo>
                  <a:lnTo>
                    <a:pt x="1282" y="481"/>
                  </a:lnTo>
                  <a:lnTo>
                    <a:pt x="1042" y="481"/>
                  </a:lnTo>
                  <a:lnTo>
                    <a:pt x="1042" y="160"/>
                  </a:lnTo>
                  <a:lnTo>
                    <a:pt x="561" y="160"/>
                  </a:lnTo>
                  <a:lnTo>
                    <a:pt x="561" y="882"/>
                  </a:lnTo>
                  <a:lnTo>
                    <a:pt x="721" y="882"/>
                  </a:lnTo>
                  <a:lnTo>
                    <a:pt x="721" y="641"/>
                  </a:lnTo>
                  <a:lnTo>
                    <a:pt x="1122" y="641"/>
                  </a:lnTo>
                  <a:lnTo>
                    <a:pt x="1122" y="962"/>
                  </a:lnTo>
                  <a:lnTo>
                    <a:pt x="561" y="962"/>
                  </a:lnTo>
                  <a:lnTo>
                    <a:pt x="561" y="1071"/>
                  </a:lnTo>
                  <a:cubicBezTo>
                    <a:pt x="519" y="1023"/>
                    <a:pt x="464" y="989"/>
                    <a:pt x="401" y="972"/>
                  </a:cubicBezTo>
                  <a:lnTo>
                    <a:pt x="401" y="0"/>
                  </a:lnTo>
                  <a:lnTo>
                    <a:pt x="0" y="0"/>
                  </a:lnTo>
                  <a:lnTo>
                    <a:pt x="0" y="160"/>
                  </a:lnTo>
                  <a:lnTo>
                    <a:pt x="240" y="160"/>
                  </a:lnTo>
                  <a:lnTo>
                    <a:pt x="240" y="972"/>
                  </a:lnTo>
                  <a:cubicBezTo>
                    <a:pt x="102" y="1008"/>
                    <a:pt x="0" y="1133"/>
                    <a:pt x="0" y="1283"/>
                  </a:cubicBezTo>
                  <a:cubicBezTo>
                    <a:pt x="0" y="1460"/>
                    <a:pt x="143" y="1603"/>
                    <a:pt x="320" y="1603"/>
                  </a:cubicBezTo>
                  <a:cubicBezTo>
                    <a:pt x="470" y="1603"/>
                    <a:pt x="595" y="1501"/>
                    <a:pt x="631" y="1363"/>
                  </a:cubicBezTo>
                  <a:lnTo>
                    <a:pt x="1443" y="1363"/>
                  </a:lnTo>
                  <a:lnTo>
                    <a:pt x="1603" y="1523"/>
                  </a:lnTo>
                  <a:lnTo>
                    <a:pt x="1603" y="1363"/>
                  </a:lnTo>
                  <a:lnTo>
                    <a:pt x="1443" y="1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0" name="Rectangle 180">
              <a:extLst>
                <a:ext uri="{FF2B5EF4-FFF2-40B4-BE49-F238E27FC236}">
                  <a16:creationId xmlns:a16="http://schemas.microsoft.com/office/drawing/2014/main" id="{A1DFAD86-C3A6-4740-AD3C-EC81CDFF98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3676" y="4713288"/>
              <a:ext cx="85725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1" name="Rectangle 181">
              <a:extLst>
                <a:ext uri="{FF2B5EF4-FFF2-40B4-BE49-F238E27FC236}">
                  <a16:creationId xmlns:a16="http://schemas.microsoft.com/office/drawing/2014/main" id="{7ADD65DA-1D5C-4B55-A373-DC1C81128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2251" y="4568826"/>
              <a:ext cx="5715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43" name="Group 442">
            <a:extLst>
              <a:ext uri="{FF2B5EF4-FFF2-40B4-BE49-F238E27FC236}">
                <a16:creationId xmlns:a16="http://schemas.microsoft.com/office/drawing/2014/main" id="{DF6357FA-829C-4E8D-BD97-F3425528B698}"/>
              </a:ext>
            </a:extLst>
          </p:cNvPr>
          <p:cNvGrpSpPr/>
          <p:nvPr/>
        </p:nvGrpSpPr>
        <p:grpSpPr>
          <a:xfrm>
            <a:off x="1316038" y="4452938"/>
            <a:ext cx="288925" cy="577850"/>
            <a:chOff x="1316038" y="4452938"/>
            <a:chExt cx="288925" cy="577850"/>
          </a:xfrm>
          <a:solidFill>
            <a:schemeClr val="accent1"/>
          </a:solidFill>
        </p:grpSpPr>
        <p:sp>
          <p:nvSpPr>
            <p:cNvPr id="342" name="Freeform 182">
              <a:extLst>
                <a:ext uri="{FF2B5EF4-FFF2-40B4-BE49-F238E27FC236}">
                  <a16:creationId xmlns:a16="http://schemas.microsoft.com/office/drawing/2014/main" id="{89F4C41B-7B7F-458A-9134-8A6564CDBE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038" y="4452938"/>
              <a:ext cx="288925" cy="577850"/>
            </a:xfrm>
            <a:custGeom>
              <a:avLst/>
              <a:gdLst>
                <a:gd name="T0" fmla="*/ 481 w 802"/>
                <a:gd name="T1" fmla="*/ 962 h 1604"/>
                <a:gd name="T2" fmla="*/ 722 w 802"/>
                <a:gd name="T3" fmla="*/ 962 h 1604"/>
                <a:gd name="T4" fmla="*/ 802 w 802"/>
                <a:gd name="T5" fmla="*/ 882 h 1604"/>
                <a:gd name="T6" fmla="*/ 802 w 802"/>
                <a:gd name="T7" fmla="*/ 80 h 1604"/>
                <a:gd name="T8" fmla="*/ 722 w 802"/>
                <a:gd name="T9" fmla="*/ 0 h 1604"/>
                <a:gd name="T10" fmla="*/ 80 w 802"/>
                <a:gd name="T11" fmla="*/ 0 h 1604"/>
                <a:gd name="T12" fmla="*/ 0 w 802"/>
                <a:gd name="T13" fmla="*/ 80 h 1604"/>
                <a:gd name="T14" fmla="*/ 0 w 802"/>
                <a:gd name="T15" fmla="*/ 321 h 1604"/>
                <a:gd name="T16" fmla="*/ 161 w 802"/>
                <a:gd name="T17" fmla="*/ 321 h 1604"/>
                <a:gd name="T18" fmla="*/ 161 w 802"/>
                <a:gd name="T19" fmla="*/ 160 h 1604"/>
                <a:gd name="T20" fmla="*/ 642 w 802"/>
                <a:gd name="T21" fmla="*/ 160 h 1604"/>
                <a:gd name="T22" fmla="*/ 642 w 802"/>
                <a:gd name="T23" fmla="*/ 802 h 1604"/>
                <a:gd name="T24" fmla="*/ 481 w 802"/>
                <a:gd name="T25" fmla="*/ 802 h 1604"/>
                <a:gd name="T26" fmla="*/ 481 w 802"/>
                <a:gd name="T27" fmla="*/ 321 h 1604"/>
                <a:gd name="T28" fmla="*/ 321 w 802"/>
                <a:gd name="T29" fmla="*/ 321 h 1604"/>
                <a:gd name="T30" fmla="*/ 321 w 802"/>
                <a:gd name="T31" fmla="*/ 641 h 1604"/>
                <a:gd name="T32" fmla="*/ 80 w 802"/>
                <a:gd name="T33" fmla="*/ 641 h 1604"/>
                <a:gd name="T34" fmla="*/ 0 w 802"/>
                <a:gd name="T35" fmla="*/ 722 h 1604"/>
                <a:gd name="T36" fmla="*/ 0 w 802"/>
                <a:gd name="T37" fmla="*/ 1523 h 1604"/>
                <a:gd name="T38" fmla="*/ 80 w 802"/>
                <a:gd name="T39" fmla="*/ 1604 h 1604"/>
                <a:gd name="T40" fmla="*/ 722 w 802"/>
                <a:gd name="T41" fmla="*/ 1604 h 1604"/>
                <a:gd name="T42" fmla="*/ 802 w 802"/>
                <a:gd name="T43" fmla="*/ 1523 h 1604"/>
                <a:gd name="T44" fmla="*/ 802 w 802"/>
                <a:gd name="T45" fmla="*/ 1042 h 1604"/>
                <a:gd name="T46" fmla="*/ 642 w 802"/>
                <a:gd name="T47" fmla="*/ 1203 h 1604"/>
                <a:gd name="T48" fmla="*/ 642 w 802"/>
                <a:gd name="T49" fmla="*/ 1443 h 1604"/>
                <a:gd name="T50" fmla="*/ 161 w 802"/>
                <a:gd name="T51" fmla="*/ 1443 h 1604"/>
                <a:gd name="T52" fmla="*/ 161 w 802"/>
                <a:gd name="T53" fmla="*/ 802 h 1604"/>
                <a:gd name="T54" fmla="*/ 321 w 802"/>
                <a:gd name="T55" fmla="*/ 802 h 1604"/>
                <a:gd name="T56" fmla="*/ 321 w 802"/>
                <a:gd name="T57" fmla="*/ 1283 h 1604"/>
                <a:gd name="T58" fmla="*/ 481 w 802"/>
                <a:gd name="T59" fmla="*/ 1283 h 1604"/>
                <a:gd name="T60" fmla="*/ 481 w 802"/>
                <a:gd name="T61" fmla="*/ 962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2" h="1604">
                  <a:moveTo>
                    <a:pt x="481" y="962"/>
                  </a:moveTo>
                  <a:lnTo>
                    <a:pt x="722" y="962"/>
                  </a:lnTo>
                  <a:lnTo>
                    <a:pt x="802" y="882"/>
                  </a:lnTo>
                  <a:lnTo>
                    <a:pt x="802" y="80"/>
                  </a:lnTo>
                  <a:lnTo>
                    <a:pt x="722" y="0"/>
                  </a:lnTo>
                  <a:lnTo>
                    <a:pt x="80" y="0"/>
                  </a:lnTo>
                  <a:lnTo>
                    <a:pt x="0" y="80"/>
                  </a:lnTo>
                  <a:cubicBezTo>
                    <a:pt x="5" y="80"/>
                    <a:pt x="0" y="321"/>
                    <a:pt x="0" y="321"/>
                  </a:cubicBezTo>
                  <a:lnTo>
                    <a:pt x="161" y="321"/>
                  </a:lnTo>
                  <a:lnTo>
                    <a:pt x="161" y="160"/>
                  </a:lnTo>
                  <a:lnTo>
                    <a:pt x="642" y="160"/>
                  </a:lnTo>
                  <a:lnTo>
                    <a:pt x="642" y="802"/>
                  </a:lnTo>
                  <a:lnTo>
                    <a:pt x="481" y="802"/>
                  </a:lnTo>
                  <a:lnTo>
                    <a:pt x="481" y="321"/>
                  </a:lnTo>
                  <a:lnTo>
                    <a:pt x="321" y="321"/>
                  </a:lnTo>
                  <a:lnTo>
                    <a:pt x="321" y="641"/>
                  </a:lnTo>
                  <a:lnTo>
                    <a:pt x="80" y="641"/>
                  </a:lnTo>
                  <a:lnTo>
                    <a:pt x="0" y="722"/>
                  </a:lnTo>
                  <a:lnTo>
                    <a:pt x="0" y="1523"/>
                  </a:lnTo>
                  <a:lnTo>
                    <a:pt x="80" y="1604"/>
                  </a:lnTo>
                  <a:lnTo>
                    <a:pt x="722" y="1604"/>
                  </a:lnTo>
                  <a:lnTo>
                    <a:pt x="802" y="1523"/>
                  </a:lnTo>
                  <a:lnTo>
                    <a:pt x="802" y="1042"/>
                  </a:lnTo>
                  <a:lnTo>
                    <a:pt x="642" y="1203"/>
                  </a:lnTo>
                  <a:lnTo>
                    <a:pt x="642" y="1443"/>
                  </a:lnTo>
                  <a:lnTo>
                    <a:pt x="161" y="1443"/>
                  </a:lnTo>
                  <a:lnTo>
                    <a:pt x="161" y="802"/>
                  </a:lnTo>
                  <a:lnTo>
                    <a:pt x="321" y="802"/>
                  </a:lnTo>
                  <a:lnTo>
                    <a:pt x="321" y="1283"/>
                  </a:lnTo>
                  <a:lnTo>
                    <a:pt x="481" y="1283"/>
                  </a:lnTo>
                  <a:cubicBezTo>
                    <a:pt x="481" y="1283"/>
                    <a:pt x="481" y="960"/>
                    <a:pt x="481" y="9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3" name="Rectangle 183">
              <a:extLst>
                <a:ext uri="{FF2B5EF4-FFF2-40B4-BE49-F238E27FC236}">
                  <a16:creationId xmlns:a16="http://schemas.microsoft.com/office/drawing/2014/main" id="{53AA0F22-582D-42EE-A5AA-6A6F978AEE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9076" y="4741863"/>
              <a:ext cx="58738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40" name="Group 439">
            <a:extLst>
              <a:ext uri="{FF2B5EF4-FFF2-40B4-BE49-F238E27FC236}">
                <a16:creationId xmlns:a16="http://schemas.microsoft.com/office/drawing/2014/main" id="{4F197F80-EF6C-4E06-BE1A-79BA526A6ED7}"/>
              </a:ext>
            </a:extLst>
          </p:cNvPr>
          <p:cNvGrpSpPr/>
          <p:nvPr/>
        </p:nvGrpSpPr>
        <p:grpSpPr>
          <a:xfrm>
            <a:off x="1963738" y="4452938"/>
            <a:ext cx="519113" cy="549275"/>
            <a:chOff x="1963738" y="4452938"/>
            <a:chExt cx="519113" cy="549275"/>
          </a:xfrm>
          <a:solidFill>
            <a:schemeClr val="accent1"/>
          </a:solidFill>
        </p:grpSpPr>
        <p:sp>
          <p:nvSpPr>
            <p:cNvPr id="344" name="Freeform 184">
              <a:extLst>
                <a:ext uri="{FF2B5EF4-FFF2-40B4-BE49-F238E27FC236}">
                  <a16:creationId xmlns:a16="http://schemas.microsoft.com/office/drawing/2014/main" id="{4ECC8FCC-4BCA-455F-857B-2075A6F9D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3738" y="4684713"/>
              <a:ext cx="519113" cy="317500"/>
            </a:xfrm>
            <a:custGeom>
              <a:avLst/>
              <a:gdLst>
                <a:gd name="T0" fmla="*/ 481 w 1443"/>
                <a:gd name="T1" fmla="*/ 2 h 882"/>
                <a:gd name="T2" fmla="*/ 722 w 1443"/>
                <a:gd name="T3" fmla="*/ 400 h 882"/>
                <a:gd name="T4" fmla="*/ 962 w 1443"/>
                <a:gd name="T5" fmla="*/ 0 h 882"/>
                <a:gd name="T6" fmla="*/ 1283 w 1443"/>
                <a:gd name="T7" fmla="*/ 0 h 882"/>
                <a:gd name="T8" fmla="*/ 1443 w 1443"/>
                <a:gd name="T9" fmla="*/ 161 h 882"/>
                <a:gd name="T10" fmla="*/ 1443 w 1443"/>
                <a:gd name="T11" fmla="*/ 722 h 882"/>
                <a:gd name="T12" fmla="*/ 1283 w 1443"/>
                <a:gd name="T13" fmla="*/ 882 h 882"/>
                <a:gd name="T14" fmla="*/ 321 w 1443"/>
                <a:gd name="T15" fmla="*/ 882 h 882"/>
                <a:gd name="T16" fmla="*/ 321 w 1443"/>
                <a:gd name="T17" fmla="*/ 722 h 882"/>
                <a:gd name="T18" fmla="*/ 1283 w 1443"/>
                <a:gd name="T19" fmla="*/ 722 h 882"/>
                <a:gd name="T20" fmla="*/ 1283 w 1443"/>
                <a:gd name="T21" fmla="*/ 161 h 882"/>
                <a:gd name="T22" fmla="*/ 1042 w 1443"/>
                <a:gd name="T23" fmla="*/ 161 h 882"/>
                <a:gd name="T24" fmla="*/ 802 w 1443"/>
                <a:gd name="T25" fmla="*/ 562 h 882"/>
                <a:gd name="T26" fmla="*/ 642 w 1443"/>
                <a:gd name="T27" fmla="*/ 562 h 882"/>
                <a:gd name="T28" fmla="*/ 401 w 1443"/>
                <a:gd name="T29" fmla="*/ 161 h 882"/>
                <a:gd name="T30" fmla="*/ 161 w 1443"/>
                <a:gd name="T31" fmla="*/ 161 h 882"/>
                <a:gd name="T32" fmla="*/ 161 w 1443"/>
                <a:gd name="T33" fmla="*/ 722 h 882"/>
                <a:gd name="T34" fmla="*/ 0 w 1443"/>
                <a:gd name="T35" fmla="*/ 882 h 882"/>
                <a:gd name="T36" fmla="*/ 0 w 1443"/>
                <a:gd name="T37" fmla="*/ 161 h 882"/>
                <a:gd name="T38" fmla="*/ 161 w 1443"/>
                <a:gd name="T39" fmla="*/ 0 h 882"/>
                <a:gd name="T40" fmla="*/ 481 w 1443"/>
                <a:gd name="T41" fmla="*/ 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3" h="882">
                  <a:moveTo>
                    <a:pt x="481" y="2"/>
                  </a:moveTo>
                  <a:lnTo>
                    <a:pt x="722" y="400"/>
                  </a:lnTo>
                  <a:lnTo>
                    <a:pt x="962" y="0"/>
                  </a:lnTo>
                  <a:lnTo>
                    <a:pt x="1283" y="0"/>
                  </a:lnTo>
                  <a:lnTo>
                    <a:pt x="1443" y="161"/>
                  </a:lnTo>
                  <a:lnTo>
                    <a:pt x="1443" y="722"/>
                  </a:lnTo>
                  <a:lnTo>
                    <a:pt x="1283" y="882"/>
                  </a:lnTo>
                  <a:lnTo>
                    <a:pt x="321" y="882"/>
                  </a:lnTo>
                  <a:lnTo>
                    <a:pt x="321" y="722"/>
                  </a:lnTo>
                  <a:lnTo>
                    <a:pt x="1283" y="722"/>
                  </a:lnTo>
                  <a:lnTo>
                    <a:pt x="1283" y="161"/>
                  </a:lnTo>
                  <a:lnTo>
                    <a:pt x="1042" y="161"/>
                  </a:lnTo>
                  <a:lnTo>
                    <a:pt x="802" y="562"/>
                  </a:lnTo>
                  <a:lnTo>
                    <a:pt x="642" y="562"/>
                  </a:lnTo>
                  <a:lnTo>
                    <a:pt x="401" y="161"/>
                  </a:lnTo>
                  <a:lnTo>
                    <a:pt x="161" y="161"/>
                  </a:lnTo>
                  <a:lnTo>
                    <a:pt x="161" y="722"/>
                  </a:lnTo>
                  <a:lnTo>
                    <a:pt x="0" y="882"/>
                  </a:lnTo>
                  <a:lnTo>
                    <a:pt x="0" y="161"/>
                  </a:lnTo>
                  <a:lnTo>
                    <a:pt x="161" y="0"/>
                  </a:lnTo>
                  <a:lnTo>
                    <a:pt x="481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5" name="Freeform 185">
              <a:extLst>
                <a:ext uri="{FF2B5EF4-FFF2-40B4-BE49-F238E27FC236}">
                  <a16:creationId xmlns:a16="http://schemas.microsoft.com/office/drawing/2014/main" id="{50127D9A-61E2-46CA-A2D8-9B75F0B696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3738" y="4452938"/>
              <a:ext cx="201613" cy="203200"/>
            </a:xfrm>
            <a:custGeom>
              <a:avLst/>
              <a:gdLst>
                <a:gd name="T0" fmla="*/ 281 w 561"/>
                <a:gd name="T1" fmla="*/ 401 h 561"/>
                <a:gd name="T2" fmla="*/ 161 w 561"/>
                <a:gd name="T3" fmla="*/ 281 h 561"/>
                <a:gd name="T4" fmla="*/ 281 w 561"/>
                <a:gd name="T5" fmla="*/ 160 h 561"/>
                <a:gd name="T6" fmla="*/ 401 w 561"/>
                <a:gd name="T7" fmla="*/ 281 h 561"/>
                <a:gd name="T8" fmla="*/ 281 w 561"/>
                <a:gd name="T9" fmla="*/ 401 h 561"/>
                <a:gd name="T10" fmla="*/ 281 w 561"/>
                <a:gd name="T11" fmla="*/ 0 h 561"/>
                <a:gd name="T12" fmla="*/ 0 w 561"/>
                <a:gd name="T13" fmla="*/ 281 h 561"/>
                <a:gd name="T14" fmla="*/ 281 w 561"/>
                <a:gd name="T15" fmla="*/ 561 h 561"/>
                <a:gd name="T16" fmla="*/ 561 w 561"/>
                <a:gd name="T17" fmla="*/ 281 h 561"/>
                <a:gd name="T18" fmla="*/ 281 w 561"/>
                <a:gd name="T19" fmla="*/ 0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1" h="561">
                  <a:moveTo>
                    <a:pt x="281" y="401"/>
                  </a:moveTo>
                  <a:cubicBezTo>
                    <a:pt x="214" y="401"/>
                    <a:pt x="161" y="347"/>
                    <a:pt x="161" y="281"/>
                  </a:cubicBezTo>
                  <a:cubicBezTo>
                    <a:pt x="161" y="214"/>
                    <a:pt x="214" y="160"/>
                    <a:pt x="281" y="160"/>
                  </a:cubicBezTo>
                  <a:cubicBezTo>
                    <a:pt x="347" y="160"/>
                    <a:pt x="401" y="214"/>
                    <a:pt x="401" y="281"/>
                  </a:cubicBezTo>
                  <a:cubicBezTo>
                    <a:pt x="401" y="347"/>
                    <a:pt x="347" y="401"/>
                    <a:pt x="281" y="401"/>
                  </a:cubicBezTo>
                  <a:close/>
                  <a:moveTo>
                    <a:pt x="281" y="0"/>
                  </a:moveTo>
                  <a:cubicBezTo>
                    <a:pt x="126" y="0"/>
                    <a:pt x="0" y="126"/>
                    <a:pt x="0" y="281"/>
                  </a:cubicBezTo>
                  <a:cubicBezTo>
                    <a:pt x="0" y="436"/>
                    <a:pt x="126" y="561"/>
                    <a:pt x="281" y="561"/>
                  </a:cubicBezTo>
                  <a:cubicBezTo>
                    <a:pt x="436" y="561"/>
                    <a:pt x="561" y="436"/>
                    <a:pt x="561" y="281"/>
                  </a:cubicBezTo>
                  <a:cubicBezTo>
                    <a:pt x="561" y="126"/>
                    <a:pt x="436" y="0"/>
                    <a:pt x="28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6" name="Freeform 186">
              <a:extLst>
                <a:ext uri="{FF2B5EF4-FFF2-40B4-BE49-F238E27FC236}">
                  <a16:creationId xmlns:a16="http://schemas.microsoft.com/office/drawing/2014/main" id="{FDAED576-0C47-4E99-8926-46298ACA5C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1238" y="4452938"/>
              <a:ext cx="201613" cy="203200"/>
            </a:xfrm>
            <a:custGeom>
              <a:avLst/>
              <a:gdLst>
                <a:gd name="T0" fmla="*/ 281 w 561"/>
                <a:gd name="T1" fmla="*/ 401 h 561"/>
                <a:gd name="T2" fmla="*/ 160 w 561"/>
                <a:gd name="T3" fmla="*/ 281 h 561"/>
                <a:gd name="T4" fmla="*/ 281 w 561"/>
                <a:gd name="T5" fmla="*/ 160 h 561"/>
                <a:gd name="T6" fmla="*/ 401 w 561"/>
                <a:gd name="T7" fmla="*/ 281 h 561"/>
                <a:gd name="T8" fmla="*/ 281 w 561"/>
                <a:gd name="T9" fmla="*/ 401 h 561"/>
                <a:gd name="T10" fmla="*/ 281 w 561"/>
                <a:gd name="T11" fmla="*/ 0 h 561"/>
                <a:gd name="T12" fmla="*/ 0 w 561"/>
                <a:gd name="T13" fmla="*/ 281 h 561"/>
                <a:gd name="T14" fmla="*/ 281 w 561"/>
                <a:gd name="T15" fmla="*/ 561 h 561"/>
                <a:gd name="T16" fmla="*/ 561 w 561"/>
                <a:gd name="T17" fmla="*/ 281 h 561"/>
                <a:gd name="T18" fmla="*/ 281 w 561"/>
                <a:gd name="T19" fmla="*/ 0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1" h="561">
                  <a:moveTo>
                    <a:pt x="281" y="401"/>
                  </a:moveTo>
                  <a:cubicBezTo>
                    <a:pt x="214" y="401"/>
                    <a:pt x="160" y="347"/>
                    <a:pt x="160" y="281"/>
                  </a:cubicBezTo>
                  <a:cubicBezTo>
                    <a:pt x="160" y="214"/>
                    <a:pt x="214" y="160"/>
                    <a:pt x="281" y="160"/>
                  </a:cubicBezTo>
                  <a:cubicBezTo>
                    <a:pt x="347" y="160"/>
                    <a:pt x="401" y="214"/>
                    <a:pt x="401" y="281"/>
                  </a:cubicBezTo>
                  <a:cubicBezTo>
                    <a:pt x="401" y="347"/>
                    <a:pt x="347" y="401"/>
                    <a:pt x="281" y="401"/>
                  </a:cubicBezTo>
                  <a:close/>
                  <a:moveTo>
                    <a:pt x="281" y="0"/>
                  </a:moveTo>
                  <a:cubicBezTo>
                    <a:pt x="126" y="0"/>
                    <a:pt x="0" y="126"/>
                    <a:pt x="0" y="281"/>
                  </a:cubicBezTo>
                  <a:cubicBezTo>
                    <a:pt x="0" y="436"/>
                    <a:pt x="126" y="561"/>
                    <a:pt x="281" y="561"/>
                  </a:cubicBezTo>
                  <a:cubicBezTo>
                    <a:pt x="436" y="561"/>
                    <a:pt x="561" y="436"/>
                    <a:pt x="561" y="281"/>
                  </a:cubicBezTo>
                  <a:cubicBezTo>
                    <a:pt x="561" y="126"/>
                    <a:pt x="436" y="0"/>
                    <a:pt x="28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7" name="Freeform 187">
              <a:extLst>
                <a:ext uri="{FF2B5EF4-FFF2-40B4-BE49-F238E27FC236}">
                  <a16:creationId xmlns:a16="http://schemas.microsoft.com/office/drawing/2014/main" id="{C7452129-F600-4CEA-B5A4-DC92BF1DDC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8201" y="4684713"/>
              <a:ext cx="115888" cy="201613"/>
            </a:xfrm>
            <a:custGeom>
              <a:avLst/>
              <a:gdLst>
                <a:gd name="T0" fmla="*/ 321 w 321"/>
                <a:gd name="T1" fmla="*/ 398 h 560"/>
                <a:gd name="T2" fmla="*/ 241 w 321"/>
                <a:gd name="T3" fmla="*/ 560 h 560"/>
                <a:gd name="T4" fmla="*/ 0 w 321"/>
                <a:gd name="T5" fmla="*/ 159 h 560"/>
                <a:gd name="T6" fmla="*/ 80 w 321"/>
                <a:gd name="T7" fmla="*/ 0 h 560"/>
                <a:gd name="T8" fmla="*/ 321 w 321"/>
                <a:gd name="T9" fmla="*/ 398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1" h="560">
                  <a:moveTo>
                    <a:pt x="321" y="398"/>
                  </a:moveTo>
                  <a:lnTo>
                    <a:pt x="241" y="560"/>
                  </a:lnTo>
                  <a:lnTo>
                    <a:pt x="0" y="159"/>
                  </a:lnTo>
                  <a:lnTo>
                    <a:pt x="80" y="0"/>
                  </a:lnTo>
                  <a:lnTo>
                    <a:pt x="321" y="3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8" name="Group 437">
            <a:extLst>
              <a:ext uri="{FF2B5EF4-FFF2-40B4-BE49-F238E27FC236}">
                <a16:creationId xmlns:a16="http://schemas.microsoft.com/office/drawing/2014/main" id="{1703F88F-317E-461B-B7CD-E02EFA9FF33D}"/>
              </a:ext>
            </a:extLst>
          </p:cNvPr>
          <p:cNvGrpSpPr/>
          <p:nvPr/>
        </p:nvGrpSpPr>
        <p:grpSpPr>
          <a:xfrm>
            <a:off x="2697163" y="3436938"/>
            <a:ext cx="577850" cy="577851"/>
            <a:chOff x="2697163" y="3436938"/>
            <a:chExt cx="577850" cy="577851"/>
          </a:xfrm>
          <a:solidFill>
            <a:schemeClr val="accent1"/>
          </a:solidFill>
        </p:grpSpPr>
        <p:sp>
          <p:nvSpPr>
            <p:cNvPr id="348" name="Freeform 188">
              <a:extLst>
                <a:ext uri="{FF2B5EF4-FFF2-40B4-BE49-F238E27FC236}">
                  <a16:creationId xmlns:a16="http://schemas.microsoft.com/office/drawing/2014/main" id="{457F7D05-F54A-4695-BFAD-F357A36CFF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7163" y="3436938"/>
              <a:ext cx="577850" cy="577850"/>
            </a:xfrm>
            <a:custGeom>
              <a:avLst/>
              <a:gdLst>
                <a:gd name="T0" fmla="*/ 1121 w 1603"/>
                <a:gd name="T1" fmla="*/ 721 h 1603"/>
                <a:gd name="T2" fmla="*/ 1108 w 1603"/>
                <a:gd name="T3" fmla="*/ 562 h 1603"/>
                <a:gd name="T4" fmla="*/ 1396 w 1603"/>
                <a:gd name="T5" fmla="*/ 562 h 1603"/>
                <a:gd name="T6" fmla="*/ 1438 w 1603"/>
                <a:gd name="T7" fmla="*/ 721 h 1603"/>
                <a:gd name="T8" fmla="*/ 1121 w 1603"/>
                <a:gd name="T9" fmla="*/ 721 h 1603"/>
                <a:gd name="T10" fmla="*/ 950 w 1603"/>
                <a:gd name="T11" fmla="*/ 1042 h 1603"/>
                <a:gd name="T12" fmla="*/ 653 w 1603"/>
                <a:gd name="T13" fmla="*/ 1042 h 1603"/>
                <a:gd name="T14" fmla="*/ 642 w 1603"/>
                <a:gd name="T15" fmla="*/ 882 h 1603"/>
                <a:gd name="T16" fmla="*/ 961 w 1603"/>
                <a:gd name="T17" fmla="*/ 882 h 1603"/>
                <a:gd name="T18" fmla="*/ 950 w 1603"/>
                <a:gd name="T19" fmla="*/ 1042 h 1603"/>
                <a:gd name="T20" fmla="*/ 676 w 1603"/>
                <a:gd name="T21" fmla="*/ 1203 h 1603"/>
                <a:gd name="T22" fmla="*/ 927 w 1603"/>
                <a:gd name="T23" fmla="*/ 1203 h 1603"/>
                <a:gd name="T24" fmla="*/ 801 w 1603"/>
                <a:gd name="T25" fmla="*/ 1443 h 1603"/>
                <a:gd name="T26" fmla="*/ 676 w 1603"/>
                <a:gd name="T27" fmla="*/ 1203 h 1603"/>
                <a:gd name="T28" fmla="*/ 301 w 1603"/>
                <a:gd name="T29" fmla="*/ 1203 h 1603"/>
                <a:gd name="T30" fmla="*/ 524 w 1603"/>
                <a:gd name="T31" fmla="*/ 1203 h 1603"/>
                <a:gd name="T32" fmla="*/ 592 w 1603"/>
                <a:gd name="T33" fmla="*/ 1408 h 1603"/>
                <a:gd name="T34" fmla="*/ 301 w 1603"/>
                <a:gd name="T35" fmla="*/ 1203 h 1603"/>
                <a:gd name="T36" fmla="*/ 592 w 1603"/>
                <a:gd name="T37" fmla="*/ 195 h 1603"/>
                <a:gd name="T38" fmla="*/ 523 w 1603"/>
                <a:gd name="T39" fmla="*/ 401 h 1603"/>
                <a:gd name="T40" fmla="*/ 300 w 1603"/>
                <a:gd name="T41" fmla="*/ 401 h 1603"/>
                <a:gd name="T42" fmla="*/ 592 w 1603"/>
                <a:gd name="T43" fmla="*/ 195 h 1603"/>
                <a:gd name="T44" fmla="*/ 676 w 1603"/>
                <a:gd name="T45" fmla="*/ 401 h 1603"/>
                <a:gd name="T46" fmla="*/ 801 w 1603"/>
                <a:gd name="T47" fmla="*/ 160 h 1603"/>
                <a:gd name="T48" fmla="*/ 927 w 1603"/>
                <a:gd name="T49" fmla="*/ 401 h 1603"/>
                <a:gd name="T50" fmla="*/ 676 w 1603"/>
                <a:gd name="T51" fmla="*/ 401 h 1603"/>
                <a:gd name="T52" fmla="*/ 653 w 1603"/>
                <a:gd name="T53" fmla="*/ 562 h 1603"/>
                <a:gd name="T54" fmla="*/ 950 w 1603"/>
                <a:gd name="T55" fmla="*/ 562 h 1603"/>
                <a:gd name="T56" fmla="*/ 961 w 1603"/>
                <a:gd name="T57" fmla="*/ 721 h 1603"/>
                <a:gd name="T58" fmla="*/ 642 w 1603"/>
                <a:gd name="T59" fmla="*/ 721 h 1603"/>
                <a:gd name="T60" fmla="*/ 653 w 1603"/>
                <a:gd name="T61" fmla="*/ 562 h 1603"/>
                <a:gd name="T62" fmla="*/ 165 w 1603"/>
                <a:gd name="T63" fmla="*/ 721 h 1603"/>
                <a:gd name="T64" fmla="*/ 206 w 1603"/>
                <a:gd name="T65" fmla="*/ 562 h 1603"/>
                <a:gd name="T66" fmla="*/ 495 w 1603"/>
                <a:gd name="T67" fmla="*/ 562 h 1603"/>
                <a:gd name="T68" fmla="*/ 482 w 1603"/>
                <a:gd name="T69" fmla="*/ 721 h 1603"/>
                <a:gd name="T70" fmla="*/ 165 w 1603"/>
                <a:gd name="T71" fmla="*/ 721 h 1603"/>
                <a:gd name="T72" fmla="*/ 165 w 1603"/>
                <a:gd name="T73" fmla="*/ 882 h 1603"/>
                <a:gd name="T74" fmla="*/ 482 w 1603"/>
                <a:gd name="T75" fmla="*/ 882 h 1603"/>
                <a:gd name="T76" fmla="*/ 495 w 1603"/>
                <a:gd name="T77" fmla="*/ 1042 h 1603"/>
                <a:gd name="T78" fmla="*/ 207 w 1603"/>
                <a:gd name="T79" fmla="*/ 1042 h 1603"/>
                <a:gd name="T80" fmla="*/ 165 w 1603"/>
                <a:gd name="T81" fmla="*/ 882 h 1603"/>
                <a:gd name="T82" fmla="*/ 1303 w 1603"/>
                <a:gd name="T83" fmla="*/ 401 h 1603"/>
                <a:gd name="T84" fmla="*/ 1079 w 1603"/>
                <a:gd name="T85" fmla="*/ 401 h 1603"/>
                <a:gd name="T86" fmla="*/ 1011 w 1603"/>
                <a:gd name="T87" fmla="*/ 195 h 1603"/>
                <a:gd name="T88" fmla="*/ 1303 w 1603"/>
                <a:gd name="T89" fmla="*/ 401 h 1603"/>
                <a:gd name="T90" fmla="*/ 801 w 1603"/>
                <a:gd name="T91" fmla="*/ 0 h 1603"/>
                <a:gd name="T92" fmla="*/ 0 w 1603"/>
                <a:gd name="T93" fmla="*/ 801 h 1603"/>
                <a:gd name="T94" fmla="*/ 801 w 1603"/>
                <a:gd name="T95" fmla="*/ 1603 h 1603"/>
                <a:gd name="T96" fmla="*/ 1403 w 1603"/>
                <a:gd name="T97" fmla="*/ 1332 h 1603"/>
                <a:gd name="T98" fmla="*/ 1403 w 1603"/>
                <a:gd name="T99" fmla="*/ 1443 h 1603"/>
                <a:gd name="T100" fmla="*/ 1563 w 1603"/>
                <a:gd name="T101" fmla="*/ 1443 h 1603"/>
                <a:gd name="T102" fmla="*/ 1563 w 1603"/>
                <a:gd name="T103" fmla="*/ 1042 h 1603"/>
                <a:gd name="T104" fmla="*/ 1162 w 1603"/>
                <a:gd name="T105" fmla="*/ 1042 h 1603"/>
                <a:gd name="T106" fmla="*/ 1162 w 1603"/>
                <a:gd name="T107" fmla="*/ 1202 h 1603"/>
                <a:gd name="T108" fmla="*/ 1302 w 1603"/>
                <a:gd name="T109" fmla="*/ 1202 h 1603"/>
                <a:gd name="T110" fmla="*/ 1011 w 1603"/>
                <a:gd name="T111" fmla="*/ 1408 h 1603"/>
                <a:gd name="T112" fmla="*/ 1121 w 1603"/>
                <a:gd name="T113" fmla="*/ 882 h 1603"/>
                <a:gd name="T114" fmla="*/ 1438 w 1603"/>
                <a:gd name="T115" fmla="*/ 882 h 1603"/>
                <a:gd name="T116" fmla="*/ 1593 w 1603"/>
                <a:gd name="T117" fmla="*/ 882 h 1603"/>
                <a:gd name="T118" fmla="*/ 1599 w 1603"/>
                <a:gd name="T119" fmla="*/ 882 h 1603"/>
                <a:gd name="T120" fmla="*/ 1603 w 1603"/>
                <a:gd name="T121" fmla="*/ 801 h 1603"/>
                <a:gd name="T122" fmla="*/ 801 w 1603"/>
                <a:gd name="T123" fmla="*/ 0 h 1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03" h="1603">
                  <a:moveTo>
                    <a:pt x="1121" y="721"/>
                  </a:moveTo>
                  <a:cubicBezTo>
                    <a:pt x="1118" y="666"/>
                    <a:pt x="1114" y="613"/>
                    <a:pt x="1108" y="562"/>
                  </a:cubicBezTo>
                  <a:lnTo>
                    <a:pt x="1396" y="562"/>
                  </a:lnTo>
                  <a:cubicBezTo>
                    <a:pt x="1417" y="612"/>
                    <a:pt x="1431" y="666"/>
                    <a:pt x="1438" y="721"/>
                  </a:cubicBezTo>
                  <a:lnTo>
                    <a:pt x="1121" y="721"/>
                  </a:lnTo>
                  <a:close/>
                  <a:moveTo>
                    <a:pt x="950" y="1042"/>
                  </a:moveTo>
                  <a:lnTo>
                    <a:pt x="653" y="1042"/>
                  </a:lnTo>
                  <a:cubicBezTo>
                    <a:pt x="648" y="992"/>
                    <a:pt x="644" y="938"/>
                    <a:pt x="642" y="882"/>
                  </a:cubicBezTo>
                  <a:lnTo>
                    <a:pt x="961" y="882"/>
                  </a:lnTo>
                  <a:cubicBezTo>
                    <a:pt x="959" y="938"/>
                    <a:pt x="955" y="992"/>
                    <a:pt x="950" y="1042"/>
                  </a:cubicBezTo>
                  <a:close/>
                  <a:moveTo>
                    <a:pt x="676" y="1203"/>
                  </a:moveTo>
                  <a:lnTo>
                    <a:pt x="927" y="1203"/>
                  </a:lnTo>
                  <a:cubicBezTo>
                    <a:pt x="897" y="1349"/>
                    <a:pt x="852" y="1443"/>
                    <a:pt x="801" y="1443"/>
                  </a:cubicBezTo>
                  <a:cubicBezTo>
                    <a:pt x="751" y="1443"/>
                    <a:pt x="706" y="1349"/>
                    <a:pt x="676" y="1203"/>
                  </a:cubicBezTo>
                  <a:close/>
                  <a:moveTo>
                    <a:pt x="301" y="1203"/>
                  </a:moveTo>
                  <a:lnTo>
                    <a:pt x="524" y="1203"/>
                  </a:lnTo>
                  <a:cubicBezTo>
                    <a:pt x="542" y="1280"/>
                    <a:pt x="565" y="1349"/>
                    <a:pt x="592" y="1408"/>
                  </a:cubicBezTo>
                  <a:cubicBezTo>
                    <a:pt x="476" y="1368"/>
                    <a:pt x="376" y="1296"/>
                    <a:pt x="301" y="1203"/>
                  </a:cubicBezTo>
                  <a:close/>
                  <a:moveTo>
                    <a:pt x="592" y="195"/>
                  </a:moveTo>
                  <a:cubicBezTo>
                    <a:pt x="565" y="254"/>
                    <a:pt x="541" y="323"/>
                    <a:pt x="523" y="401"/>
                  </a:cubicBezTo>
                  <a:lnTo>
                    <a:pt x="300" y="401"/>
                  </a:lnTo>
                  <a:cubicBezTo>
                    <a:pt x="375" y="308"/>
                    <a:pt x="476" y="235"/>
                    <a:pt x="592" y="195"/>
                  </a:cubicBezTo>
                  <a:close/>
                  <a:moveTo>
                    <a:pt x="676" y="401"/>
                  </a:moveTo>
                  <a:cubicBezTo>
                    <a:pt x="705" y="254"/>
                    <a:pt x="751" y="160"/>
                    <a:pt x="801" y="160"/>
                  </a:cubicBezTo>
                  <a:cubicBezTo>
                    <a:pt x="852" y="160"/>
                    <a:pt x="897" y="254"/>
                    <a:pt x="927" y="401"/>
                  </a:cubicBezTo>
                  <a:lnTo>
                    <a:pt x="676" y="401"/>
                  </a:lnTo>
                  <a:close/>
                  <a:moveTo>
                    <a:pt x="653" y="562"/>
                  </a:moveTo>
                  <a:lnTo>
                    <a:pt x="950" y="562"/>
                  </a:lnTo>
                  <a:cubicBezTo>
                    <a:pt x="955" y="612"/>
                    <a:pt x="959" y="666"/>
                    <a:pt x="961" y="721"/>
                  </a:cubicBezTo>
                  <a:lnTo>
                    <a:pt x="642" y="721"/>
                  </a:lnTo>
                  <a:cubicBezTo>
                    <a:pt x="644" y="666"/>
                    <a:pt x="648" y="612"/>
                    <a:pt x="653" y="562"/>
                  </a:cubicBezTo>
                  <a:close/>
                  <a:moveTo>
                    <a:pt x="165" y="721"/>
                  </a:moveTo>
                  <a:cubicBezTo>
                    <a:pt x="172" y="666"/>
                    <a:pt x="186" y="612"/>
                    <a:pt x="206" y="562"/>
                  </a:cubicBezTo>
                  <a:lnTo>
                    <a:pt x="495" y="562"/>
                  </a:lnTo>
                  <a:cubicBezTo>
                    <a:pt x="489" y="613"/>
                    <a:pt x="484" y="666"/>
                    <a:pt x="482" y="721"/>
                  </a:cubicBezTo>
                  <a:lnTo>
                    <a:pt x="165" y="721"/>
                  </a:lnTo>
                  <a:close/>
                  <a:moveTo>
                    <a:pt x="165" y="882"/>
                  </a:moveTo>
                  <a:lnTo>
                    <a:pt x="482" y="882"/>
                  </a:lnTo>
                  <a:cubicBezTo>
                    <a:pt x="485" y="937"/>
                    <a:pt x="489" y="991"/>
                    <a:pt x="495" y="1042"/>
                  </a:cubicBezTo>
                  <a:lnTo>
                    <a:pt x="207" y="1042"/>
                  </a:lnTo>
                  <a:cubicBezTo>
                    <a:pt x="186" y="992"/>
                    <a:pt x="172" y="938"/>
                    <a:pt x="165" y="882"/>
                  </a:cubicBezTo>
                  <a:close/>
                  <a:moveTo>
                    <a:pt x="1303" y="401"/>
                  </a:moveTo>
                  <a:lnTo>
                    <a:pt x="1079" y="401"/>
                  </a:lnTo>
                  <a:cubicBezTo>
                    <a:pt x="1061" y="323"/>
                    <a:pt x="1038" y="254"/>
                    <a:pt x="1011" y="195"/>
                  </a:cubicBezTo>
                  <a:cubicBezTo>
                    <a:pt x="1127" y="235"/>
                    <a:pt x="1228" y="308"/>
                    <a:pt x="1303" y="401"/>
                  </a:cubicBezTo>
                  <a:close/>
                  <a:moveTo>
                    <a:pt x="801" y="0"/>
                  </a:moveTo>
                  <a:cubicBezTo>
                    <a:pt x="359" y="0"/>
                    <a:pt x="0" y="359"/>
                    <a:pt x="0" y="801"/>
                  </a:cubicBezTo>
                  <a:cubicBezTo>
                    <a:pt x="0" y="1244"/>
                    <a:pt x="359" y="1603"/>
                    <a:pt x="801" y="1603"/>
                  </a:cubicBezTo>
                  <a:cubicBezTo>
                    <a:pt x="1041" y="1603"/>
                    <a:pt x="1256" y="1498"/>
                    <a:pt x="1403" y="1332"/>
                  </a:cubicBezTo>
                  <a:lnTo>
                    <a:pt x="1403" y="1443"/>
                  </a:lnTo>
                  <a:lnTo>
                    <a:pt x="1563" y="1443"/>
                  </a:lnTo>
                  <a:lnTo>
                    <a:pt x="1563" y="1042"/>
                  </a:lnTo>
                  <a:lnTo>
                    <a:pt x="1162" y="1042"/>
                  </a:lnTo>
                  <a:lnTo>
                    <a:pt x="1162" y="1202"/>
                  </a:lnTo>
                  <a:lnTo>
                    <a:pt x="1302" y="1202"/>
                  </a:lnTo>
                  <a:cubicBezTo>
                    <a:pt x="1227" y="1296"/>
                    <a:pt x="1127" y="1368"/>
                    <a:pt x="1011" y="1408"/>
                  </a:cubicBezTo>
                  <a:cubicBezTo>
                    <a:pt x="1072" y="1277"/>
                    <a:pt x="1112" y="1091"/>
                    <a:pt x="1121" y="882"/>
                  </a:cubicBezTo>
                  <a:lnTo>
                    <a:pt x="1438" y="882"/>
                  </a:lnTo>
                  <a:lnTo>
                    <a:pt x="1593" y="882"/>
                  </a:lnTo>
                  <a:lnTo>
                    <a:pt x="1599" y="882"/>
                  </a:lnTo>
                  <a:cubicBezTo>
                    <a:pt x="1602" y="855"/>
                    <a:pt x="1603" y="829"/>
                    <a:pt x="1603" y="801"/>
                  </a:cubicBezTo>
                  <a:cubicBezTo>
                    <a:pt x="1603" y="359"/>
                    <a:pt x="1244" y="0"/>
                    <a:pt x="8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9" name="Freeform 189">
              <a:extLst>
                <a:ext uri="{FF2B5EF4-FFF2-40B4-BE49-F238E27FC236}">
                  <a16:creationId xmlns:a16="http://schemas.microsoft.com/office/drawing/2014/main" id="{09501890-01D2-40F6-A89F-B1E3C260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6088" y="3870326"/>
              <a:ext cx="215900" cy="144463"/>
            </a:xfrm>
            <a:custGeom>
              <a:avLst/>
              <a:gdLst>
                <a:gd name="T0" fmla="*/ 602 w 602"/>
                <a:gd name="T1" fmla="*/ 0 h 401"/>
                <a:gd name="T2" fmla="*/ 501 w 602"/>
                <a:gd name="T3" fmla="*/ 0 h 401"/>
                <a:gd name="T4" fmla="*/ 210 w 602"/>
                <a:gd name="T5" fmla="*/ 206 h 401"/>
                <a:gd name="T6" fmla="*/ 0 w 602"/>
                <a:gd name="T7" fmla="*/ 401 h 401"/>
                <a:gd name="T8" fmla="*/ 602 w 602"/>
                <a:gd name="T9" fmla="*/ 130 h 401"/>
                <a:gd name="T10" fmla="*/ 602 w 602"/>
                <a:gd name="T11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2" h="401">
                  <a:moveTo>
                    <a:pt x="602" y="0"/>
                  </a:moveTo>
                  <a:lnTo>
                    <a:pt x="501" y="0"/>
                  </a:lnTo>
                  <a:cubicBezTo>
                    <a:pt x="426" y="94"/>
                    <a:pt x="326" y="166"/>
                    <a:pt x="210" y="206"/>
                  </a:cubicBezTo>
                  <a:cubicBezTo>
                    <a:pt x="154" y="328"/>
                    <a:pt x="81" y="401"/>
                    <a:pt x="0" y="401"/>
                  </a:cubicBezTo>
                  <a:cubicBezTo>
                    <a:pt x="240" y="401"/>
                    <a:pt x="455" y="296"/>
                    <a:pt x="602" y="130"/>
                  </a:cubicBezTo>
                  <a:lnTo>
                    <a:pt x="60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14" name="Group 413">
            <a:extLst>
              <a:ext uri="{FF2B5EF4-FFF2-40B4-BE49-F238E27FC236}">
                <a16:creationId xmlns:a16="http://schemas.microsoft.com/office/drawing/2014/main" id="{40E73EDA-473E-4275-B316-1471F7E2502E}"/>
              </a:ext>
            </a:extLst>
          </p:cNvPr>
          <p:cNvGrpSpPr/>
          <p:nvPr/>
        </p:nvGrpSpPr>
        <p:grpSpPr>
          <a:xfrm>
            <a:off x="8796338" y="5470526"/>
            <a:ext cx="577850" cy="577850"/>
            <a:chOff x="8796338" y="5470526"/>
            <a:chExt cx="577850" cy="577850"/>
          </a:xfrm>
          <a:solidFill>
            <a:schemeClr val="accent1"/>
          </a:solidFill>
        </p:grpSpPr>
        <p:sp>
          <p:nvSpPr>
            <p:cNvPr id="350" name="Freeform 190">
              <a:extLst>
                <a:ext uri="{FF2B5EF4-FFF2-40B4-BE49-F238E27FC236}">
                  <a16:creationId xmlns:a16="http://schemas.microsoft.com/office/drawing/2014/main" id="{87DE6A4F-31B5-47C6-AB74-4ACD284714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6338" y="5470526"/>
              <a:ext cx="577850" cy="577850"/>
            </a:xfrm>
            <a:custGeom>
              <a:avLst/>
              <a:gdLst>
                <a:gd name="T0" fmla="*/ 802 w 1604"/>
                <a:gd name="T1" fmla="*/ 0 h 1604"/>
                <a:gd name="T2" fmla="*/ 641 w 1604"/>
                <a:gd name="T3" fmla="*/ 0 h 1604"/>
                <a:gd name="T4" fmla="*/ 641 w 1604"/>
                <a:gd name="T5" fmla="*/ 321 h 1604"/>
                <a:gd name="T6" fmla="*/ 802 w 1604"/>
                <a:gd name="T7" fmla="*/ 481 h 1604"/>
                <a:gd name="T8" fmla="*/ 802 w 1604"/>
                <a:gd name="T9" fmla="*/ 241 h 1604"/>
                <a:gd name="T10" fmla="*/ 1363 w 1604"/>
                <a:gd name="T11" fmla="*/ 802 h 1604"/>
                <a:gd name="T12" fmla="*/ 802 w 1604"/>
                <a:gd name="T13" fmla="*/ 1363 h 1604"/>
                <a:gd name="T14" fmla="*/ 802 w 1604"/>
                <a:gd name="T15" fmla="*/ 962 h 1604"/>
                <a:gd name="T16" fmla="*/ 962 w 1604"/>
                <a:gd name="T17" fmla="*/ 802 h 1604"/>
                <a:gd name="T18" fmla="*/ 802 w 1604"/>
                <a:gd name="T19" fmla="*/ 642 h 1604"/>
                <a:gd name="T20" fmla="*/ 641 w 1604"/>
                <a:gd name="T21" fmla="*/ 481 h 1604"/>
                <a:gd name="T22" fmla="*/ 160 w 1604"/>
                <a:gd name="T23" fmla="*/ 0 h 1604"/>
                <a:gd name="T24" fmla="*/ 0 w 1604"/>
                <a:gd name="T25" fmla="*/ 0 h 1604"/>
                <a:gd name="T26" fmla="*/ 0 w 1604"/>
                <a:gd name="T27" fmla="*/ 1604 h 1604"/>
                <a:gd name="T28" fmla="*/ 160 w 1604"/>
                <a:gd name="T29" fmla="*/ 1604 h 1604"/>
                <a:gd name="T30" fmla="*/ 160 w 1604"/>
                <a:gd name="T31" fmla="*/ 1363 h 1604"/>
                <a:gd name="T32" fmla="*/ 160 w 1604"/>
                <a:gd name="T33" fmla="*/ 1123 h 1604"/>
                <a:gd name="T34" fmla="*/ 160 w 1604"/>
                <a:gd name="T35" fmla="*/ 241 h 1604"/>
                <a:gd name="T36" fmla="*/ 561 w 1604"/>
                <a:gd name="T37" fmla="*/ 642 h 1604"/>
                <a:gd name="T38" fmla="*/ 641 w 1604"/>
                <a:gd name="T39" fmla="*/ 722 h 1604"/>
                <a:gd name="T40" fmla="*/ 722 w 1604"/>
                <a:gd name="T41" fmla="*/ 802 h 1604"/>
                <a:gd name="T42" fmla="*/ 641 w 1604"/>
                <a:gd name="T43" fmla="*/ 882 h 1604"/>
                <a:gd name="T44" fmla="*/ 641 w 1604"/>
                <a:gd name="T45" fmla="*/ 1123 h 1604"/>
                <a:gd name="T46" fmla="*/ 641 w 1604"/>
                <a:gd name="T47" fmla="*/ 1604 h 1604"/>
                <a:gd name="T48" fmla="*/ 802 w 1604"/>
                <a:gd name="T49" fmla="*/ 1604 h 1604"/>
                <a:gd name="T50" fmla="*/ 1604 w 1604"/>
                <a:gd name="T51" fmla="*/ 802 h 1604"/>
                <a:gd name="T52" fmla="*/ 802 w 1604"/>
                <a:gd name="T53" fmla="*/ 0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04" h="1604">
                  <a:moveTo>
                    <a:pt x="802" y="0"/>
                  </a:moveTo>
                  <a:lnTo>
                    <a:pt x="641" y="0"/>
                  </a:lnTo>
                  <a:lnTo>
                    <a:pt x="641" y="321"/>
                  </a:lnTo>
                  <a:lnTo>
                    <a:pt x="802" y="481"/>
                  </a:lnTo>
                  <a:lnTo>
                    <a:pt x="802" y="241"/>
                  </a:lnTo>
                  <a:lnTo>
                    <a:pt x="1363" y="802"/>
                  </a:lnTo>
                  <a:lnTo>
                    <a:pt x="802" y="1363"/>
                  </a:lnTo>
                  <a:lnTo>
                    <a:pt x="802" y="962"/>
                  </a:lnTo>
                  <a:lnTo>
                    <a:pt x="962" y="802"/>
                  </a:lnTo>
                  <a:lnTo>
                    <a:pt x="802" y="642"/>
                  </a:lnTo>
                  <a:lnTo>
                    <a:pt x="641" y="481"/>
                  </a:lnTo>
                  <a:lnTo>
                    <a:pt x="160" y="0"/>
                  </a:lnTo>
                  <a:lnTo>
                    <a:pt x="0" y="0"/>
                  </a:lnTo>
                  <a:lnTo>
                    <a:pt x="0" y="1604"/>
                  </a:lnTo>
                  <a:lnTo>
                    <a:pt x="160" y="1604"/>
                  </a:lnTo>
                  <a:lnTo>
                    <a:pt x="160" y="1363"/>
                  </a:lnTo>
                  <a:lnTo>
                    <a:pt x="160" y="1123"/>
                  </a:lnTo>
                  <a:lnTo>
                    <a:pt x="160" y="241"/>
                  </a:lnTo>
                  <a:lnTo>
                    <a:pt x="561" y="642"/>
                  </a:lnTo>
                  <a:lnTo>
                    <a:pt x="641" y="722"/>
                  </a:lnTo>
                  <a:lnTo>
                    <a:pt x="722" y="802"/>
                  </a:lnTo>
                  <a:lnTo>
                    <a:pt x="641" y="882"/>
                  </a:lnTo>
                  <a:lnTo>
                    <a:pt x="641" y="1123"/>
                  </a:lnTo>
                  <a:lnTo>
                    <a:pt x="641" y="1604"/>
                  </a:lnTo>
                  <a:lnTo>
                    <a:pt x="802" y="1604"/>
                  </a:lnTo>
                  <a:lnTo>
                    <a:pt x="1604" y="802"/>
                  </a:lnTo>
                  <a:lnTo>
                    <a:pt x="80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1" name="Freeform 191">
              <a:extLst>
                <a:ext uri="{FF2B5EF4-FFF2-40B4-BE49-F238E27FC236}">
                  <a16:creationId xmlns:a16="http://schemas.microsoft.com/office/drawing/2014/main" id="{FBDFDB89-C395-4BE4-9448-DFF28E190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3651" y="5816601"/>
              <a:ext cx="115888" cy="203200"/>
            </a:xfrm>
            <a:custGeom>
              <a:avLst/>
              <a:gdLst>
                <a:gd name="T0" fmla="*/ 0 w 320"/>
                <a:gd name="T1" fmla="*/ 562 h 562"/>
                <a:gd name="T2" fmla="*/ 320 w 320"/>
                <a:gd name="T3" fmla="*/ 241 h 562"/>
                <a:gd name="T4" fmla="*/ 320 w 320"/>
                <a:gd name="T5" fmla="*/ 0 h 562"/>
                <a:gd name="T6" fmla="*/ 0 w 320"/>
                <a:gd name="T7" fmla="*/ 321 h 562"/>
                <a:gd name="T8" fmla="*/ 0 w 320"/>
                <a:gd name="T9" fmla="*/ 562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" h="562">
                  <a:moveTo>
                    <a:pt x="0" y="562"/>
                  </a:moveTo>
                  <a:lnTo>
                    <a:pt x="320" y="241"/>
                  </a:lnTo>
                  <a:lnTo>
                    <a:pt x="320" y="0"/>
                  </a:lnTo>
                  <a:lnTo>
                    <a:pt x="0" y="321"/>
                  </a:lnTo>
                  <a:lnTo>
                    <a:pt x="0" y="5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2" name="Freeform 192">
              <a:extLst>
                <a:ext uri="{FF2B5EF4-FFF2-40B4-BE49-F238E27FC236}">
                  <a16:creationId xmlns:a16="http://schemas.microsoft.com/office/drawing/2014/main" id="{7807DAF2-7B19-4CCA-B418-76EEE11A4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5076" y="5470526"/>
              <a:ext cx="173038" cy="260350"/>
            </a:xfrm>
            <a:custGeom>
              <a:avLst/>
              <a:gdLst>
                <a:gd name="T0" fmla="*/ 0 w 481"/>
                <a:gd name="T1" fmla="*/ 0 h 722"/>
                <a:gd name="T2" fmla="*/ 481 w 481"/>
                <a:gd name="T3" fmla="*/ 481 h 722"/>
                <a:gd name="T4" fmla="*/ 481 w 481"/>
                <a:gd name="T5" fmla="*/ 722 h 722"/>
                <a:gd name="T6" fmla="*/ 0 w 481"/>
                <a:gd name="T7" fmla="*/ 241 h 722"/>
                <a:gd name="T8" fmla="*/ 0 w 481"/>
                <a:gd name="T9" fmla="*/ 0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1" h="722">
                  <a:moveTo>
                    <a:pt x="0" y="0"/>
                  </a:moveTo>
                  <a:lnTo>
                    <a:pt x="481" y="481"/>
                  </a:lnTo>
                  <a:lnTo>
                    <a:pt x="481" y="722"/>
                  </a:lnTo>
                  <a:lnTo>
                    <a:pt x="0" y="24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3" name="Freeform 193">
              <a:extLst>
                <a:ext uri="{FF2B5EF4-FFF2-40B4-BE49-F238E27FC236}">
                  <a16:creationId xmlns:a16="http://schemas.microsoft.com/office/drawing/2014/main" id="{B3754BCD-85A3-4FEC-B319-FE65B5F64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5263" y="5470526"/>
              <a:ext cx="173038" cy="260350"/>
            </a:xfrm>
            <a:custGeom>
              <a:avLst/>
              <a:gdLst>
                <a:gd name="T0" fmla="*/ 0 w 481"/>
                <a:gd name="T1" fmla="*/ 0 h 722"/>
                <a:gd name="T2" fmla="*/ 481 w 481"/>
                <a:gd name="T3" fmla="*/ 481 h 722"/>
                <a:gd name="T4" fmla="*/ 481 w 481"/>
                <a:gd name="T5" fmla="*/ 722 h 722"/>
                <a:gd name="T6" fmla="*/ 0 w 481"/>
                <a:gd name="T7" fmla="*/ 241 h 722"/>
                <a:gd name="T8" fmla="*/ 0 w 481"/>
                <a:gd name="T9" fmla="*/ 0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1" h="722">
                  <a:moveTo>
                    <a:pt x="0" y="0"/>
                  </a:moveTo>
                  <a:lnTo>
                    <a:pt x="481" y="481"/>
                  </a:lnTo>
                  <a:lnTo>
                    <a:pt x="481" y="722"/>
                  </a:lnTo>
                  <a:lnTo>
                    <a:pt x="0" y="24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7" name="Group 436">
            <a:extLst>
              <a:ext uri="{FF2B5EF4-FFF2-40B4-BE49-F238E27FC236}">
                <a16:creationId xmlns:a16="http://schemas.microsoft.com/office/drawing/2014/main" id="{B4777296-D51F-45D8-8A5D-A3457CFB49DB}"/>
              </a:ext>
            </a:extLst>
          </p:cNvPr>
          <p:cNvGrpSpPr/>
          <p:nvPr/>
        </p:nvGrpSpPr>
        <p:grpSpPr>
          <a:xfrm>
            <a:off x="2697163" y="4495801"/>
            <a:ext cx="577850" cy="493712"/>
            <a:chOff x="2697163" y="4495801"/>
            <a:chExt cx="577850" cy="493712"/>
          </a:xfrm>
          <a:solidFill>
            <a:schemeClr val="accent1"/>
          </a:solidFill>
        </p:grpSpPr>
        <p:sp>
          <p:nvSpPr>
            <p:cNvPr id="354" name="Freeform 194">
              <a:extLst>
                <a:ext uri="{FF2B5EF4-FFF2-40B4-BE49-F238E27FC236}">
                  <a16:creationId xmlns:a16="http://schemas.microsoft.com/office/drawing/2014/main" id="{984BB45E-ED48-40D5-AB8A-C028A82AE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301" y="4611688"/>
              <a:ext cx="157163" cy="244475"/>
            </a:xfrm>
            <a:custGeom>
              <a:avLst/>
              <a:gdLst>
                <a:gd name="T0" fmla="*/ 11 w 436"/>
                <a:gd name="T1" fmla="*/ 18 h 679"/>
                <a:gd name="T2" fmla="*/ 110 w 436"/>
                <a:gd name="T3" fmla="*/ 0 h 679"/>
                <a:gd name="T4" fmla="*/ 436 w 436"/>
                <a:gd name="T5" fmla="*/ 184 h 679"/>
                <a:gd name="T6" fmla="*/ 436 w 436"/>
                <a:gd name="T7" fmla="*/ 491 h 679"/>
                <a:gd name="T8" fmla="*/ 327 w 436"/>
                <a:gd name="T9" fmla="*/ 679 h 679"/>
                <a:gd name="T10" fmla="*/ 243 w 436"/>
                <a:gd name="T11" fmla="*/ 546 h 679"/>
                <a:gd name="T12" fmla="*/ 380 w 436"/>
                <a:gd name="T13" fmla="*/ 320 h 679"/>
                <a:gd name="T14" fmla="*/ 0 w 436"/>
                <a:gd name="T15" fmla="*/ 106 h 679"/>
                <a:gd name="T16" fmla="*/ 11 w 436"/>
                <a:gd name="T17" fmla="*/ 18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6" h="679">
                  <a:moveTo>
                    <a:pt x="11" y="18"/>
                  </a:moveTo>
                  <a:lnTo>
                    <a:pt x="110" y="0"/>
                  </a:lnTo>
                  <a:lnTo>
                    <a:pt x="436" y="184"/>
                  </a:lnTo>
                  <a:lnTo>
                    <a:pt x="436" y="491"/>
                  </a:lnTo>
                  <a:lnTo>
                    <a:pt x="327" y="679"/>
                  </a:lnTo>
                  <a:lnTo>
                    <a:pt x="243" y="546"/>
                  </a:lnTo>
                  <a:lnTo>
                    <a:pt x="380" y="320"/>
                  </a:lnTo>
                  <a:lnTo>
                    <a:pt x="0" y="106"/>
                  </a:lnTo>
                  <a:lnTo>
                    <a:pt x="1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5" name="Freeform 195">
              <a:extLst>
                <a:ext uri="{FF2B5EF4-FFF2-40B4-BE49-F238E27FC236}">
                  <a16:creationId xmlns:a16="http://schemas.microsoft.com/office/drawing/2014/main" id="{B3272ACC-F5D2-4D26-A878-F8A83BEBA7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7163" y="4716463"/>
              <a:ext cx="577850" cy="273050"/>
            </a:xfrm>
            <a:custGeom>
              <a:avLst/>
              <a:gdLst>
                <a:gd name="T0" fmla="*/ 924 w 1603"/>
                <a:gd name="T1" fmla="*/ 687 h 757"/>
                <a:gd name="T2" fmla="*/ 800 w 1603"/>
                <a:gd name="T3" fmla="*/ 610 h 757"/>
                <a:gd name="T4" fmla="*/ 982 w 1603"/>
                <a:gd name="T5" fmla="*/ 302 h 757"/>
                <a:gd name="T6" fmla="*/ 1106 w 1603"/>
                <a:gd name="T7" fmla="*/ 378 h 757"/>
                <a:gd name="T8" fmla="*/ 924 w 1603"/>
                <a:gd name="T9" fmla="*/ 687 h 757"/>
                <a:gd name="T10" fmla="*/ 673 w 1603"/>
                <a:gd name="T11" fmla="*/ 538 h 757"/>
                <a:gd name="T12" fmla="*/ 551 w 1603"/>
                <a:gd name="T13" fmla="*/ 465 h 757"/>
                <a:gd name="T14" fmla="*/ 734 w 1603"/>
                <a:gd name="T15" fmla="*/ 156 h 757"/>
                <a:gd name="T16" fmla="*/ 854 w 1603"/>
                <a:gd name="T17" fmla="*/ 228 h 757"/>
                <a:gd name="T18" fmla="*/ 673 w 1603"/>
                <a:gd name="T19" fmla="*/ 538 h 757"/>
                <a:gd name="T20" fmla="*/ 426 w 1603"/>
                <a:gd name="T21" fmla="*/ 391 h 757"/>
                <a:gd name="T22" fmla="*/ 297 w 1603"/>
                <a:gd name="T23" fmla="*/ 318 h 757"/>
                <a:gd name="T24" fmla="*/ 412 w 1603"/>
                <a:gd name="T25" fmla="*/ 131 h 757"/>
                <a:gd name="T26" fmla="*/ 537 w 1603"/>
                <a:gd name="T27" fmla="*/ 203 h 757"/>
                <a:gd name="T28" fmla="*/ 426 w 1603"/>
                <a:gd name="T29" fmla="*/ 391 h 757"/>
                <a:gd name="T30" fmla="*/ 1254 w 1603"/>
                <a:gd name="T31" fmla="*/ 328 h 757"/>
                <a:gd name="T32" fmla="*/ 1243 w 1603"/>
                <a:gd name="T33" fmla="*/ 291 h 757"/>
                <a:gd name="T34" fmla="*/ 1067 w 1603"/>
                <a:gd name="T35" fmla="*/ 196 h 757"/>
                <a:gd name="T36" fmla="*/ 924 w 1603"/>
                <a:gd name="T37" fmla="*/ 228 h 757"/>
                <a:gd name="T38" fmla="*/ 924 w 1603"/>
                <a:gd name="T39" fmla="*/ 105 h 757"/>
                <a:gd name="T40" fmla="*/ 740 w 1603"/>
                <a:gd name="T41" fmla="*/ 0 h 757"/>
                <a:gd name="T42" fmla="*/ 636 w 1603"/>
                <a:gd name="T43" fmla="*/ 21 h 757"/>
                <a:gd name="T44" fmla="*/ 608 w 1603"/>
                <a:gd name="T45" fmla="*/ 74 h 757"/>
                <a:gd name="T46" fmla="*/ 536 w 1603"/>
                <a:gd name="T47" fmla="*/ 40 h 757"/>
                <a:gd name="T48" fmla="*/ 294 w 1603"/>
                <a:gd name="T49" fmla="*/ 40 h 757"/>
                <a:gd name="T50" fmla="*/ 129 w 1603"/>
                <a:gd name="T51" fmla="*/ 324 h 757"/>
                <a:gd name="T52" fmla="*/ 0 w 1603"/>
                <a:gd name="T53" fmla="*/ 323 h 757"/>
                <a:gd name="T54" fmla="*/ 0 w 1603"/>
                <a:gd name="T55" fmla="*/ 478 h 757"/>
                <a:gd name="T56" fmla="*/ 287 w 1603"/>
                <a:gd name="T57" fmla="*/ 479 h 757"/>
                <a:gd name="T58" fmla="*/ 756 w 1603"/>
                <a:gd name="T59" fmla="*/ 757 h 757"/>
                <a:gd name="T60" fmla="*/ 1045 w 1603"/>
                <a:gd name="T61" fmla="*/ 757 h 757"/>
                <a:gd name="T62" fmla="*/ 1206 w 1603"/>
                <a:gd name="T63" fmla="*/ 481 h 757"/>
                <a:gd name="T64" fmla="*/ 1603 w 1603"/>
                <a:gd name="T65" fmla="*/ 481 h 757"/>
                <a:gd name="T66" fmla="*/ 1603 w 1603"/>
                <a:gd name="T67" fmla="*/ 327 h 757"/>
                <a:gd name="T68" fmla="*/ 1254 w 1603"/>
                <a:gd name="T69" fmla="*/ 328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03" h="757">
                  <a:moveTo>
                    <a:pt x="924" y="687"/>
                  </a:moveTo>
                  <a:lnTo>
                    <a:pt x="800" y="610"/>
                  </a:lnTo>
                  <a:lnTo>
                    <a:pt x="982" y="302"/>
                  </a:lnTo>
                  <a:lnTo>
                    <a:pt x="1106" y="378"/>
                  </a:lnTo>
                  <a:lnTo>
                    <a:pt x="924" y="687"/>
                  </a:lnTo>
                  <a:close/>
                  <a:moveTo>
                    <a:pt x="673" y="538"/>
                  </a:moveTo>
                  <a:lnTo>
                    <a:pt x="551" y="465"/>
                  </a:lnTo>
                  <a:lnTo>
                    <a:pt x="734" y="156"/>
                  </a:lnTo>
                  <a:lnTo>
                    <a:pt x="854" y="228"/>
                  </a:lnTo>
                  <a:lnTo>
                    <a:pt x="673" y="538"/>
                  </a:lnTo>
                  <a:close/>
                  <a:moveTo>
                    <a:pt x="426" y="391"/>
                  </a:moveTo>
                  <a:lnTo>
                    <a:pt x="297" y="318"/>
                  </a:lnTo>
                  <a:lnTo>
                    <a:pt x="412" y="131"/>
                  </a:lnTo>
                  <a:lnTo>
                    <a:pt x="537" y="203"/>
                  </a:lnTo>
                  <a:lnTo>
                    <a:pt x="426" y="391"/>
                  </a:lnTo>
                  <a:close/>
                  <a:moveTo>
                    <a:pt x="1254" y="328"/>
                  </a:moveTo>
                  <a:lnTo>
                    <a:pt x="1243" y="291"/>
                  </a:lnTo>
                  <a:lnTo>
                    <a:pt x="1067" y="196"/>
                  </a:lnTo>
                  <a:lnTo>
                    <a:pt x="924" y="228"/>
                  </a:lnTo>
                  <a:lnTo>
                    <a:pt x="924" y="105"/>
                  </a:lnTo>
                  <a:lnTo>
                    <a:pt x="740" y="0"/>
                  </a:lnTo>
                  <a:lnTo>
                    <a:pt x="636" y="21"/>
                  </a:lnTo>
                  <a:lnTo>
                    <a:pt x="608" y="74"/>
                  </a:lnTo>
                  <a:lnTo>
                    <a:pt x="536" y="40"/>
                  </a:lnTo>
                  <a:lnTo>
                    <a:pt x="294" y="40"/>
                  </a:lnTo>
                  <a:lnTo>
                    <a:pt x="129" y="324"/>
                  </a:lnTo>
                  <a:lnTo>
                    <a:pt x="0" y="323"/>
                  </a:lnTo>
                  <a:lnTo>
                    <a:pt x="0" y="478"/>
                  </a:lnTo>
                  <a:lnTo>
                    <a:pt x="287" y="479"/>
                  </a:lnTo>
                  <a:lnTo>
                    <a:pt x="756" y="757"/>
                  </a:lnTo>
                  <a:lnTo>
                    <a:pt x="1045" y="757"/>
                  </a:lnTo>
                  <a:lnTo>
                    <a:pt x="1206" y="481"/>
                  </a:lnTo>
                  <a:lnTo>
                    <a:pt x="1603" y="481"/>
                  </a:lnTo>
                  <a:lnTo>
                    <a:pt x="1603" y="327"/>
                  </a:lnTo>
                  <a:lnTo>
                    <a:pt x="1254" y="3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6" name="Freeform 196">
              <a:extLst>
                <a:ext uri="{FF2B5EF4-FFF2-40B4-BE49-F238E27FC236}">
                  <a16:creationId xmlns:a16="http://schemas.microsoft.com/office/drawing/2014/main" id="{75C17A12-BA6A-43E0-A8F4-12D51EE2F0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7163" y="4495801"/>
              <a:ext cx="577850" cy="203200"/>
            </a:xfrm>
            <a:custGeom>
              <a:avLst/>
              <a:gdLst>
                <a:gd name="T0" fmla="*/ 1471 w 1603"/>
                <a:gd name="T1" fmla="*/ 285 h 566"/>
                <a:gd name="T2" fmla="*/ 1152 w 1603"/>
                <a:gd name="T3" fmla="*/ 67 h 566"/>
                <a:gd name="T4" fmla="*/ 929 w 1603"/>
                <a:gd name="T5" fmla="*/ 0 h 566"/>
                <a:gd name="T6" fmla="*/ 711 w 1603"/>
                <a:gd name="T7" fmla="*/ 0 h 566"/>
                <a:gd name="T8" fmla="*/ 677 w 1603"/>
                <a:gd name="T9" fmla="*/ 0 h 566"/>
                <a:gd name="T10" fmla="*/ 536 w 1603"/>
                <a:gd name="T11" fmla="*/ 0 h 566"/>
                <a:gd name="T12" fmla="*/ 340 w 1603"/>
                <a:gd name="T13" fmla="*/ 69 h 566"/>
                <a:gd name="T14" fmla="*/ 121 w 1603"/>
                <a:gd name="T15" fmla="*/ 285 h 566"/>
                <a:gd name="T16" fmla="*/ 0 w 1603"/>
                <a:gd name="T17" fmla="*/ 284 h 566"/>
                <a:gd name="T18" fmla="*/ 0 w 1603"/>
                <a:gd name="T19" fmla="*/ 444 h 566"/>
                <a:gd name="T20" fmla="*/ 77 w 1603"/>
                <a:gd name="T21" fmla="*/ 444 h 566"/>
                <a:gd name="T22" fmla="*/ 239 w 1603"/>
                <a:gd name="T23" fmla="*/ 379 h 566"/>
                <a:gd name="T24" fmla="*/ 474 w 1603"/>
                <a:gd name="T25" fmla="*/ 146 h 566"/>
                <a:gd name="T26" fmla="*/ 618 w 1603"/>
                <a:gd name="T27" fmla="*/ 146 h 566"/>
                <a:gd name="T28" fmla="*/ 562 w 1603"/>
                <a:gd name="T29" fmla="*/ 249 h 566"/>
                <a:gd name="T30" fmla="*/ 561 w 1603"/>
                <a:gd name="T31" fmla="*/ 470 h 566"/>
                <a:gd name="T32" fmla="*/ 742 w 1603"/>
                <a:gd name="T33" fmla="*/ 566 h 566"/>
                <a:gd name="T34" fmla="*/ 917 w 1603"/>
                <a:gd name="T35" fmla="*/ 508 h 566"/>
                <a:gd name="T36" fmla="*/ 1023 w 1603"/>
                <a:gd name="T37" fmla="*/ 329 h 566"/>
                <a:gd name="T38" fmla="*/ 831 w 1603"/>
                <a:gd name="T39" fmla="*/ 361 h 566"/>
                <a:gd name="T40" fmla="*/ 800 w 1603"/>
                <a:gd name="T41" fmla="*/ 427 h 566"/>
                <a:gd name="T42" fmla="*/ 668 w 1603"/>
                <a:gd name="T43" fmla="*/ 360 h 566"/>
                <a:gd name="T44" fmla="*/ 789 w 1603"/>
                <a:gd name="T45" fmla="*/ 142 h 566"/>
                <a:gd name="T46" fmla="*/ 997 w 1603"/>
                <a:gd name="T47" fmla="*/ 142 h 566"/>
                <a:gd name="T48" fmla="*/ 1408 w 1603"/>
                <a:gd name="T49" fmla="*/ 421 h 566"/>
                <a:gd name="T50" fmla="*/ 1456 w 1603"/>
                <a:gd name="T51" fmla="*/ 444 h 566"/>
                <a:gd name="T52" fmla="*/ 1602 w 1603"/>
                <a:gd name="T53" fmla="*/ 446 h 566"/>
                <a:gd name="T54" fmla="*/ 1603 w 1603"/>
                <a:gd name="T55" fmla="*/ 284 h 566"/>
                <a:gd name="T56" fmla="*/ 1471 w 1603"/>
                <a:gd name="T57" fmla="*/ 285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3" h="566">
                  <a:moveTo>
                    <a:pt x="1471" y="285"/>
                  </a:moveTo>
                  <a:lnTo>
                    <a:pt x="1152" y="67"/>
                  </a:lnTo>
                  <a:lnTo>
                    <a:pt x="929" y="0"/>
                  </a:lnTo>
                  <a:lnTo>
                    <a:pt x="711" y="0"/>
                  </a:lnTo>
                  <a:lnTo>
                    <a:pt x="677" y="0"/>
                  </a:lnTo>
                  <a:lnTo>
                    <a:pt x="536" y="0"/>
                  </a:lnTo>
                  <a:lnTo>
                    <a:pt x="340" y="69"/>
                  </a:lnTo>
                  <a:lnTo>
                    <a:pt x="121" y="285"/>
                  </a:lnTo>
                  <a:lnTo>
                    <a:pt x="0" y="284"/>
                  </a:lnTo>
                  <a:lnTo>
                    <a:pt x="0" y="444"/>
                  </a:lnTo>
                  <a:lnTo>
                    <a:pt x="77" y="444"/>
                  </a:lnTo>
                  <a:lnTo>
                    <a:pt x="239" y="379"/>
                  </a:lnTo>
                  <a:lnTo>
                    <a:pt x="474" y="146"/>
                  </a:lnTo>
                  <a:lnTo>
                    <a:pt x="618" y="146"/>
                  </a:lnTo>
                  <a:lnTo>
                    <a:pt x="562" y="249"/>
                  </a:lnTo>
                  <a:lnTo>
                    <a:pt x="561" y="470"/>
                  </a:lnTo>
                  <a:lnTo>
                    <a:pt x="742" y="566"/>
                  </a:lnTo>
                  <a:lnTo>
                    <a:pt x="917" y="508"/>
                  </a:lnTo>
                  <a:lnTo>
                    <a:pt x="1023" y="329"/>
                  </a:lnTo>
                  <a:lnTo>
                    <a:pt x="831" y="361"/>
                  </a:lnTo>
                  <a:lnTo>
                    <a:pt x="800" y="427"/>
                  </a:lnTo>
                  <a:lnTo>
                    <a:pt x="668" y="360"/>
                  </a:lnTo>
                  <a:lnTo>
                    <a:pt x="789" y="142"/>
                  </a:lnTo>
                  <a:lnTo>
                    <a:pt x="997" y="142"/>
                  </a:lnTo>
                  <a:lnTo>
                    <a:pt x="1408" y="421"/>
                  </a:lnTo>
                  <a:lnTo>
                    <a:pt x="1456" y="444"/>
                  </a:lnTo>
                  <a:lnTo>
                    <a:pt x="1602" y="446"/>
                  </a:lnTo>
                  <a:lnTo>
                    <a:pt x="1603" y="284"/>
                  </a:lnTo>
                  <a:lnTo>
                    <a:pt x="1471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4" name="Group 433">
            <a:extLst>
              <a:ext uri="{FF2B5EF4-FFF2-40B4-BE49-F238E27FC236}">
                <a16:creationId xmlns:a16="http://schemas.microsoft.com/office/drawing/2014/main" id="{DF75F9B3-D505-4722-A76C-14B6927E555C}"/>
              </a:ext>
            </a:extLst>
          </p:cNvPr>
          <p:cNvGrpSpPr/>
          <p:nvPr/>
        </p:nvGrpSpPr>
        <p:grpSpPr>
          <a:xfrm>
            <a:off x="3460751" y="4475163"/>
            <a:ext cx="577850" cy="534988"/>
            <a:chOff x="3460751" y="4475163"/>
            <a:chExt cx="577850" cy="534988"/>
          </a:xfrm>
          <a:solidFill>
            <a:schemeClr val="accent1"/>
          </a:solidFill>
        </p:grpSpPr>
        <p:sp>
          <p:nvSpPr>
            <p:cNvPr id="357" name="Freeform 197">
              <a:extLst>
                <a:ext uri="{FF2B5EF4-FFF2-40B4-BE49-F238E27FC236}">
                  <a16:creationId xmlns:a16="http://schemas.microsoft.com/office/drawing/2014/main" id="{FB4FEB01-9C0D-4A22-848B-BCBD7F92B8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9826" y="4475163"/>
              <a:ext cx="336550" cy="285750"/>
            </a:xfrm>
            <a:custGeom>
              <a:avLst/>
              <a:gdLst>
                <a:gd name="T0" fmla="*/ 670 w 933"/>
                <a:gd name="T1" fmla="*/ 327 h 794"/>
                <a:gd name="T2" fmla="*/ 516 w 933"/>
                <a:gd name="T3" fmla="*/ 411 h 794"/>
                <a:gd name="T4" fmla="*/ 565 w 933"/>
                <a:gd name="T5" fmla="*/ 236 h 794"/>
                <a:gd name="T6" fmla="*/ 721 w 933"/>
                <a:gd name="T7" fmla="*/ 148 h 794"/>
                <a:gd name="T8" fmla="*/ 670 w 933"/>
                <a:gd name="T9" fmla="*/ 327 h 794"/>
                <a:gd name="T10" fmla="*/ 216 w 933"/>
                <a:gd name="T11" fmla="*/ 451 h 794"/>
                <a:gd name="T12" fmla="*/ 157 w 933"/>
                <a:gd name="T13" fmla="*/ 380 h 794"/>
                <a:gd name="T14" fmla="*/ 259 w 933"/>
                <a:gd name="T15" fmla="*/ 404 h 794"/>
                <a:gd name="T16" fmla="*/ 320 w 933"/>
                <a:gd name="T17" fmla="*/ 471 h 794"/>
                <a:gd name="T18" fmla="*/ 216 w 933"/>
                <a:gd name="T19" fmla="*/ 451 h 794"/>
                <a:gd name="T20" fmla="*/ 848 w 933"/>
                <a:gd name="T21" fmla="*/ 56 h 794"/>
                <a:gd name="T22" fmla="*/ 781 w 933"/>
                <a:gd name="T23" fmla="*/ 6 h 794"/>
                <a:gd name="T24" fmla="*/ 679 w 933"/>
                <a:gd name="T25" fmla="*/ 6 h 794"/>
                <a:gd name="T26" fmla="*/ 483 w 933"/>
                <a:gd name="T27" fmla="*/ 107 h 794"/>
                <a:gd name="T28" fmla="*/ 370 w 933"/>
                <a:gd name="T29" fmla="*/ 309 h 794"/>
                <a:gd name="T30" fmla="*/ 277 w 933"/>
                <a:gd name="T31" fmla="*/ 252 h 794"/>
                <a:gd name="T32" fmla="*/ 37 w 933"/>
                <a:gd name="T33" fmla="*/ 270 h 794"/>
                <a:gd name="T34" fmla="*/ 0 w 933"/>
                <a:gd name="T35" fmla="*/ 341 h 794"/>
                <a:gd name="T36" fmla="*/ 142 w 933"/>
                <a:gd name="T37" fmla="*/ 575 h 794"/>
                <a:gd name="T38" fmla="*/ 385 w 933"/>
                <a:gd name="T39" fmla="*/ 604 h 794"/>
                <a:gd name="T40" fmla="*/ 388 w 933"/>
                <a:gd name="T41" fmla="*/ 793 h 794"/>
                <a:gd name="T42" fmla="*/ 544 w 933"/>
                <a:gd name="T43" fmla="*/ 794 h 794"/>
                <a:gd name="T44" fmla="*/ 544 w 933"/>
                <a:gd name="T45" fmla="*/ 553 h 794"/>
                <a:gd name="T46" fmla="*/ 785 w 933"/>
                <a:gd name="T47" fmla="*/ 419 h 794"/>
                <a:gd name="T48" fmla="*/ 848 w 933"/>
                <a:gd name="T49" fmla="*/ 56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33" h="794">
                  <a:moveTo>
                    <a:pt x="670" y="327"/>
                  </a:moveTo>
                  <a:cubicBezTo>
                    <a:pt x="581" y="411"/>
                    <a:pt x="516" y="411"/>
                    <a:pt x="516" y="411"/>
                  </a:cubicBezTo>
                  <a:cubicBezTo>
                    <a:pt x="516" y="411"/>
                    <a:pt x="506" y="311"/>
                    <a:pt x="565" y="236"/>
                  </a:cubicBezTo>
                  <a:cubicBezTo>
                    <a:pt x="623" y="161"/>
                    <a:pt x="721" y="148"/>
                    <a:pt x="721" y="148"/>
                  </a:cubicBezTo>
                  <a:cubicBezTo>
                    <a:pt x="721" y="148"/>
                    <a:pt x="733" y="268"/>
                    <a:pt x="670" y="327"/>
                  </a:cubicBezTo>
                  <a:close/>
                  <a:moveTo>
                    <a:pt x="216" y="451"/>
                  </a:moveTo>
                  <a:cubicBezTo>
                    <a:pt x="164" y="415"/>
                    <a:pt x="157" y="380"/>
                    <a:pt x="157" y="380"/>
                  </a:cubicBezTo>
                  <a:cubicBezTo>
                    <a:pt x="157" y="380"/>
                    <a:pt x="210" y="372"/>
                    <a:pt x="259" y="404"/>
                  </a:cubicBezTo>
                  <a:cubicBezTo>
                    <a:pt x="307" y="436"/>
                    <a:pt x="320" y="471"/>
                    <a:pt x="320" y="471"/>
                  </a:cubicBezTo>
                  <a:cubicBezTo>
                    <a:pt x="320" y="471"/>
                    <a:pt x="267" y="488"/>
                    <a:pt x="216" y="451"/>
                  </a:cubicBezTo>
                  <a:close/>
                  <a:moveTo>
                    <a:pt x="848" y="56"/>
                  </a:moveTo>
                  <a:lnTo>
                    <a:pt x="781" y="6"/>
                  </a:lnTo>
                  <a:cubicBezTo>
                    <a:pt x="781" y="6"/>
                    <a:pt x="715" y="0"/>
                    <a:pt x="679" y="6"/>
                  </a:cubicBezTo>
                  <a:cubicBezTo>
                    <a:pt x="644" y="12"/>
                    <a:pt x="569" y="26"/>
                    <a:pt x="483" y="107"/>
                  </a:cubicBezTo>
                  <a:cubicBezTo>
                    <a:pt x="397" y="189"/>
                    <a:pt x="370" y="309"/>
                    <a:pt x="370" y="309"/>
                  </a:cubicBezTo>
                  <a:cubicBezTo>
                    <a:pt x="344" y="286"/>
                    <a:pt x="312" y="265"/>
                    <a:pt x="277" y="252"/>
                  </a:cubicBezTo>
                  <a:cubicBezTo>
                    <a:pt x="165" y="212"/>
                    <a:pt x="37" y="270"/>
                    <a:pt x="37" y="270"/>
                  </a:cubicBezTo>
                  <a:lnTo>
                    <a:pt x="0" y="341"/>
                  </a:lnTo>
                  <a:cubicBezTo>
                    <a:pt x="0" y="341"/>
                    <a:pt x="23" y="491"/>
                    <a:pt x="142" y="575"/>
                  </a:cubicBezTo>
                  <a:cubicBezTo>
                    <a:pt x="260" y="659"/>
                    <a:pt x="385" y="604"/>
                    <a:pt x="385" y="604"/>
                  </a:cubicBezTo>
                  <a:lnTo>
                    <a:pt x="388" y="793"/>
                  </a:lnTo>
                  <a:lnTo>
                    <a:pt x="544" y="794"/>
                  </a:lnTo>
                  <a:lnTo>
                    <a:pt x="544" y="553"/>
                  </a:lnTo>
                  <a:cubicBezTo>
                    <a:pt x="616" y="540"/>
                    <a:pt x="709" y="506"/>
                    <a:pt x="785" y="419"/>
                  </a:cubicBezTo>
                  <a:cubicBezTo>
                    <a:pt x="933" y="251"/>
                    <a:pt x="848" y="56"/>
                    <a:pt x="848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8" name="Freeform 198">
              <a:extLst>
                <a:ext uri="{FF2B5EF4-FFF2-40B4-BE49-F238E27FC236}">
                  <a16:creationId xmlns:a16="http://schemas.microsoft.com/office/drawing/2014/main" id="{392E7AB7-F8DC-4435-8EC9-108A59170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0751" y="4694238"/>
              <a:ext cx="577850" cy="315913"/>
            </a:xfrm>
            <a:custGeom>
              <a:avLst/>
              <a:gdLst>
                <a:gd name="T0" fmla="*/ 1465 w 1604"/>
                <a:gd name="T1" fmla="*/ 235 h 878"/>
                <a:gd name="T2" fmla="*/ 1353 w 1604"/>
                <a:gd name="T3" fmla="*/ 196 h 878"/>
                <a:gd name="T4" fmla="*/ 1083 w 1604"/>
                <a:gd name="T5" fmla="*/ 290 h 878"/>
                <a:gd name="T6" fmla="*/ 1074 w 1604"/>
                <a:gd name="T7" fmla="*/ 260 h 878"/>
                <a:gd name="T8" fmla="*/ 670 w 1604"/>
                <a:gd name="T9" fmla="*/ 9 h 878"/>
                <a:gd name="T10" fmla="*/ 619 w 1604"/>
                <a:gd name="T11" fmla="*/ 0 h 878"/>
                <a:gd name="T12" fmla="*/ 59 w 1604"/>
                <a:gd name="T13" fmla="*/ 131 h 878"/>
                <a:gd name="T14" fmla="*/ 0 w 1604"/>
                <a:gd name="T15" fmla="*/ 207 h 878"/>
                <a:gd name="T16" fmla="*/ 0 w 1604"/>
                <a:gd name="T17" fmla="*/ 494 h 878"/>
                <a:gd name="T18" fmla="*/ 160 w 1604"/>
                <a:gd name="T19" fmla="*/ 342 h 878"/>
                <a:gd name="T20" fmla="*/ 159 w 1604"/>
                <a:gd name="T21" fmla="*/ 271 h 878"/>
                <a:gd name="T22" fmla="*/ 618 w 1604"/>
                <a:gd name="T23" fmla="*/ 163 h 878"/>
                <a:gd name="T24" fmla="*/ 924 w 1604"/>
                <a:gd name="T25" fmla="*/ 355 h 878"/>
                <a:gd name="T26" fmla="*/ 890 w 1604"/>
                <a:gd name="T27" fmla="*/ 417 h 878"/>
                <a:gd name="T28" fmla="*/ 707 w 1604"/>
                <a:gd name="T29" fmla="*/ 299 h 878"/>
                <a:gd name="T30" fmla="*/ 579 w 1604"/>
                <a:gd name="T31" fmla="*/ 318 h 878"/>
                <a:gd name="T32" fmla="*/ 612 w 1604"/>
                <a:gd name="T33" fmla="*/ 429 h 878"/>
                <a:gd name="T34" fmla="*/ 864 w 1604"/>
                <a:gd name="T35" fmla="*/ 586 h 878"/>
                <a:gd name="T36" fmla="*/ 1008 w 1604"/>
                <a:gd name="T37" fmla="*/ 539 h 878"/>
                <a:gd name="T38" fmla="*/ 1045 w 1604"/>
                <a:gd name="T39" fmla="*/ 470 h 878"/>
                <a:gd name="T40" fmla="*/ 1357 w 1604"/>
                <a:gd name="T41" fmla="*/ 365 h 878"/>
                <a:gd name="T42" fmla="*/ 1415 w 1604"/>
                <a:gd name="T43" fmla="*/ 456 h 878"/>
                <a:gd name="T44" fmla="*/ 645 w 1604"/>
                <a:gd name="T45" fmla="*/ 717 h 878"/>
                <a:gd name="T46" fmla="*/ 391 w 1604"/>
                <a:gd name="T47" fmla="*/ 618 h 878"/>
                <a:gd name="T48" fmla="*/ 0 w 1604"/>
                <a:gd name="T49" fmla="*/ 617 h 878"/>
                <a:gd name="T50" fmla="*/ 0 w 1604"/>
                <a:gd name="T51" fmla="*/ 777 h 878"/>
                <a:gd name="T52" fmla="*/ 360 w 1604"/>
                <a:gd name="T53" fmla="*/ 776 h 878"/>
                <a:gd name="T54" fmla="*/ 611 w 1604"/>
                <a:gd name="T55" fmla="*/ 874 h 878"/>
                <a:gd name="T56" fmla="*/ 674 w 1604"/>
                <a:gd name="T57" fmla="*/ 878 h 878"/>
                <a:gd name="T58" fmla="*/ 1560 w 1604"/>
                <a:gd name="T59" fmla="*/ 576 h 878"/>
                <a:gd name="T60" fmla="*/ 1604 w 1604"/>
                <a:gd name="T61" fmla="*/ 450 h 878"/>
                <a:gd name="T62" fmla="*/ 1465 w 1604"/>
                <a:gd name="T63" fmla="*/ 235 h 8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4" h="878">
                  <a:moveTo>
                    <a:pt x="1465" y="235"/>
                  </a:moveTo>
                  <a:lnTo>
                    <a:pt x="1353" y="196"/>
                  </a:lnTo>
                  <a:lnTo>
                    <a:pt x="1083" y="290"/>
                  </a:lnTo>
                  <a:lnTo>
                    <a:pt x="1074" y="260"/>
                  </a:lnTo>
                  <a:lnTo>
                    <a:pt x="670" y="9"/>
                  </a:lnTo>
                  <a:lnTo>
                    <a:pt x="619" y="0"/>
                  </a:lnTo>
                  <a:lnTo>
                    <a:pt x="59" y="131"/>
                  </a:lnTo>
                  <a:lnTo>
                    <a:pt x="0" y="207"/>
                  </a:lnTo>
                  <a:lnTo>
                    <a:pt x="0" y="494"/>
                  </a:lnTo>
                  <a:lnTo>
                    <a:pt x="160" y="342"/>
                  </a:lnTo>
                  <a:lnTo>
                    <a:pt x="159" y="271"/>
                  </a:lnTo>
                  <a:lnTo>
                    <a:pt x="618" y="163"/>
                  </a:lnTo>
                  <a:lnTo>
                    <a:pt x="924" y="355"/>
                  </a:lnTo>
                  <a:lnTo>
                    <a:pt x="890" y="417"/>
                  </a:lnTo>
                  <a:lnTo>
                    <a:pt x="707" y="299"/>
                  </a:lnTo>
                  <a:lnTo>
                    <a:pt x="579" y="318"/>
                  </a:lnTo>
                  <a:lnTo>
                    <a:pt x="612" y="429"/>
                  </a:lnTo>
                  <a:lnTo>
                    <a:pt x="864" y="586"/>
                  </a:lnTo>
                  <a:lnTo>
                    <a:pt x="1008" y="539"/>
                  </a:lnTo>
                  <a:lnTo>
                    <a:pt x="1045" y="470"/>
                  </a:lnTo>
                  <a:lnTo>
                    <a:pt x="1357" y="365"/>
                  </a:lnTo>
                  <a:lnTo>
                    <a:pt x="1415" y="456"/>
                  </a:lnTo>
                  <a:lnTo>
                    <a:pt x="645" y="717"/>
                  </a:lnTo>
                  <a:lnTo>
                    <a:pt x="391" y="618"/>
                  </a:lnTo>
                  <a:lnTo>
                    <a:pt x="0" y="617"/>
                  </a:lnTo>
                  <a:lnTo>
                    <a:pt x="0" y="777"/>
                  </a:lnTo>
                  <a:lnTo>
                    <a:pt x="360" y="776"/>
                  </a:lnTo>
                  <a:lnTo>
                    <a:pt x="611" y="874"/>
                  </a:lnTo>
                  <a:lnTo>
                    <a:pt x="674" y="878"/>
                  </a:lnTo>
                  <a:lnTo>
                    <a:pt x="1560" y="576"/>
                  </a:lnTo>
                  <a:lnTo>
                    <a:pt x="1604" y="450"/>
                  </a:lnTo>
                  <a:lnTo>
                    <a:pt x="1465" y="2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9" name="Freeform 199">
              <a:extLst>
                <a:ext uri="{FF2B5EF4-FFF2-40B4-BE49-F238E27FC236}">
                  <a16:creationId xmlns:a16="http://schemas.microsoft.com/office/drawing/2014/main" id="{242888D1-7C57-4241-87EA-3430B3D85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988" y="4764088"/>
              <a:ext cx="112713" cy="98425"/>
            </a:xfrm>
            <a:custGeom>
              <a:avLst/>
              <a:gdLst>
                <a:gd name="T0" fmla="*/ 312 w 312"/>
                <a:gd name="T1" fmla="*/ 169 h 274"/>
                <a:gd name="T2" fmla="*/ 0 w 312"/>
                <a:gd name="T3" fmla="*/ 274 h 274"/>
                <a:gd name="T4" fmla="*/ 38 w 312"/>
                <a:gd name="T5" fmla="*/ 94 h 274"/>
                <a:gd name="T6" fmla="*/ 308 w 312"/>
                <a:gd name="T7" fmla="*/ 0 h 274"/>
                <a:gd name="T8" fmla="*/ 312 w 312"/>
                <a:gd name="T9" fmla="*/ 169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2" h="274">
                  <a:moveTo>
                    <a:pt x="312" y="169"/>
                  </a:moveTo>
                  <a:lnTo>
                    <a:pt x="0" y="274"/>
                  </a:lnTo>
                  <a:lnTo>
                    <a:pt x="38" y="94"/>
                  </a:lnTo>
                  <a:lnTo>
                    <a:pt x="308" y="0"/>
                  </a:lnTo>
                  <a:lnTo>
                    <a:pt x="312" y="1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0" name="Group 429">
            <a:extLst>
              <a:ext uri="{FF2B5EF4-FFF2-40B4-BE49-F238E27FC236}">
                <a16:creationId xmlns:a16="http://schemas.microsoft.com/office/drawing/2014/main" id="{BEE0A2C1-306A-4647-A524-58CB6022DC06}"/>
              </a:ext>
            </a:extLst>
          </p:cNvPr>
          <p:cNvGrpSpPr/>
          <p:nvPr/>
        </p:nvGrpSpPr>
        <p:grpSpPr>
          <a:xfrm>
            <a:off x="4235451" y="3440113"/>
            <a:ext cx="582613" cy="592138"/>
            <a:chOff x="4235451" y="3440113"/>
            <a:chExt cx="582613" cy="592138"/>
          </a:xfrm>
          <a:solidFill>
            <a:schemeClr val="accent1"/>
          </a:solidFill>
        </p:grpSpPr>
        <p:sp>
          <p:nvSpPr>
            <p:cNvPr id="360" name="Freeform 200">
              <a:extLst>
                <a:ext uri="{FF2B5EF4-FFF2-40B4-BE49-F238E27FC236}">
                  <a16:creationId xmlns:a16="http://schemas.microsoft.com/office/drawing/2014/main" id="{7D3EE76A-0F39-4D5E-BB2B-BCDA9DF993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5451" y="3738563"/>
              <a:ext cx="382588" cy="293688"/>
            </a:xfrm>
            <a:custGeom>
              <a:avLst/>
              <a:gdLst>
                <a:gd name="T0" fmla="*/ 242 w 1061"/>
                <a:gd name="T1" fmla="*/ 227 h 814"/>
                <a:gd name="T2" fmla="*/ 183 w 1061"/>
                <a:gd name="T3" fmla="*/ 17 h 814"/>
                <a:gd name="T4" fmla="*/ 0 w 1061"/>
                <a:gd name="T5" fmla="*/ 0 h 814"/>
                <a:gd name="T6" fmla="*/ 79 w 1061"/>
                <a:gd name="T7" fmla="*/ 308 h 814"/>
                <a:gd name="T8" fmla="*/ 1015 w 1061"/>
                <a:gd name="T9" fmla="*/ 689 h 814"/>
                <a:gd name="T10" fmla="*/ 1061 w 1061"/>
                <a:gd name="T11" fmla="*/ 568 h 814"/>
                <a:gd name="T12" fmla="*/ 933 w 1061"/>
                <a:gd name="T13" fmla="*/ 524 h 814"/>
                <a:gd name="T14" fmla="*/ 242 w 1061"/>
                <a:gd name="T15" fmla="*/ 227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61" h="814">
                  <a:moveTo>
                    <a:pt x="242" y="227"/>
                  </a:moveTo>
                  <a:cubicBezTo>
                    <a:pt x="208" y="159"/>
                    <a:pt x="189" y="88"/>
                    <a:pt x="183" y="17"/>
                  </a:cubicBezTo>
                  <a:lnTo>
                    <a:pt x="0" y="0"/>
                  </a:lnTo>
                  <a:cubicBezTo>
                    <a:pt x="3" y="107"/>
                    <a:pt x="29" y="207"/>
                    <a:pt x="79" y="308"/>
                  </a:cubicBezTo>
                  <a:cubicBezTo>
                    <a:pt x="252" y="656"/>
                    <a:pt x="657" y="814"/>
                    <a:pt x="1015" y="689"/>
                  </a:cubicBezTo>
                  <a:lnTo>
                    <a:pt x="1061" y="568"/>
                  </a:lnTo>
                  <a:lnTo>
                    <a:pt x="933" y="524"/>
                  </a:lnTo>
                  <a:cubicBezTo>
                    <a:pt x="666" y="607"/>
                    <a:pt x="370" y="486"/>
                    <a:pt x="242" y="2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61" name="Freeform 201">
              <a:extLst>
                <a:ext uri="{FF2B5EF4-FFF2-40B4-BE49-F238E27FC236}">
                  <a16:creationId xmlns:a16="http://schemas.microsoft.com/office/drawing/2014/main" id="{32DB98BD-3CCA-44FD-978D-EFFED4797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0738" y="3513138"/>
              <a:ext cx="187325" cy="438150"/>
            </a:xfrm>
            <a:custGeom>
              <a:avLst/>
              <a:gdLst>
                <a:gd name="T0" fmla="*/ 38 w 519"/>
                <a:gd name="T1" fmla="*/ 20 h 1217"/>
                <a:gd name="T2" fmla="*/ 64 w 519"/>
                <a:gd name="T3" fmla="*/ 152 h 1217"/>
                <a:gd name="T4" fmla="*/ 152 w 519"/>
                <a:gd name="T5" fmla="*/ 900 h 1217"/>
                <a:gd name="T6" fmla="*/ 0 w 519"/>
                <a:gd name="T7" fmla="*/ 1056 h 1217"/>
                <a:gd name="T8" fmla="*/ 74 w 519"/>
                <a:gd name="T9" fmla="*/ 1217 h 1217"/>
                <a:gd name="T10" fmla="*/ 304 w 519"/>
                <a:gd name="T11" fmla="*/ 1001 h 1217"/>
                <a:gd name="T12" fmla="*/ 166 w 519"/>
                <a:gd name="T13" fmla="*/ 0 h 1217"/>
                <a:gd name="T14" fmla="*/ 38 w 519"/>
                <a:gd name="T15" fmla="*/ 20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9" h="1217">
                  <a:moveTo>
                    <a:pt x="38" y="20"/>
                  </a:moveTo>
                  <a:lnTo>
                    <a:pt x="64" y="152"/>
                  </a:lnTo>
                  <a:cubicBezTo>
                    <a:pt x="269" y="343"/>
                    <a:pt x="312" y="659"/>
                    <a:pt x="152" y="900"/>
                  </a:cubicBezTo>
                  <a:cubicBezTo>
                    <a:pt x="110" y="963"/>
                    <a:pt x="58" y="1015"/>
                    <a:pt x="0" y="1056"/>
                  </a:cubicBezTo>
                  <a:lnTo>
                    <a:pt x="74" y="1217"/>
                  </a:lnTo>
                  <a:cubicBezTo>
                    <a:pt x="165" y="1160"/>
                    <a:pt x="241" y="1094"/>
                    <a:pt x="304" y="1001"/>
                  </a:cubicBezTo>
                  <a:cubicBezTo>
                    <a:pt x="519" y="677"/>
                    <a:pt x="453" y="247"/>
                    <a:pt x="166" y="0"/>
                  </a:cubicBezTo>
                  <a:lnTo>
                    <a:pt x="38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62" name="Freeform 202">
              <a:extLst>
                <a:ext uri="{FF2B5EF4-FFF2-40B4-BE49-F238E27FC236}">
                  <a16:creationId xmlns:a16="http://schemas.microsoft.com/office/drawing/2014/main" id="{D16AE461-B600-4B33-876F-C1BBD2C2E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0738" y="3513138"/>
              <a:ext cx="187325" cy="438150"/>
            </a:xfrm>
            <a:custGeom>
              <a:avLst/>
              <a:gdLst>
                <a:gd name="T0" fmla="*/ 165 w 519"/>
                <a:gd name="T1" fmla="*/ 0 h 1217"/>
                <a:gd name="T2" fmla="*/ 166 w 519"/>
                <a:gd name="T3" fmla="*/ 0 h 1217"/>
                <a:gd name="T4" fmla="*/ 304 w 519"/>
                <a:gd name="T5" fmla="*/ 1001 h 1217"/>
                <a:gd name="T6" fmla="*/ 304 w 519"/>
                <a:gd name="T7" fmla="*/ 1001 h 1217"/>
                <a:gd name="T8" fmla="*/ 74 w 519"/>
                <a:gd name="T9" fmla="*/ 1217 h 1217"/>
                <a:gd name="T10" fmla="*/ 0 w 519"/>
                <a:gd name="T11" fmla="*/ 1056 h 1217"/>
                <a:gd name="T12" fmla="*/ 0 w 519"/>
                <a:gd name="T13" fmla="*/ 1056 h 1217"/>
                <a:gd name="T14" fmla="*/ 152 w 519"/>
                <a:gd name="T15" fmla="*/ 900 h 1217"/>
                <a:gd name="T16" fmla="*/ 152 w 519"/>
                <a:gd name="T17" fmla="*/ 900 h 1217"/>
                <a:gd name="T18" fmla="*/ 64 w 519"/>
                <a:gd name="T19" fmla="*/ 152 h 1217"/>
                <a:gd name="T20" fmla="*/ 38 w 519"/>
                <a:gd name="T21" fmla="*/ 20 h 1217"/>
                <a:gd name="T22" fmla="*/ 165 w 519"/>
                <a:gd name="T23" fmla="*/ 0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9" h="1217">
                  <a:moveTo>
                    <a:pt x="165" y="0"/>
                  </a:moveTo>
                  <a:lnTo>
                    <a:pt x="166" y="0"/>
                  </a:lnTo>
                  <a:cubicBezTo>
                    <a:pt x="453" y="247"/>
                    <a:pt x="519" y="677"/>
                    <a:pt x="304" y="1001"/>
                  </a:cubicBezTo>
                  <a:lnTo>
                    <a:pt x="304" y="1001"/>
                  </a:lnTo>
                  <a:cubicBezTo>
                    <a:pt x="241" y="1094"/>
                    <a:pt x="165" y="1160"/>
                    <a:pt x="74" y="1217"/>
                  </a:cubicBezTo>
                  <a:lnTo>
                    <a:pt x="0" y="1056"/>
                  </a:lnTo>
                  <a:lnTo>
                    <a:pt x="0" y="1056"/>
                  </a:lnTo>
                  <a:cubicBezTo>
                    <a:pt x="58" y="1015"/>
                    <a:pt x="110" y="963"/>
                    <a:pt x="152" y="900"/>
                  </a:cubicBezTo>
                  <a:lnTo>
                    <a:pt x="152" y="900"/>
                  </a:lnTo>
                  <a:cubicBezTo>
                    <a:pt x="312" y="659"/>
                    <a:pt x="269" y="343"/>
                    <a:pt x="64" y="152"/>
                  </a:cubicBezTo>
                  <a:lnTo>
                    <a:pt x="38" y="2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63" name="Freeform 203">
              <a:extLst>
                <a:ext uri="{FF2B5EF4-FFF2-40B4-BE49-F238E27FC236}">
                  <a16:creationId xmlns:a16="http://schemas.microsoft.com/office/drawing/2014/main" id="{DA8EF8C2-6D1F-4A64-BDAF-869129BAA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5451" y="3440113"/>
              <a:ext cx="398463" cy="268288"/>
            </a:xfrm>
            <a:custGeom>
              <a:avLst/>
              <a:gdLst>
                <a:gd name="T0" fmla="*/ 786 w 1104"/>
                <a:gd name="T1" fmla="*/ 205 h 744"/>
                <a:gd name="T2" fmla="*/ 997 w 1104"/>
                <a:gd name="T3" fmla="*/ 260 h 744"/>
                <a:gd name="T4" fmla="*/ 1104 w 1104"/>
                <a:gd name="T5" fmla="*/ 109 h 744"/>
                <a:gd name="T6" fmla="*/ 798 w 1104"/>
                <a:gd name="T7" fmla="*/ 24 h 744"/>
                <a:gd name="T8" fmla="*/ 0 w 1104"/>
                <a:gd name="T9" fmla="*/ 644 h 744"/>
                <a:gd name="T10" fmla="*/ 81 w 1104"/>
                <a:gd name="T11" fmla="*/ 744 h 744"/>
                <a:gd name="T12" fmla="*/ 183 w 1104"/>
                <a:gd name="T13" fmla="*/ 656 h 744"/>
                <a:gd name="T14" fmla="*/ 786 w 1104"/>
                <a:gd name="T15" fmla="*/ 205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4" h="744">
                  <a:moveTo>
                    <a:pt x="786" y="205"/>
                  </a:moveTo>
                  <a:cubicBezTo>
                    <a:pt x="862" y="210"/>
                    <a:pt x="933" y="229"/>
                    <a:pt x="997" y="260"/>
                  </a:cubicBezTo>
                  <a:lnTo>
                    <a:pt x="1104" y="109"/>
                  </a:lnTo>
                  <a:cubicBezTo>
                    <a:pt x="1009" y="59"/>
                    <a:pt x="910" y="31"/>
                    <a:pt x="798" y="24"/>
                  </a:cubicBezTo>
                  <a:cubicBezTo>
                    <a:pt x="410" y="0"/>
                    <a:pt x="70" y="271"/>
                    <a:pt x="0" y="644"/>
                  </a:cubicBezTo>
                  <a:lnTo>
                    <a:pt x="81" y="744"/>
                  </a:lnTo>
                  <a:lnTo>
                    <a:pt x="183" y="656"/>
                  </a:lnTo>
                  <a:cubicBezTo>
                    <a:pt x="245" y="383"/>
                    <a:pt x="498" y="187"/>
                    <a:pt x="786" y="2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64" name="Freeform 204">
              <a:extLst>
                <a:ext uri="{FF2B5EF4-FFF2-40B4-BE49-F238E27FC236}">
                  <a16:creationId xmlns:a16="http://schemas.microsoft.com/office/drawing/2014/main" id="{C74BF1FB-3E7B-4806-B7F7-0409905B35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6" y="3513138"/>
              <a:ext cx="173038" cy="438150"/>
            </a:xfrm>
            <a:custGeom>
              <a:avLst/>
              <a:gdLst>
                <a:gd name="T0" fmla="*/ 0 w 481"/>
                <a:gd name="T1" fmla="*/ 20 h 1217"/>
                <a:gd name="T2" fmla="*/ 26 w 481"/>
                <a:gd name="T3" fmla="*/ 152 h 1217"/>
                <a:gd name="T4" fmla="*/ 30 w 481"/>
                <a:gd name="T5" fmla="*/ 156 h 1217"/>
                <a:gd name="T6" fmla="*/ 338 w 481"/>
                <a:gd name="T7" fmla="*/ 727 h 1217"/>
                <a:gd name="T8" fmla="*/ 36 w 481"/>
                <a:gd name="T9" fmla="*/ 1217 h 1217"/>
                <a:gd name="T10" fmla="*/ 266 w 481"/>
                <a:gd name="T11" fmla="*/ 1001 h 1217"/>
                <a:gd name="T12" fmla="*/ 128 w 481"/>
                <a:gd name="T13" fmla="*/ 0 h 1217"/>
                <a:gd name="T14" fmla="*/ 0 w 481"/>
                <a:gd name="T15" fmla="*/ 20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1" h="1217">
                  <a:moveTo>
                    <a:pt x="0" y="20"/>
                  </a:moveTo>
                  <a:lnTo>
                    <a:pt x="26" y="152"/>
                  </a:lnTo>
                  <a:cubicBezTo>
                    <a:pt x="28" y="154"/>
                    <a:pt x="29" y="155"/>
                    <a:pt x="30" y="156"/>
                  </a:cubicBezTo>
                  <a:cubicBezTo>
                    <a:pt x="227" y="269"/>
                    <a:pt x="353" y="486"/>
                    <a:pt x="338" y="727"/>
                  </a:cubicBezTo>
                  <a:cubicBezTo>
                    <a:pt x="325" y="938"/>
                    <a:pt x="206" y="1118"/>
                    <a:pt x="36" y="1217"/>
                  </a:cubicBezTo>
                  <a:cubicBezTo>
                    <a:pt x="127" y="1160"/>
                    <a:pt x="203" y="1094"/>
                    <a:pt x="266" y="1001"/>
                  </a:cubicBezTo>
                  <a:cubicBezTo>
                    <a:pt x="481" y="677"/>
                    <a:pt x="415" y="247"/>
                    <a:pt x="128" y="0"/>
                  </a:cubicBezTo>
                  <a:lnTo>
                    <a:pt x="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243" name="Freeform 83">
            <a:extLst>
              <a:ext uri="{FF2B5EF4-FFF2-40B4-BE49-F238E27FC236}">
                <a16:creationId xmlns:a16="http://schemas.microsoft.com/office/drawing/2014/main" id="{D6664B5F-6B23-4F41-91AF-AE4BBCDDAF3A}"/>
              </a:ext>
            </a:extLst>
          </p:cNvPr>
          <p:cNvSpPr>
            <a:spLocks noEditPoints="1"/>
          </p:cNvSpPr>
          <p:nvPr/>
        </p:nvSpPr>
        <p:spPr bwMode="auto">
          <a:xfrm>
            <a:off x="10494282" y="3025776"/>
            <a:ext cx="258763" cy="82550"/>
          </a:xfrm>
          <a:custGeom>
            <a:avLst/>
            <a:gdLst>
              <a:gd name="T0" fmla="*/ 70 w 718"/>
              <a:gd name="T1" fmla="*/ 27 h 231"/>
              <a:gd name="T2" fmla="*/ 0 w 718"/>
              <a:gd name="T3" fmla="*/ 0 h 231"/>
              <a:gd name="T4" fmla="*/ 168 w 718"/>
              <a:gd name="T5" fmla="*/ 27 h 231"/>
              <a:gd name="T6" fmla="*/ 98 w 718"/>
              <a:gd name="T7" fmla="*/ 228 h 231"/>
              <a:gd name="T8" fmla="*/ 148 w 718"/>
              <a:gd name="T9" fmla="*/ 145 h 231"/>
              <a:gd name="T10" fmla="*/ 220 w 718"/>
              <a:gd name="T11" fmla="*/ 59 h 231"/>
              <a:gd name="T12" fmla="*/ 291 w 718"/>
              <a:gd name="T13" fmla="*/ 143 h 231"/>
              <a:gd name="T14" fmla="*/ 257 w 718"/>
              <a:gd name="T15" fmla="*/ 221 h 231"/>
              <a:gd name="T16" fmla="*/ 167 w 718"/>
              <a:gd name="T17" fmla="*/ 209 h 231"/>
              <a:gd name="T18" fmla="*/ 174 w 718"/>
              <a:gd name="T19" fmla="*/ 145 h 231"/>
              <a:gd name="T20" fmla="*/ 220 w 718"/>
              <a:gd name="T21" fmla="*/ 208 h 231"/>
              <a:gd name="T22" fmla="*/ 265 w 718"/>
              <a:gd name="T23" fmla="*/ 144 h 231"/>
              <a:gd name="T24" fmla="*/ 220 w 718"/>
              <a:gd name="T25" fmla="*/ 82 h 231"/>
              <a:gd name="T26" fmla="*/ 174 w 718"/>
              <a:gd name="T27" fmla="*/ 145 h 231"/>
              <a:gd name="T28" fmla="*/ 408 w 718"/>
              <a:gd name="T29" fmla="*/ 203 h 231"/>
              <a:gd name="T30" fmla="*/ 335 w 718"/>
              <a:gd name="T31" fmla="*/ 225 h 231"/>
              <a:gd name="T32" fmla="*/ 309 w 718"/>
              <a:gd name="T33" fmla="*/ 191 h 231"/>
              <a:gd name="T34" fmla="*/ 308 w 718"/>
              <a:gd name="T35" fmla="*/ 63 h 231"/>
              <a:gd name="T36" fmla="*/ 334 w 718"/>
              <a:gd name="T37" fmla="*/ 154 h 231"/>
              <a:gd name="T38" fmla="*/ 346 w 718"/>
              <a:gd name="T39" fmla="*/ 201 h 231"/>
              <a:gd name="T40" fmla="*/ 387 w 718"/>
              <a:gd name="T41" fmla="*/ 201 h 231"/>
              <a:gd name="T42" fmla="*/ 406 w 718"/>
              <a:gd name="T43" fmla="*/ 151 h 231"/>
              <a:gd name="T44" fmla="*/ 432 w 718"/>
              <a:gd name="T45" fmla="*/ 63 h 231"/>
              <a:gd name="T46" fmla="*/ 408 w 718"/>
              <a:gd name="T47" fmla="*/ 228 h 231"/>
              <a:gd name="T48" fmla="*/ 585 w 718"/>
              <a:gd name="T49" fmla="*/ 171 h 231"/>
              <a:gd name="T50" fmla="*/ 521 w 718"/>
              <a:gd name="T51" fmla="*/ 231 h 231"/>
              <a:gd name="T52" fmla="*/ 451 w 718"/>
              <a:gd name="T53" fmla="*/ 146 h 231"/>
              <a:gd name="T54" fmla="*/ 484 w 718"/>
              <a:gd name="T55" fmla="*/ 69 h 231"/>
              <a:gd name="T56" fmla="*/ 562 w 718"/>
              <a:gd name="T57" fmla="*/ 73 h 231"/>
              <a:gd name="T58" fmla="*/ 557 w 718"/>
              <a:gd name="T59" fmla="*/ 115 h 231"/>
              <a:gd name="T60" fmla="*/ 522 w 718"/>
              <a:gd name="T61" fmla="*/ 82 h 231"/>
              <a:gd name="T62" fmla="*/ 478 w 718"/>
              <a:gd name="T63" fmla="*/ 145 h 231"/>
              <a:gd name="T64" fmla="*/ 521 w 718"/>
              <a:gd name="T65" fmla="*/ 208 h 231"/>
              <a:gd name="T66" fmla="*/ 559 w 718"/>
              <a:gd name="T67" fmla="*/ 167 h 231"/>
              <a:gd name="T68" fmla="*/ 593 w 718"/>
              <a:gd name="T69" fmla="*/ 0 h 231"/>
              <a:gd name="T70" fmla="*/ 619 w 718"/>
              <a:gd name="T71" fmla="*/ 82 h 231"/>
              <a:gd name="T72" fmla="*/ 694 w 718"/>
              <a:gd name="T73" fmla="*/ 66 h 231"/>
              <a:gd name="T74" fmla="*/ 718 w 718"/>
              <a:gd name="T75" fmla="*/ 123 h 231"/>
              <a:gd name="T76" fmla="*/ 691 w 718"/>
              <a:gd name="T77" fmla="*/ 228 h 231"/>
              <a:gd name="T78" fmla="*/ 683 w 718"/>
              <a:gd name="T79" fmla="*/ 93 h 231"/>
              <a:gd name="T80" fmla="*/ 638 w 718"/>
              <a:gd name="T81" fmla="*/ 90 h 231"/>
              <a:gd name="T82" fmla="*/ 619 w 718"/>
              <a:gd name="T83" fmla="*/ 138 h 231"/>
              <a:gd name="T84" fmla="*/ 593 w 718"/>
              <a:gd name="T85" fmla="*/ 228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718" h="231">
                <a:moveTo>
                  <a:pt x="70" y="228"/>
                </a:moveTo>
                <a:lnTo>
                  <a:pt x="70" y="27"/>
                </a:lnTo>
                <a:lnTo>
                  <a:pt x="0" y="27"/>
                </a:lnTo>
                <a:lnTo>
                  <a:pt x="0" y="0"/>
                </a:lnTo>
                <a:lnTo>
                  <a:pt x="168" y="0"/>
                </a:lnTo>
                <a:lnTo>
                  <a:pt x="168" y="27"/>
                </a:lnTo>
                <a:lnTo>
                  <a:pt x="98" y="27"/>
                </a:lnTo>
                <a:lnTo>
                  <a:pt x="98" y="228"/>
                </a:lnTo>
                <a:lnTo>
                  <a:pt x="70" y="228"/>
                </a:lnTo>
                <a:close/>
                <a:moveTo>
                  <a:pt x="148" y="145"/>
                </a:moveTo>
                <a:cubicBezTo>
                  <a:pt x="148" y="115"/>
                  <a:pt x="156" y="92"/>
                  <a:pt x="171" y="78"/>
                </a:cubicBezTo>
                <a:cubicBezTo>
                  <a:pt x="184" y="65"/>
                  <a:pt x="201" y="59"/>
                  <a:pt x="220" y="59"/>
                </a:cubicBezTo>
                <a:cubicBezTo>
                  <a:pt x="241" y="59"/>
                  <a:pt x="258" y="67"/>
                  <a:pt x="271" y="82"/>
                </a:cubicBezTo>
                <a:cubicBezTo>
                  <a:pt x="285" y="96"/>
                  <a:pt x="291" y="117"/>
                  <a:pt x="291" y="143"/>
                </a:cubicBezTo>
                <a:cubicBezTo>
                  <a:pt x="291" y="164"/>
                  <a:pt x="288" y="181"/>
                  <a:pt x="283" y="193"/>
                </a:cubicBezTo>
                <a:cubicBezTo>
                  <a:pt x="277" y="205"/>
                  <a:pt x="268" y="214"/>
                  <a:pt x="257" y="221"/>
                </a:cubicBezTo>
                <a:cubicBezTo>
                  <a:pt x="245" y="228"/>
                  <a:pt x="233" y="231"/>
                  <a:pt x="220" y="231"/>
                </a:cubicBezTo>
                <a:cubicBezTo>
                  <a:pt x="198" y="231"/>
                  <a:pt x="181" y="224"/>
                  <a:pt x="167" y="209"/>
                </a:cubicBezTo>
                <a:cubicBezTo>
                  <a:pt x="154" y="194"/>
                  <a:pt x="148" y="173"/>
                  <a:pt x="148" y="145"/>
                </a:cubicBezTo>
                <a:close/>
                <a:moveTo>
                  <a:pt x="174" y="145"/>
                </a:moveTo>
                <a:cubicBezTo>
                  <a:pt x="174" y="166"/>
                  <a:pt x="179" y="182"/>
                  <a:pt x="187" y="192"/>
                </a:cubicBezTo>
                <a:cubicBezTo>
                  <a:pt x="196" y="203"/>
                  <a:pt x="207" y="208"/>
                  <a:pt x="220" y="208"/>
                </a:cubicBezTo>
                <a:cubicBezTo>
                  <a:pt x="233" y="208"/>
                  <a:pt x="243" y="203"/>
                  <a:pt x="252" y="192"/>
                </a:cubicBezTo>
                <a:cubicBezTo>
                  <a:pt x="260" y="182"/>
                  <a:pt x="265" y="166"/>
                  <a:pt x="265" y="144"/>
                </a:cubicBezTo>
                <a:cubicBezTo>
                  <a:pt x="265" y="124"/>
                  <a:pt x="260" y="109"/>
                  <a:pt x="252" y="98"/>
                </a:cubicBezTo>
                <a:cubicBezTo>
                  <a:pt x="243" y="88"/>
                  <a:pt x="232" y="82"/>
                  <a:pt x="220" y="82"/>
                </a:cubicBezTo>
                <a:cubicBezTo>
                  <a:pt x="207" y="82"/>
                  <a:pt x="196" y="88"/>
                  <a:pt x="187" y="98"/>
                </a:cubicBezTo>
                <a:cubicBezTo>
                  <a:pt x="179" y="108"/>
                  <a:pt x="174" y="124"/>
                  <a:pt x="174" y="145"/>
                </a:cubicBezTo>
                <a:close/>
                <a:moveTo>
                  <a:pt x="408" y="228"/>
                </a:moveTo>
                <a:lnTo>
                  <a:pt x="408" y="203"/>
                </a:lnTo>
                <a:cubicBezTo>
                  <a:pt x="396" y="222"/>
                  <a:pt x="380" y="231"/>
                  <a:pt x="360" y="231"/>
                </a:cubicBezTo>
                <a:cubicBezTo>
                  <a:pt x="351" y="231"/>
                  <a:pt x="342" y="229"/>
                  <a:pt x="335" y="225"/>
                </a:cubicBezTo>
                <a:cubicBezTo>
                  <a:pt x="327" y="222"/>
                  <a:pt x="321" y="217"/>
                  <a:pt x="317" y="211"/>
                </a:cubicBezTo>
                <a:cubicBezTo>
                  <a:pt x="313" y="206"/>
                  <a:pt x="311" y="199"/>
                  <a:pt x="309" y="191"/>
                </a:cubicBezTo>
                <a:cubicBezTo>
                  <a:pt x="308" y="185"/>
                  <a:pt x="308" y="177"/>
                  <a:pt x="308" y="165"/>
                </a:cubicBezTo>
                <a:lnTo>
                  <a:pt x="308" y="63"/>
                </a:lnTo>
                <a:lnTo>
                  <a:pt x="334" y="63"/>
                </a:lnTo>
                <a:lnTo>
                  <a:pt x="334" y="154"/>
                </a:lnTo>
                <a:cubicBezTo>
                  <a:pt x="334" y="168"/>
                  <a:pt x="334" y="178"/>
                  <a:pt x="335" y="183"/>
                </a:cubicBezTo>
                <a:cubicBezTo>
                  <a:pt x="337" y="191"/>
                  <a:pt x="340" y="196"/>
                  <a:pt x="346" y="201"/>
                </a:cubicBezTo>
                <a:cubicBezTo>
                  <a:pt x="351" y="205"/>
                  <a:pt x="357" y="207"/>
                  <a:pt x="365" y="207"/>
                </a:cubicBezTo>
                <a:cubicBezTo>
                  <a:pt x="373" y="207"/>
                  <a:pt x="380" y="205"/>
                  <a:pt x="387" y="201"/>
                </a:cubicBezTo>
                <a:cubicBezTo>
                  <a:pt x="394" y="196"/>
                  <a:pt x="399" y="190"/>
                  <a:pt x="401" y="183"/>
                </a:cubicBezTo>
                <a:cubicBezTo>
                  <a:pt x="404" y="176"/>
                  <a:pt x="406" y="165"/>
                  <a:pt x="406" y="151"/>
                </a:cubicBezTo>
                <a:lnTo>
                  <a:pt x="406" y="63"/>
                </a:lnTo>
                <a:lnTo>
                  <a:pt x="432" y="63"/>
                </a:lnTo>
                <a:lnTo>
                  <a:pt x="432" y="228"/>
                </a:lnTo>
                <a:lnTo>
                  <a:pt x="408" y="228"/>
                </a:lnTo>
                <a:close/>
                <a:moveTo>
                  <a:pt x="559" y="167"/>
                </a:moveTo>
                <a:lnTo>
                  <a:pt x="585" y="171"/>
                </a:lnTo>
                <a:cubicBezTo>
                  <a:pt x="582" y="190"/>
                  <a:pt x="575" y="204"/>
                  <a:pt x="563" y="215"/>
                </a:cubicBezTo>
                <a:cubicBezTo>
                  <a:pt x="552" y="226"/>
                  <a:pt x="538" y="231"/>
                  <a:pt x="521" y="231"/>
                </a:cubicBezTo>
                <a:cubicBezTo>
                  <a:pt x="500" y="231"/>
                  <a:pt x="483" y="224"/>
                  <a:pt x="470" y="209"/>
                </a:cubicBezTo>
                <a:cubicBezTo>
                  <a:pt x="458" y="194"/>
                  <a:pt x="451" y="173"/>
                  <a:pt x="451" y="146"/>
                </a:cubicBezTo>
                <a:cubicBezTo>
                  <a:pt x="451" y="128"/>
                  <a:pt x="454" y="113"/>
                  <a:pt x="459" y="99"/>
                </a:cubicBezTo>
                <a:cubicBezTo>
                  <a:pt x="465" y="86"/>
                  <a:pt x="473" y="76"/>
                  <a:pt x="484" y="69"/>
                </a:cubicBezTo>
                <a:cubicBezTo>
                  <a:pt x="496" y="63"/>
                  <a:pt x="508" y="59"/>
                  <a:pt x="521" y="59"/>
                </a:cubicBezTo>
                <a:cubicBezTo>
                  <a:pt x="538" y="59"/>
                  <a:pt x="551" y="64"/>
                  <a:pt x="562" y="73"/>
                </a:cubicBezTo>
                <a:cubicBezTo>
                  <a:pt x="572" y="82"/>
                  <a:pt x="579" y="95"/>
                  <a:pt x="582" y="111"/>
                </a:cubicBezTo>
                <a:lnTo>
                  <a:pt x="557" y="115"/>
                </a:lnTo>
                <a:cubicBezTo>
                  <a:pt x="555" y="104"/>
                  <a:pt x="550" y="96"/>
                  <a:pt x="544" y="91"/>
                </a:cubicBezTo>
                <a:cubicBezTo>
                  <a:pt x="538" y="85"/>
                  <a:pt x="531" y="82"/>
                  <a:pt x="522" y="82"/>
                </a:cubicBezTo>
                <a:cubicBezTo>
                  <a:pt x="509" y="82"/>
                  <a:pt x="498" y="87"/>
                  <a:pt x="490" y="97"/>
                </a:cubicBezTo>
                <a:cubicBezTo>
                  <a:pt x="482" y="107"/>
                  <a:pt x="478" y="123"/>
                  <a:pt x="478" y="145"/>
                </a:cubicBezTo>
                <a:cubicBezTo>
                  <a:pt x="478" y="167"/>
                  <a:pt x="482" y="183"/>
                  <a:pt x="490" y="193"/>
                </a:cubicBezTo>
                <a:cubicBezTo>
                  <a:pt x="498" y="203"/>
                  <a:pt x="508" y="208"/>
                  <a:pt x="521" y="208"/>
                </a:cubicBezTo>
                <a:cubicBezTo>
                  <a:pt x="531" y="208"/>
                  <a:pt x="539" y="205"/>
                  <a:pt x="546" y="198"/>
                </a:cubicBezTo>
                <a:cubicBezTo>
                  <a:pt x="553" y="191"/>
                  <a:pt x="557" y="181"/>
                  <a:pt x="559" y="167"/>
                </a:cubicBezTo>
                <a:close/>
                <a:moveTo>
                  <a:pt x="593" y="228"/>
                </a:moveTo>
                <a:lnTo>
                  <a:pt x="593" y="0"/>
                </a:lnTo>
                <a:lnTo>
                  <a:pt x="619" y="0"/>
                </a:lnTo>
                <a:lnTo>
                  <a:pt x="619" y="82"/>
                </a:lnTo>
                <a:cubicBezTo>
                  <a:pt x="631" y="67"/>
                  <a:pt x="646" y="59"/>
                  <a:pt x="665" y="59"/>
                </a:cubicBezTo>
                <a:cubicBezTo>
                  <a:pt x="676" y="59"/>
                  <a:pt x="686" y="62"/>
                  <a:pt x="694" y="66"/>
                </a:cubicBezTo>
                <a:cubicBezTo>
                  <a:pt x="703" y="71"/>
                  <a:pt x="709" y="78"/>
                  <a:pt x="712" y="86"/>
                </a:cubicBezTo>
                <a:cubicBezTo>
                  <a:pt x="716" y="95"/>
                  <a:pt x="718" y="107"/>
                  <a:pt x="718" y="123"/>
                </a:cubicBezTo>
                <a:lnTo>
                  <a:pt x="718" y="228"/>
                </a:lnTo>
                <a:lnTo>
                  <a:pt x="691" y="228"/>
                </a:lnTo>
                <a:lnTo>
                  <a:pt x="691" y="123"/>
                </a:lnTo>
                <a:cubicBezTo>
                  <a:pt x="691" y="109"/>
                  <a:pt x="689" y="99"/>
                  <a:pt x="683" y="93"/>
                </a:cubicBezTo>
                <a:cubicBezTo>
                  <a:pt x="677" y="87"/>
                  <a:pt x="670" y="83"/>
                  <a:pt x="659" y="83"/>
                </a:cubicBezTo>
                <a:cubicBezTo>
                  <a:pt x="652" y="83"/>
                  <a:pt x="644" y="86"/>
                  <a:pt x="638" y="90"/>
                </a:cubicBezTo>
                <a:cubicBezTo>
                  <a:pt x="631" y="94"/>
                  <a:pt x="626" y="100"/>
                  <a:pt x="623" y="107"/>
                </a:cubicBezTo>
                <a:cubicBezTo>
                  <a:pt x="620" y="115"/>
                  <a:pt x="619" y="125"/>
                  <a:pt x="619" y="138"/>
                </a:cubicBezTo>
                <a:lnTo>
                  <a:pt x="619" y="228"/>
                </a:lnTo>
                <a:lnTo>
                  <a:pt x="593" y="2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4" name="Group 403">
            <a:extLst>
              <a:ext uri="{FF2B5EF4-FFF2-40B4-BE49-F238E27FC236}">
                <a16:creationId xmlns:a16="http://schemas.microsoft.com/office/drawing/2014/main" id="{7D847E1C-0CCE-41CF-B7B5-3E9D65AB4808}"/>
              </a:ext>
            </a:extLst>
          </p:cNvPr>
          <p:cNvGrpSpPr/>
          <p:nvPr/>
        </p:nvGrpSpPr>
        <p:grpSpPr>
          <a:xfrm>
            <a:off x="10405382" y="2411413"/>
            <a:ext cx="461963" cy="577851"/>
            <a:chOff x="10405382" y="2411413"/>
            <a:chExt cx="461963" cy="577851"/>
          </a:xfrm>
          <a:solidFill>
            <a:schemeClr val="accent1"/>
          </a:solidFill>
        </p:grpSpPr>
        <p:sp>
          <p:nvSpPr>
            <p:cNvPr id="7" name="Freeform 206">
              <a:extLst>
                <a:ext uri="{FF2B5EF4-FFF2-40B4-BE49-F238E27FC236}">
                  <a16:creationId xmlns:a16="http://schemas.microsoft.com/office/drawing/2014/main" id="{503F2726-9BBD-4EB5-AE41-2AE32999C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62532" y="2527301"/>
              <a:ext cx="404813" cy="461963"/>
            </a:xfrm>
            <a:custGeom>
              <a:avLst/>
              <a:gdLst>
                <a:gd name="T0" fmla="*/ 882 w 1122"/>
                <a:gd name="T1" fmla="*/ 321 h 1283"/>
                <a:gd name="T2" fmla="*/ 802 w 1122"/>
                <a:gd name="T3" fmla="*/ 335 h 1283"/>
                <a:gd name="T4" fmla="*/ 722 w 1122"/>
                <a:gd name="T5" fmla="*/ 321 h 1283"/>
                <a:gd name="T6" fmla="*/ 641 w 1122"/>
                <a:gd name="T7" fmla="*/ 335 h 1283"/>
                <a:gd name="T8" fmla="*/ 641 w 1122"/>
                <a:gd name="T9" fmla="*/ 241 h 1283"/>
                <a:gd name="T10" fmla="*/ 401 w 1122"/>
                <a:gd name="T11" fmla="*/ 0 h 1283"/>
                <a:gd name="T12" fmla="*/ 160 w 1122"/>
                <a:gd name="T13" fmla="*/ 241 h 1283"/>
                <a:gd name="T14" fmla="*/ 160 w 1122"/>
                <a:gd name="T15" fmla="*/ 561 h 1283"/>
                <a:gd name="T16" fmla="*/ 94 w 1122"/>
                <a:gd name="T17" fmla="*/ 608 h 1283"/>
                <a:gd name="T18" fmla="*/ 94 w 1122"/>
                <a:gd name="T19" fmla="*/ 948 h 1283"/>
                <a:gd name="T20" fmla="*/ 94 w 1122"/>
                <a:gd name="T21" fmla="*/ 948 h 1283"/>
                <a:gd name="T22" fmla="*/ 321 w 1122"/>
                <a:gd name="T23" fmla="*/ 1188 h 1283"/>
                <a:gd name="T24" fmla="*/ 321 w 1122"/>
                <a:gd name="T25" fmla="*/ 1283 h 1283"/>
                <a:gd name="T26" fmla="*/ 433 w 1122"/>
                <a:gd name="T27" fmla="*/ 1283 h 1283"/>
                <a:gd name="T28" fmla="*/ 481 w 1122"/>
                <a:gd name="T29" fmla="*/ 1283 h 1283"/>
                <a:gd name="T30" fmla="*/ 481 w 1122"/>
                <a:gd name="T31" fmla="*/ 1123 h 1283"/>
                <a:gd name="T32" fmla="*/ 208 w 1122"/>
                <a:gd name="T33" fmla="*/ 835 h 1283"/>
                <a:gd name="T34" fmla="*/ 208 w 1122"/>
                <a:gd name="T35" fmla="*/ 835 h 1283"/>
                <a:gd name="T36" fmla="*/ 208 w 1122"/>
                <a:gd name="T37" fmla="*/ 721 h 1283"/>
                <a:gd name="T38" fmla="*/ 321 w 1122"/>
                <a:gd name="T39" fmla="*/ 721 h 1283"/>
                <a:gd name="T40" fmla="*/ 321 w 1122"/>
                <a:gd name="T41" fmla="*/ 642 h 1283"/>
                <a:gd name="T42" fmla="*/ 321 w 1122"/>
                <a:gd name="T43" fmla="*/ 544 h 1283"/>
                <a:gd name="T44" fmla="*/ 321 w 1122"/>
                <a:gd name="T45" fmla="*/ 241 h 1283"/>
                <a:gd name="T46" fmla="*/ 401 w 1122"/>
                <a:gd name="T47" fmla="*/ 160 h 1283"/>
                <a:gd name="T48" fmla="*/ 481 w 1122"/>
                <a:gd name="T49" fmla="*/ 241 h 1283"/>
                <a:gd name="T50" fmla="*/ 481 w 1122"/>
                <a:gd name="T51" fmla="*/ 335 h 1283"/>
                <a:gd name="T52" fmla="*/ 481 w 1122"/>
                <a:gd name="T53" fmla="*/ 401 h 1283"/>
                <a:gd name="T54" fmla="*/ 481 w 1122"/>
                <a:gd name="T55" fmla="*/ 561 h 1283"/>
                <a:gd name="T56" fmla="*/ 561 w 1122"/>
                <a:gd name="T57" fmla="*/ 481 h 1283"/>
                <a:gd name="T58" fmla="*/ 641 w 1122"/>
                <a:gd name="T59" fmla="*/ 561 h 1283"/>
                <a:gd name="T60" fmla="*/ 722 w 1122"/>
                <a:gd name="T61" fmla="*/ 481 h 1283"/>
                <a:gd name="T62" fmla="*/ 802 w 1122"/>
                <a:gd name="T63" fmla="*/ 561 h 1283"/>
                <a:gd name="T64" fmla="*/ 882 w 1122"/>
                <a:gd name="T65" fmla="*/ 481 h 1283"/>
                <a:gd name="T66" fmla="*/ 962 w 1122"/>
                <a:gd name="T67" fmla="*/ 561 h 1283"/>
                <a:gd name="T68" fmla="*/ 962 w 1122"/>
                <a:gd name="T69" fmla="*/ 881 h 1283"/>
                <a:gd name="T70" fmla="*/ 809 w 1122"/>
                <a:gd name="T71" fmla="*/ 1283 h 1283"/>
                <a:gd name="T72" fmla="*/ 980 w 1122"/>
                <a:gd name="T73" fmla="*/ 1283 h 1283"/>
                <a:gd name="T74" fmla="*/ 1122 w 1122"/>
                <a:gd name="T75" fmla="*/ 911 h 1283"/>
                <a:gd name="T76" fmla="*/ 1122 w 1122"/>
                <a:gd name="T77" fmla="*/ 882 h 1283"/>
                <a:gd name="T78" fmla="*/ 1122 w 1122"/>
                <a:gd name="T79" fmla="*/ 785 h 1283"/>
                <a:gd name="T80" fmla="*/ 1122 w 1122"/>
                <a:gd name="T81" fmla="*/ 561 h 1283"/>
                <a:gd name="T82" fmla="*/ 882 w 1122"/>
                <a:gd name="T83" fmla="*/ 321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22" h="1283">
                  <a:moveTo>
                    <a:pt x="882" y="321"/>
                  </a:moveTo>
                  <a:cubicBezTo>
                    <a:pt x="854" y="321"/>
                    <a:pt x="827" y="326"/>
                    <a:pt x="802" y="335"/>
                  </a:cubicBezTo>
                  <a:cubicBezTo>
                    <a:pt x="777" y="326"/>
                    <a:pt x="750" y="321"/>
                    <a:pt x="722" y="321"/>
                  </a:cubicBezTo>
                  <a:cubicBezTo>
                    <a:pt x="694" y="321"/>
                    <a:pt x="667" y="326"/>
                    <a:pt x="641" y="335"/>
                  </a:cubicBezTo>
                  <a:lnTo>
                    <a:pt x="641" y="241"/>
                  </a:lnTo>
                  <a:cubicBezTo>
                    <a:pt x="641" y="108"/>
                    <a:pt x="534" y="0"/>
                    <a:pt x="401" y="0"/>
                  </a:cubicBezTo>
                  <a:cubicBezTo>
                    <a:pt x="268" y="0"/>
                    <a:pt x="160" y="108"/>
                    <a:pt x="160" y="241"/>
                  </a:cubicBezTo>
                  <a:lnTo>
                    <a:pt x="160" y="561"/>
                  </a:lnTo>
                  <a:cubicBezTo>
                    <a:pt x="137" y="572"/>
                    <a:pt x="114" y="588"/>
                    <a:pt x="94" y="608"/>
                  </a:cubicBezTo>
                  <a:cubicBezTo>
                    <a:pt x="0" y="702"/>
                    <a:pt x="0" y="854"/>
                    <a:pt x="94" y="948"/>
                  </a:cubicBezTo>
                  <a:lnTo>
                    <a:pt x="94" y="948"/>
                  </a:lnTo>
                  <a:lnTo>
                    <a:pt x="321" y="1188"/>
                  </a:lnTo>
                  <a:lnTo>
                    <a:pt x="321" y="1283"/>
                  </a:lnTo>
                  <a:lnTo>
                    <a:pt x="433" y="1283"/>
                  </a:lnTo>
                  <a:lnTo>
                    <a:pt x="481" y="1283"/>
                  </a:lnTo>
                  <a:lnTo>
                    <a:pt x="481" y="1123"/>
                  </a:lnTo>
                  <a:lnTo>
                    <a:pt x="208" y="835"/>
                  </a:lnTo>
                  <a:lnTo>
                    <a:pt x="208" y="835"/>
                  </a:lnTo>
                  <a:cubicBezTo>
                    <a:pt x="176" y="803"/>
                    <a:pt x="176" y="752"/>
                    <a:pt x="208" y="721"/>
                  </a:cubicBezTo>
                  <a:cubicBezTo>
                    <a:pt x="239" y="690"/>
                    <a:pt x="289" y="690"/>
                    <a:pt x="321" y="721"/>
                  </a:cubicBezTo>
                  <a:lnTo>
                    <a:pt x="321" y="642"/>
                  </a:lnTo>
                  <a:lnTo>
                    <a:pt x="321" y="544"/>
                  </a:lnTo>
                  <a:lnTo>
                    <a:pt x="321" y="241"/>
                  </a:lnTo>
                  <a:cubicBezTo>
                    <a:pt x="321" y="196"/>
                    <a:pt x="357" y="160"/>
                    <a:pt x="401" y="160"/>
                  </a:cubicBezTo>
                  <a:cubicBezTo>
                    <a:pt x="445" y="160"/>
                    <a:pt x="481" y="196"/>
                    <a:pt x="481" y="241"/>
                  </a:cubicBezTo>
                  <a:lnTo>
                    <a:pt x="481" y="335"/>
                  </a:lnTo>
                  <a:lnTo>
                    <a:pt x="481" y="401"/>
                  </a:lnTo>
                  <a:lnTo>
                    <a:pt x="481" y="561"/>
                  </a:lnTo>
                  <a:cubicBezTo>
                    <a:pt x="481" y="517"/>
                    <a:pt x="517" y="481"/>
                    <a:pt x="561" y="481"/>
                  </a:cubicBezTo>
                  <a:cubicBezTo>
                    <a:pt x="606" y="481"/>
                    <a:pt x="641" y="517"/>
                    <a:pt x="641" y="561"/>
                  </a:cubicBezTo>
                  <a:cubicBezTo>
                    <a:pt x="641" y="517"/>
                    <a:pt x="677" y="481"/>
                    <a:pt x="722" y="481"/>
                  </a:cubicBezTo>
                  <a:cubicBezTo>
                    <a:pt x="766" y="481"/>
                    <a:pt x="802" y="517"/>
                    <a:pt x="802" y="561"/>
                  </a:cubicBezTo>
                  <a:cubicBezTo>
                    <a:pt x="802" y="517"/>
                    <a:pt x="838" y="481"/>
                    <a:pt x="882" y="481"/>
                  </a:cubicBezTo>
                  <a:cubicBezTo>
                    <a:pt x="926" y="481"/>
                    <a:pt x="962" y="517"/>
                    <a:pt x="962" y="561"/>
                  </a:cubicBezTo>
                  <a:lnTo>
                    <a:pt x="962" y="881"/>
                  </a:lnTo>
                  <a:lnTo>
                    <a:pt x="809" y="1283"/>
                  </a:lnTo>
                  <a:lnTo>
                    <a:pt x="980" y="1283"/>
                  </a:lnTo>
                  <a:lnTo>
                    <a:pt x="1122" y="911"/>
                  </a:lnTo>
                  <a:lnTo>
                    <a:pt x="1122" y="882"/>
                  </a:lnTo>
                  <a:lnTo>
                    <a:pt x="1122" y="785"/>
                  </a:lnTo>
                  <a:lnTo>
                    <a:pt x="1122" y="561"/>
                  </a:lnTo>
                  <a:cubicBezTo>
                    <a:pt x="1122" y="428"/>
                    <a:pt x="1015" y="321"/>
                    <a:pt x="882" y="3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" name="Freeform 207">
              <a:extLst>
                <a:ext uri="{FF2B5EF4-FFF2-40B4-BE49-F238E27FC236}">
                  <a16:creationId xmlns:a16="http://schemas.microsoft.com/office/drawing/2014/main" id="{E0C2D20A-6967-4B8E-87E4-64F7FB6251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5382" y="2411413"/>
              <a:ext cx="403225" cy="282575"/>
            </a:xfrm>
            <a:custGeom>
              <a:avLst/>
              <a:gdLst>
                <a:gd name="T0" fmla="*/ 561 w 1122"/>
                <a:gd name="T1" fmla="*/ 161 h 783"/>
                <a:gd name="T2" fmla="*/ 962 w 1122"/>
                <a:gd name="T3" fmla="*/ 562 h 783"/>
                <a:gd name="T4" fmla="*/ 962 w 1122"/>
                <a:gd name="T5" fmla="*/ 564 h 783"/>
                <a:gd name="T6" fmla="*/ 1122 w 1122"/>
                <a:gd name="T7" fmla="*/ 535 h 783"/>
                <a:gd name="T8" fmla="*/ 561 w 1122"/>
                <a:gd name="T9" fmla="*/ 0 h 783"/>
                <a:gd name="T10" fmla="*/ 0 w 1122"/>
                <a:gd name="T11" fmla="*/ 562 h 783"/>
                <a:gd name="T12" fmla="*/ 45 w 1122"/>
                <a:gd name="T13" fmla="*/ 783 h 783"/>
                <a:gd name="T14" fmla="*/ 192 w 1122"/>
                <a:gd name="T15" fmla="*/ 720 h 783"/>
                <a:gd name="T16" fmla="*/ 160 w 1122"/>
                <a:gd name="T17" fmla="*/ 562 h 783"/>
                <a:gd name="T18" fmla="*/ 561 w 1122"/>
                <a:gd name="T19" fmla="*/ 161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2" h="783">
                  <a:moveTo>
                    <a:pt x="561" y="161"/>
                  </a:moveTo>
                  <a:cubicBezTo>
                    <a:pt x="782" y="161"/>
                    <a:pt x="962" y="340"/>
                    <a:pt x="962" y="562"/>
                  </a:cubicBezTo>
                  <a:cubicBezTo>
                    <a:pt x="962" y="562"/>
                    <a:pt x="962" y="563"/>
                    <a:pt x="962" y="564"/>
                  </a:cubicBezTo>
                  <a:lnTo>
                    <a:pt x="1122" y="535"/>
                  </a:lnTo>
                  <a:cubicBezTo>
                    <a:pt x="1108" y="237"/>
                    <a:pt x="862" y="0"/>
                    <a:pt x="561" y="0"/>
                  </a:cubicBezTo>
                  <a:cubicBezTo>
                    <a:pt x="251" y="0"/>
                    <a:pt x="0" y="252"/>
                    <a:pt x="0" y="562"/>
                  </a:cubicBezTo>
                  <a:cubicBezTo>
                    <a:pt x="0" y="640"/>
                    <a:pt x="16" y="715"/>
                    <a:pt x="45" y="783"/>
                  </a:cubicBezTo>
                  <a:lnTo>
                    <a:pt x="192" y="720"/>
                  </a:lnTo>
                  <a:cubicBezTo>
                    <a:pt x="172" y="671"/>
                    <a:pt x="160" y="618"/>
                    <a:pt x="160" y="562"/>
                  </a:cubicBezTo>
                  <a:cubicBezTo>
                    <a:pt x="160" y="340"/>
                    <a:pt x="340" y="161"/>
                    <a:pt x="561" y="1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" name="Rectangle 208">
              <a:extLst>
                <a:ext uri="{FF2B5EF4-FFF2-40B4-BE49-F238E27FC236}">
                  <a16:creationId xmlns:a16="http://schemas.microsoft.com/office/drawing/2014/main" id="{F2EB2C64-72E0-4D1C-8690-F70BFF933F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35569" y="2932113"/>
              <a:ext cx="87313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6" name="Group 425">
            <a:extLst>
              <a:ext uri="{FF2B5EF4-FFF2-40B4-BE49-F238E27FC236}">
                <a16:creationId xmlns:a16="http://schemas.microsoft.com/office/drawing/2014/main" id="{AF6D8C1E-B635-423C-B097-D5F1329E02D8}"/>
              </a:ext>
            </a:extLst>
          </p:cNvPr>
          <p:cNvGrpSpPr/>
          <p:nvPr/>
        </p:nvGrpSpPr>
        <p:grpSpPr>
          <a:xfrm>
            <a:off x="5805488" y="5470525"/>
            <a:ext cx="461963" cy="577850"/>
            <a:chOff x="5805488" y="5470525"/>
            <a:chExt cx="461963" cy="577850"/>
          </a:xfrm>
          <a:solidFill>
            <a:schemeClr val="accent1"/>
          </a:solidFill>
        </p:grpSpPr>
        <p:sp>
          <p:nvSpPr>
            <p:cNvPr id="10" name="Freeform 209">
              <a:extLst>
                <a:ext uri="{FF2B5EF4-FFF2-40B4-BE49-F238E27FC236}">
                  <a16:creationId xmlns:a16="http://schemas.microsoft.com/office/drawing/2014/main" id="{E8E2CC5D-9909-4726-8A80-995D40D0A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788" y="5586413"/>
              <a:ext cx="231775" cy="288925"/>
            </a:xfrm>
            <a:custGeom>
              <a:avLst/>
              <a:gdLst>
                <a:gd name="T0" fmla="*/ 642 w 642"/>
                <a:gd name="T1" fmla="*/ 240 h 802"/>
                <a:gd name="T2" fmla="*/ 642 w 642"/>
                <a:gd name="T3" fmla="*/ 80 h 802"/>
                <a:gd name="T4" fmla="*/ 401 w 642"/>
                <a:gd name="T5" fmla="*/ 80 h 802"/>
                <a:gd name="T6" fmla="*/ 401 w 642"/>
                <a:gd name="T7" fmla="*/ 0 h 802"/>
                <a:gd name="T8" fmla="*/ 241 w 642"/>
                <a:gd name="T9" fmla="*/ 0 h 802"/>
                <a:gd name="T10" fmla="*/ 241 w 642"/>
                <a:gd name="T11" fmla="*/ 80 h 802"/>
                <a:gd name="T12" fmla="*/ 0 w 642"/>
                <a:gd name="T13" fmla="*/ 80 h 802"/>
                <a:gd name="T14" fmla="*/ 0 w 642"/>
                <a:gd name="T15" fmla="*/ 481 h 802"/>
                <a:gd name="T16" fmla="*/ 481 w 642"/>
                <a:gd name="T17" fmla="*/ 481 h 802"/>
                <a:gd name="T18" fmla="*/ 481 w 642"/>
                <a:gd name="T19" fmla="*/ 561 h 802"/>
                <a:gd name="T20" fmla="*/ 0 w 642"/>
                <a:gd name="T21" fmla="*/ 561 h 802"/>
                <a:gd name="T22" fmla="*/ 0 w 642"/>
                <a:gd name="T23" fmla="*/ 721 h 802"/>
                <a:gd name="T24" fmla="*/ 241 w 642"/>
                <a:gd name="T25" fmla="*/ 721 h 802"/>
                <a:gd name="T26" fmla="*/ 241 w 642"/>
                <a:gd name="T27" fmla="*/ 802 h 802"/>
                <a:gd name="T28" fmla="*/ 401 w 642"/>
                <a:gd name="T29" fmla="*/ 802 h 802"/>
                <a:gd name="T30" fmla="*/ 401 w 642"/>
                <a:gd name="T31" fmla="*/ 721 h 802"/>
                <a:gd name="T32" fmla="*/ 642 w 642"/>
                <a:gd name="T33" fmla="*/ 721 h 802"/>
                <a:gd name="T34" fmla="*/ 642 w 642"/>
                <a:gd name="T35" fmla="*/ 321 h 802"/>
                <a:gd name="T36" fmla="*/ 161 w 642"/>
                <a:gd name="T37" fmla="*/ 321 h 802"/>
                <a:gd name="T38" fmla="*/ 161 w 642"/>
                <a:gd name="T39" fmla="*/ 240 h 802"/>
                <a:gd name="T40" fmla="*/ 642 w 642"/>
                <a:gd name="T41" fmla="*/ 240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2" h="802">
                  <a:moveTo>
                    <a:pt x="642" y="240"/>
                  </a:moveTo>
                  <a:lnTo>
                    <a:pt x="642" y="80"/>
                  </a:lnTo>
                  <a:lnTo>
                    <a:pt x="401" y="80"/>
                  </a:lnTo>
                  <a:lnTo>
                    <a:pt x="401" y="0"/>
                  </a:lnTo>
                  <a:lnTo>
                    <a:pt x="241" y="0"/>
                  </a:lnTo>
                  <a:lnTo>
                    <a:pt x="241" y="80"/>
                  </a:lnTo>
                  <a:lnTo>
                    <a:pt x="0" y="80"/>
                  </a:lnTo>
                  <a:lnTo>
                    <a:pt x="0" y="481"/>
                  </a:lnTo>
                  <a:lnTo>
                    <a:pt x="481" y="481"/>
                  </a:lnTo>
                  <a:lnTo>
                    <a:pt x="481" y="561"/>
                  </a:lnTo>
                  <a:lnTo>
                    <a:pt x="0" y="561"/>
                  </a:lnTo>
                  <a:lnTo>
                    <a:pt x="0" y="721"/>
                  </a:lnTo>
                  <a:lnTo>
                    <a:pt x="241" y="721"/>
                  </a:lnTo>
                  <a:lnTo>
                    <a:pt x="241" y="802"/>
                  </a:lnTo>
                  <a:lnTo>
                    <a:pt x="401" y="802"/>
                  </a:lnTo>
                  <a:lnTo>
                    <a:pt x="401" y="721"/>
                  </a:lnTo>
                  <a:lnTo>
                    <a:pt x="642" y="721"/>
                  </a:lnTo>
                  <a:lnTo>
                    <a:pt x="642" y="321"/>
                  </a:lnTo>
                  <a:lnTo>
                    <a:pt x="161" y="321"/>
                  </a:lnTo>
                  <a:lnTo>
                    <a:pt x="161" y="240"/>
                  </a:lnTo>
                  <a:lnTo>
                    <a:pt x="642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" name="Freeform 210">
              <a:extLst>
                <a:ext uri="{FF2B5EF4-FFF2-40B4-BE49-F238E27FC236}">
                  <a16:creationId xmlns:a16="http://schemas.microsoft.com/office/drawing/2014/main" id="{8199415C-E053-4ADD-BAD4-3DACFFDAC3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5488" y="5470525"/>
              <a:ext cx="461963" cy="577850"/>
            </a:xfrm>
            <a:custGeom>
              <a:avLst/>
              <a:gdLst>
                <a:gd name="T0" fmla="*/ 721 w 1283"/>
                <a:gd name="T1" fmla="*/ 1524 h 1604"/>
                <a:gd name="T2" fmla="*/ 561 w 1283"/>
                <a:gd name="T3" fmla="*/ 1524 h 1604"/>
                <a:gd name="T4" fmla="*/ 561 w 1283"/>
                <a:gd name="T5" fmla="*/ 1363 h 1604"/>
                <a:gd name="T6" fmla="*/ 721 w 1283"/>
                <a:gd name="T7" fmla="*/ 1363 h 1604"/>
                <a:gd name="T8" fmla="*/ 721 w 1283"/>
                <a:gd name="T9" fmla="*/ 1524 h 1604"/>
                <a:gd name="T10" fmla="*/ 1122 w 1283"/>
                <a:gd name="T11" fmla="*/ 0 h 1604"/>
                <a:gd name="T12" fmla="*/ 1122 w 1283"/>
                <a:gd name="T13" fmla="*/ 1283 h 1604"/>
                <a:gd name="T14" fmla="*/ 160 w 1283"/>
                <a:gd name="T15" fmla="*/ 1283 h 1604"/>
                <a:gd name="T16" fmla="*/ 160 w 1283"/>
                <a:gd name="T17" fmla="*/ 161 h 1604"/>
                <a:gd name="T18" fmla="*/ 962 w 1283"/>
                <a:gd name="T19" fmla="*/ 161 h 1604"/>
                <a:gd name="T20" fmla="*/ 962 w 1283"/>
                <a:gd name="T21" fmla="*/ 0 h 1604"/>
                <a:gd name="T22" fmla="*/ 160 w 1283"/>
                <a:gd name="T23" fmla="*/ 0 h 1604"/>
                <a:gd name="T24" fmla="*/ 0 w 1283"/>
                <a:gd name="T25" fmla="*/ 161 h 1604"/>
                <a:gd name="T26" fmla="*/ 0 w 1283"/>
                <a:gd name="T27" fmla="*/ 1604 h 1604"/>
                <a:gd name="T28" fmla="*/ 1042 w 1283"/>
                <a:gd name="T29" fmla="*/ 1604 h 1604"/>
                <a:gd name="T30" fmla="*/ 1283 w 1283"/>
                <a:gd name="T31" fmla="*/ 1363 h 1604"/>
                <a:gd name="T32" fmla="*/ 1283 w 1283"/>
                <a:gd name="T33" fmla="*/ 0 h 1604"/>
                <a:gd name="T34" fmla="*/ 1122 w 1283"/>
                <a:gd name="T35" fmla="*/ 0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83" h="1604">
                  <a:moveTo>
                    <a:pt x="721" y="1524"/>
                  </a:moveTo>
                  <a:lnTo>
                    <a:pt x="561" y="1524"/>
                  </a:lnTo>
                  <a:lnTo>
                    <a:pt x="561" y="1363"/>
                  </a:lnTo>
                  <a:lnTo>
                    <a:pt x="721" y="1363"/>
                  </a:lnTo>
                  <a:lnTo>
                    <a:pt x="721" y="1524"/>
                  </a:lnTo>
                  <a:close/>
                  <a:moveTo>
                    <a:pt x="1122" y="0"/>
                  </a:moveTo>
                  <a:lnTo>
                    <a:pt x="1122" y="1283"/>
                  </a:lnTo>
                  <a:lnTo>
                    <a:pt x="160" y="1283"/>
                  </a:lnTo>
                  <a:lnTo>
                    <a:pt x="160" y="161"/>
                  </a:lnTo>
                  <a:lnTo>
                    <a:pt x="962" y="161"/>
                  </a:lnTo>
                  <a:lnTo>
                    <a:pt x="962" y="0"/>
                  </a:lnTo>
                  <a:lnTo>
                    <a:pt x="160" y="0"/>
                  </a:lnTo>
                  <a:lnTo>
                    <a:pt x="0" y="161"/>
                  </a:lnTo>
                  <a:lnTo>
                    <a:pt x="0" y="1604"/>
                  </a:lnTo>
                  <a:lnTo>
                    <a:pt x="1042" y="1604"/>
                  </a:lnTo>
                  <a:lnTo>
                    <a:pt x="1283" y="1363"/>
                  </a:lnTo>
                  <a:lnTo>
                    <a:pt x="1283" y="0"/>
                  </a:lnTo>
                  <a:lnTo>
                    <a:pt x="11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" name="Rectangle 211">
              <a:extLst>
                <a:ext uri="{FF2B5EF4-FFF2-40B4-BE49-F238E27FC236}">
                  <a16:creationId xmlns:a16="http://schemas.microsoft.com/office/drawing/2014/main" id="{8272754A-7E78-4609-829D-51528215FB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5488" y="5527675"/>
              <a:ext cx="57150" cy="873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10" name="Group 409">
            <a:extLst>
              <a:ext uri="{FF2B5EF4-FFF2-40B4-BE49-F238E27FC236}">
                <a16:creationId xmlns:a16="http://schemas.microsoft.com/office/drawing/2014/main" id="{D96231B4-619B-4591-8776-2C2ABF6C63D4}"/>
              </a:ext>
            </a:extLst>
          </p:cNvPr>
          <p:cNvGrpSpPr/>
          <p:nvPr/>
        </p:nvGrpSpPr>
        <p:grpSpPr>
          <a:xfrm>
            <a:off x="9588500" y="4452938"/>
            <a:ext cx="519113" cy="577850"/>
            <a:chOff x="9588500" y="4452938"/>
            <a:chExt cx="519113" cy="577850"/>
          </a:xfrm>
          <a:solidFill>
            <a:schemeClr val="accent1"/>
          </a:solidFill>
        </p:grpSpPr>
        <p:sp>
          <p:nvSpPr>
            <p:cNvPr id="13" name="Freeform 212">
              <a:extLst>
                <a:ext uri="{FF2B5EF4-FFF2-40B4-BE49-F238E27FC236}">
                  <a16:creationId xmlns:a16="http://schemas.microsoft.com/office/drawing/2014/main" id="{96D68974-BA3D-4560-8D39-BA5AB79F63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88500" y="4452938"/>
              <a:ext cx="519113" cy="577850"/>
            </a:xfrm>
            <a:custGeom>
              <a:avLst/>
              <a:gdLst>
                <a:gd name="T0" fmla="*/ 641 w 1443"/>
                <a:gd name="T1" fmla="*/ 1443 h 1604"/>
                <a:gd name="T2" fmla="*/ 240 w 1443"/>
                <a:gd name="T3" fmla="*/ 1443 h 1604"/>
                <a:gd name="T4" fmla="*/ 240 w 1443"/>
                <a:gd name="T5" fmla="*/ 962 h 1604"/>
                <a:gd name="T6" fmla="*/ 641 w 1443"/>
                <a:gd name="T7" fmla="*/ 962 h 1604"/>
                <a:gd name="T8" fmla="*/ 641 w 1443"/>
                <a:gd name="T9" fmla="*/ 1443 h 1604"/>
                <a:gd name="T10" fmla="*/ 160 w 1443"/>
                <a:gd name="T11" fmla="*/ 561 h 1604"/>
                <a:gd name="T12" fmla="*/ 521 w 1443"/>
                <a:gd name="T13" fmla="*/ 561 h 1604"/>
                <a:gd name="T14" fmla="*/ 641 w 1443"/>
                <a:gd name="T15" fmla="*/ 561 h 1604"/>
                <a:gd name="T16" fmla="*/ 641 w 1443"/>
                <a:gd name="T17" fmla="*/ 802 h 1604"/>
                <a:gd name="T18" fmla="*/ 160 w 1443"/>
                <a:gd name="T19" fmla="*/ 802 h 1604"/>
                <a:gd name="T20" fmla="*/ 160 w 1443"/>
                <a:gd name="T21" fmla="*/ 561 h 1604"/>
                <a:gd name="T22" fmla="*/ 401 w 1443"/>
                <a:gd name="T23" fmla="*/ 281 h 1604"/>
                <a:gd name="T24" fmla="*/ 521 w 1443"/>
                <a:gd name="T25" fmla="*/ 160 h 1604"/>
                <a:gd name="T26" fmla="*/ 641 w 1443"/>
                <a:gd name="T27" fmla="*/ 281 h 1604"/>
                <a:gd name="T28" fmla="*/ 641 w 1443"/>
                <a:gd name="T29" fmla="*/ 401 h 1604"/>
                <a:gd name="T30" fmla="*/ 521 w 1443"/>
                <a:gd name="T31" fmla="*/ 401 h 1604"/>
                <a:gd name="T32" fmla="*/ 401 w 1443"/>
                <a:gd name="T33" fmla="*/ 281 h 1604"/>
                <a:gd name="T34" fmla="*/ 802 w 1443"/>
                <a:gd name="T35" fmla="*/ 281 h 1604"/>
                <a:gd name="T36" fmla="*/ 922 w 1443"/>
                <a:gd name="T37" fmla="*/ 160 h 1604"/>
                <a:gd name="T38" fmla="*/ 1042 w 1443"/>
                <a:gd name="T39" fmla="*/ 281 h 1604"/>
                <a:gd name="T40" fmla="*/ 922 w 1443"/>
                <a:gd name="T41" fmla="*/ 401 h 1604"/>
                <a:gd name="T42" fmla="*/ 802 w 1443"/>
                <a:gd name="T43" fmla="*/ 401 h 1604"/>
                <a:gd name="T44" fmla="*/ 802 w 1443"/>
                <a:gd name="T45" fmla="*/ 281 h 1604"/>
                <a:gd name="T46" fmla="*/ 1283 w 1443"/>
                <a:gd name="T47" fmla="*/ 802 h 1604"/>
                <a:gd name="T48" fmla="*/ 802 w 1443"/>
                <a:gd name="T49" fmla="*/ 802 h 1604"/>
                <a:gd name="T50" fmla="*/ 802 w 1443"/>
                <a:gd name="T51" fmla="*/ 561 h 1604"/>
                <a:gd name="T52" fmla="*/ 922 w 1443"/>
                <a:gd name="T53" fmla="*/ 561 h 1604"/>
                <a:gd name="T54" fmla="*/ 1283 w 1443"/>
                <a:gd name="T55" fmla="*/ 561 h 1604"/>
                <a:gd name="T56" fmla="*/ 1283 w 1443"/>
                <a:gd name="T57" fmla="*/ 802 h 1604"/>
                <a:gd name="T58" fmla="*/ 1443 w 1443"/>
                <a:gd name="T59" fmla="*/ 962 h 1604"/>
                <a:gd name="T60" fmla="*/ 1443 w 1443"/>
                <a:gd name="T61" fmla="*/ 481 h 1604"/>
                <a:gd name="T62" fmla="*/ 1363 w 1443"/>
                <a:gd name="T63" fmla="*/ 401 h 1604"/>
                <a:gd name="T64" fmla="*/ 1175 w 1443"/>
                <a:gd name="T65" fmla="*/ 401 h 1604"/>
                <a:gd name="T66" fmla="*/ 1202 w 1443"/>
                <a:gd name="T67" fmla="*/ 281 h 1604"/>
                <a:gd name="T68" fmla="*/ 922 w 1443"/>
                <a:gd name="T69" fmla="*/ 0 h 1604"/>
                <a:gd name="T70" fmla="*/ 721 w 1443"/>
                <a:gd name="T71" fmla="*/ 84 h 1604"/>
                <a:gd name="T72" fmla="*/ 721 w 1443"/>
                <a:gd name="T73" fmla="*/ 84 h 1604"/>
                <a:gd name="T74" fmla="*/ 521 w 1443"/>
                <a:gd name="T75" fmla="*/ 0 h 1604"/>
                <a:gd name="T76" fmla="*/ 240 w 1443"/>
                <a:gd name="T77" fmla="*/ 281 h 1604"/>
                <a:gd name="T78" fmla="*/ 267 w 1443"/>
                <a:gd name="T79" fmla="*/ 401 h 1604"/>
                <a:gd name="T80" fmla="*/ 80 w 1443"/>
                <a:gd name="T81" fmla="*/ 401 h 1604"/>
                <a:gd name="T82" fmla="*/ 0 w 1443"/>
                <a:gd name="T83" fmla="*/ 481 h 1604"/>
                <a:gd name="T84" fmla="*/ 0 w 1443"/>
                <a:gd name="T85" fmla="*/ 962 h 1604"/>
                <a:gd name="T86" fmla="*/ 80 w 1443"/>
                <a:gd name="T87" fmla="*/ 962 h 1604"/>
                <a:gd name="T88" fmla="*/ 80 w 1443"/>
                <a:gd name="T89" fmla="*/ 1604 h 1604"/>
                <a:gd name="T90" fmla="*/ 1363 w 1443"/>
                <a:gd name="T91" fmla="*/ 1604 h 1604"/>
                <a:gd name="T92" fmla="*/ 1363 w 1443"/>
                <a:gd name="T93" fmla="*/ 1122 h 1604"/>
                <a:gd name="T94" fmla="*/ 1202 w 1443"/>
                <a:gd name="T95" fmla="*/ 1122 h 1604"/>
                <a:gd name="T96" fmla="*/ 1202 w 1443"/>
                <a:gd name="T97" fmla="*/ 1443 h 1604"/>
                <a:gd name="T98" fmla="*/ 802 w 1443"/>
                <a:gd name="T99" fmla="*/ 1443 h 1604"/>
                <a:gd name="T100" fmla="*/ 802 w 1443"/>
                <a:gd name="T101" fmla="*/ 962 h 1604"/>
                <a:gd name="T102" fmla="*/ 1443 w 1443"/>
                <a:gd name="T103" fmla="*/ 962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3" h="1604">
                  <a:moveTo>
                    <a:pt x="641" y="1443"/>
                  </a:moveTo>
                  <a:lnTo>
                    <a:pt x="240" y="1443"/>
                  </a:lnTo>
                  <a:lnTo>
                    <a:pt x="240" y="962"/>
                  </a:lnTo>
                  <a:lnTo>
                    <a:pt x="641" y="962"/>
                  </a:lnTo>
                  <a:lnTo>
                    <a:pt x="641" y="1443"/>
                  </a:lnTo>
                  <a:close/>
                  <a:moveTo>
                    <a:pt x="160" y="561"/>
                  </a:moveTo>
                  <a:lnTo>
                    <a:pt x="521" y="561"/>
                  </a:lnTo>
                  <a:lnTo>
                    <a:pt x="641" y="561"/>
                  </a:lnTo>
                  <a:lnTo>
                    <a:pt x="641" y="802"/>
                  </a:lnTo>
                  <a:lnTo>
                    <a:pt x="160" y="802"/>
                  </a:lnTo>
                  <a:lnTo>
                    <a:pt x="160" y="561"/>
                  </a:lnTo>
                  <a:close/>
                  <a:moveTo>
                    <a:pt x="401" y="281"/>
                  </a:moveTo>
                  <a:cubicBezTo>
                    <a:pt x="401" y="214"/>
                    <a:pt x="455" y="160"/>
                    <a:pt x="521" y="160"/>
                  </a:cubicBezTo>
                  <a:cubicBezTo>
                    <a:pt x="587" y="160"/>
                    <a:pt x="641" y="214"/>
                    <a:pt x="641" y="281"/>
                  </a:cubicBezTo>
                  <a:lnTo>
                    <a:pt x="641" y="401"/>
                  </a:lnTo>
                  <a:lnTo>
                    <a:pt x="521" y="401"/>
                  </a:lnTo>
                  <a:cubicBezTo>
                    <a:pt x="455" y="401"/>
                    <a:pt x="401" y="347"/>
                    <a:pt x="401" y="281"/>
                  </a:cubicBezTo>
                  <a:close/>
                  <a:moveTo>
                    <a:pt x="802" y="281"/>
                  </a:moveTo>
                  <a:cubicBezTo>
                    <a:pt x="802" y="214"/>
                    <a:pt x="855" y="160"/>
                    <a:pt x="922" y="160"/>
                  </a:cubicBezTo>
                  <a:cubicBezTo>
                    <a:pt x="988" y="160"/>
                    <a:pt x="1042" y="214"/>
                    <a:pt x="1042" y="281"/>
                  </a:cubicBezTo>
                  <a:cubicBezTo>
                    <a:pt x="1042" y="347"/>
                    <a:pt x="988" y="401"/>
                    <a:pt x="922" y="401"/>
                  </a:cubicBezTo>
                  <a:lnTo>
                    <a:pt x="802" y="401"/>
                  </a:lnTo>
                  <a:lnTo>
                    <a:pt x="802" y="281"/>
                  </a:lnTo>
                  <a:close/>
                  <a:moveTo>
                    <a:pt x="1283" y="802"/>
                  </a:moveTo>
                  <a:lnTo>
                    <a:pt x="802" y="802"/>
                  </a:lnTo>
                  <a:lnTo>
                    <a:pt x="802" y="561"/>
                  </a:lnTo>
                  <a:lnTo>
                    <a:pt x="922" y="561"/>
                  </a:lnTo>
                  <a:lnTo>
                    <a:pt x="1283" y="561"/>
                  </a:lnTo>
                  <a:lnTo>
                    <a:pt x="1283" y="802"/>
                  </a:lnTo>
                  <a:close/>
                  <a:moveTo>
                    <a:pt x="1443" y="962"/>
                  </a:moveTo>
                  <a:lnTo>
                    <a:pt x="1443" y="481"/>
                  </a:lnTo>
                  <a:lnTo>
                    <a:pt x="1363" y="401"/>
                  </a:lnTo>
                  <a:lnTo>
                    <a:pt x="1175" y="401"/>
                  </a:lnTo>
                  <a:cubicBezTo>
                    <a:pt x="1193" y="364"/>
                    <a:pt x="1202" y="324"/>
                    <a:pt x="1202" y="281"/>
                  </a:cubicBezTo>
                  <a:cubicBezTo>
                    <a:pt x="1202" y="126"/>
                    <a:pt x="1077" y="0"/>
                    <a:pt x="922" y="0"/>
                  </a:cubicBezTo>
                  <a:cubicBezTo>
                    <a:pt x="843" y="0"/>
                    <a:pt x="772" y="32"/>
                    <a:pt x="721" y="84"/>
                  </a:cubicBezTo>
                  <a:lnTo>
                    <a:pt x="721" y="84"/>
                  </a:lnTo>
                  <a:cubicBezTo>
                    <a:pt x="670" y="32"/>
                    <a:pt x="599" y="0"/>
                    <a:pt x="521" y="0"/>
                  </a:cubicBezTo>
                  <a:cubicBezTo>
                    <a:pt x="366" y="0"/>
                    <a:pt x="240" y="126"/>
                    <a:pt x="240" y="281"/>
                  </a:cubicBezTo>
                  <a:cubicBezTo>
                    <a:pt x="240" y="324"/>
                    <a:pt x="250" y="364"/>
                    <a:pt x="267" y="401"/>
                  </a:cubicBezTo>
                  <a:lnTo>
                    <a:pt x="80" y="401"/>
                  </a:lnTo>
                  <a:lnTo>
                    <a:pt x="0" y="481"/>
                  </a:lnTo>
                  <a:lnTo>
                    <a:pt x="0" y="962"/>
                  </a:lnTo>
                  <a:lnTo>
                    <a:pt x="80" y="962"/>
                  </a:lnTo>
                  <a:lnTo>
                    <a:pt x="80" y="1604"/>
                  </a:lnTo>
                  <a:lnTo>
                    <a:pt x="1363" y="1604"/>
                  </a:lnTo>
                  <a:lnTo>
                    <a:pt x="1363" y="1122"/>
                  </a:lnTo>
                  <a:lnTo>
                    <a:pt x="1202" y="1122"/>
                  </a:lnTo>
                  <a:lnTo>
                    <a:pt x="1202" y="1443"/>
                  </a:lnTo>
                  <a:lnTo>
                    <a:pt x="802" y="1443"/>
                  </a:lnTo>
                  <a:lnTo>
                    <a:pt x="802" y="962"/>
                  </a:lnTo>
                  <a:lnTo>
                    <a:pt x="1443" y="9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" name="Rectangle 213">
              <a:extLst>
                <a:ext uri="{FF2B5EF4-FFF2-40B4-BE49-F238E27FC236}">
                  <a16:creationId xmlns:a16="http://schemas.microsoft.com/office/drawing/2014/main" id="{C706C4B8-7457-4B15-B810-CF1BEC0824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17075" y="4800600"/>
              <a:ext cx="57150" cy="857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44" name="Group 443">
            <a:extLst>
              <a:ext uri="{FF2B5EF4-FFF2-40B4-BE49-F238E27FC236}">
                <a16:creationId xmlns:a16="http://schemas.microsoft.com/office/drawing/2014/main" id="{0D0F6E1C-F694-489F-9D70-FF8F28686EE0}"/>
              </a:ext>
            </a:extLst>
          </p:cNvPr>
          <p:cNvGrpSpPr/>
          <p:nvPr/>
        </p:nvGrpSpPr>
        <p:grpSpPr>
          <a:xfrm>
            <a:off x="1176338" y="3459163"/>
            <a:ext cx="569912" cy="541338"/>
            <a:chOff x="1176338" y="3459163"/>
            <a:chExt cx="569912" cy="541338"/>
          </a:xfrm>
          <a:solidFill>
            <a:schemeClr val="accent1"/>
          </a:solidFill>
        </p:grpSpPr>
        <p:sp>
          <p:nvSpPr>
            <p:cNvPr id="15" name="Freeform 214">
              <a:extLst>
                <a:ext uri="{FF2B5EF4-FFF2-40B4-BE49-F238E27FC236}">
                  <a16:creationId xmlns:a16="http://schemas.microsoft.com/office/drawing/2014/main" id="{A28C9C6F-AFDE-4BDD-BF0A-D38F81148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450" y="3603625"/>
              <a:ext cx="261938" cy="277813"/>
            </a:xfrm>
            <a:custGeom>
              <a:avLst/>
              <a:gdLst>
                <a:gd name="T0" fmla="*/ 655 w 728"/>
                <a:gd name="T1" fmla="*/ 605 h 772"/>
                <a:gd name="T2" fmla="*/ 502 w 728"/>
                <a:gd name="T3" fmla="*/ 530 h 772"/>
                <a:gd name="T4" fmla="*/ 408 w 728"/>
                <a:gd name="T5" fmla="*/ 561 h 772"/>
                <a:gd name="T6" fmla="*/ 247 w 728"/>
                <a:gd name="T7" fmla="*/ 401 h 772"/>
                <a:gd name="T8" fmla="*/ 408 w 728"/>
                <a:gd name="T9" fmla="*/ 240 h 772"/>
                <a:gd name="T10" fmla="*/ 560 w 728"/>
                <a:gd name="T11" fmla="*/ 351 h 772"/>
                <a:gd name="T12" fmla="*/ 728 w 728"/>
                <a:gd name="T13" fmla="*/ 380 h 772"/>
                <a:gd name="T14" fmla="*/ 488 w 728"/>
                <a:gd name="T15" fmla="*/ 90 h 772"/>
                <a:gd name="T16" fmla="*/ 488 w 728"/>
                <a:gd name="T17" fmla="*/ 0 h 772"/>
                <a:gd name="T18" fmla="*/ 328 w 728"/>
                <a:gd name="T19" fmla="*/ 0 h 772"/>
                <a:gd name="T20" fmla="*/ 328 w 728"/>
                <a:gd name="T21" fmla="*/ 90 h 772"/>
                <a:gd name="T22" fmla="*/ 137 w 728"/>
                <a:gd name="T23" fmla="*/ 229 h 772"/>
                <a:gd name="T24" fmla="*/ 50 w 728"/>
                <a:gd name="T25" fmla="*/ 200 h 772"/>
                <a:gd name="T26" fmla="*/ 0 w 728"/>
                <a:gd name="T27" fmla="*/ 353 h 772"/>
                <a:gd name="T28" fmla="*/ 88 w 728"/>
                <a:gd name="T29" fmla="*/ 381 h 772"/>
                <a:gd name="T30" fmla="*/ 87 w 728"/>
                <a:gd name="T31" fmla="*/ 401 h 772"/>
                <a:gd name="T32" fmla="*/ 160 w 728"/>
                <a:gd name="T33" fmla="*/ 604 h 772"/>
                <a:gd name="T34" fmla="*/ 106 w 728"/>
                <a:gd name="T35" fmla="*/ 678 h 772"/>
                <a:gd name="T36" fmla="*/ 236 w 728"/>
                <a:gd name="T37" fmla="*/ 772 h 772"/>
                <a:gd name="T38" fmla="*/ 290 w 728"/>
                <a:gd name="T39" fmla="*/ 699 h 772"/>
                <a:gd name="T40" fmla="*/ 408 w 728"/>
                <a:gd name="T41" fmla="*/ 721 h 772"/>
                <a:gd name="T42" fmla="*/ 656 w 728"/>
                <a:gd name="T43" fmla="*/ 604 h 772"/>
                <a:gd name="T44" fmla="*/ 655 w 728"/>
                <a:gd name="T45" fmla="*/ 605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28" h="772">
                  <a:moveTo>
                    <a:pt x="655" y="605"/>
                  </a:moveTo>
                  <a:lnTo>
                    <a:pt x="502" y="530"/>
                  </a:lnTo>
                  <a:cubicBezTo>
                    <a:pt x="476" y="549"/>
                    <a:pt x="443" y="561"/>
                    <a:pt x="408" y="561"/>
                  </a:cubicBezTo>
                  <a:cubicBezTo>
                    <a:pt x="319" y="561"/>
                    <a:pt x="247" y="489"/>
                    <a:pt x="247" y="401"/>
                  </a:cubicBezTo>
                  <a:cubicBezTo>
                    <a:pt x="247" y="312"/>
                    <a:pt x="319" y="240"/>
                    <a:pt x="408" y="240"/>
                  </a:cubicBezTo>
                  <a:cubicBezTo>
                    <a:pt x="479" y="240"/>
                    <a:pt x="539" y="287"/>
                    <a:pt x="560" y="351"/>
                  </a:cubicBezTo>
                  <a:lnTo>
                    <a:pt x="728" y="380"/>
                  </a:lnTo>
                  <a:cubicBezTo>
                    <a:pt x="719" y="240"/>
                    <a:pt x="620" y="124"/>
                    <a:pt x="488" y="90"/>
                  </a:cubicBezTo>
                  <a:lnTo>
                    <a:pt x="488" y="0"/>
                  </a:lnTo>
                  <a:lnTo>
                    <a:pt x="328" y="0"/>
                  </a:lnTo>
                  <a:lnTo>
                    <a:pt x="328" y="90"/>
                  </a:lnTo>
                  <a:cubicBezTo>
                    <a:pt x="248" y="110"/>
                    <a:pt x="180" y="161"/>
                    <a:pt x="137" y="229"/>
                  </a:cubicBezTo>
                  <a:lnTo>
                    <a:pt x="50" y="200"/>
                  </a:lnTo>
                  <a:lnTo>
                    <a:pt x="0" y="353"/>
                  </a:lnTo>
                  <a:lnTo>
                    <a:pt x="88" y="381"/>
                  </a:lnTo>
                  <a:cubicBezTo>
                    <a:pt x="87" y="388"/>
                    <a:pt x="87" y="394"/>
                    <a:pt x="87" y="401"/>
                  </a:cubicBezTo>
                  <a:cubicBezTo>
                    <a:pt x="87" y="478"/>
                    <a:pt x="114" y="549"/>
                    <a:pt x="160" y="604"/>
                  </a:cubicBezTo>
                  <a:lnTo>
                    <a:pt x="106" y="678"/>
                  </a:lnTo>
                  <a:lnTo>
                    <a:pt x="236" y="772"/>
                  </a:lnTo>
                  <a:lnTo>
                    <a:pt x="290" y="699"/>
                  </a:lnTo>
                  <a:cubicBezTo>
                    <a:pt x="326" y="713"/>
                    <a:pt x="366" y="721"/>
                    <a:pt x="408" y="721"/>
                  </a:cubicBezTo>
                  <a:cubicBezTo>
                    <a:pt x="508" y="721"/>
                    <a:pt x="597" y="675"/>
                    <a:pt x="656" y="604"/>
                  </a:cubicBezTo>
                  <a:lnTo>
                    <a:pt x="655" y="6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" name="Oval 215">
              <a:extLst>
                <a:ext uri="{FF2B5EF4-FFF2-40B4-BE49-F238E27FC236}">
                  <a16:creationId xmlns:a16="http://schemas.microsoft.com/office/drawing/2014/main" id="{ABF46D03-ABBA-46AD-878F-FEE56F22EB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3350" y="3459163"/>
              <a:ext cx="115888" cy="1143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7" name="Freeform 216">
              <a:extLst>
                <a:ext uri="{FF2B5EF4-FFF2-40B4-BE49-F238E27FC236}">
                  <a16:creationId xmlns:a16="http://schemas.microsoft.com/office/drawing/2014/main" id="{DB13C81E-E18C-4CB1-96C0-E1D31CE05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338" y="3611563"/>
              <a:ext cx="128588" cy="128588"/>
            </a:xfrm>
            <a:custGeom>
              <a:avLst/>
              <a:gdLst>
                <a:gd name="T0" fmla="*/ 229 w 359"/>
                <a:gd name="T1" fmla="*/ 28 h 360"/>
                <a:gd name="T2" fmla="*/ 27 w 359"/>
                <a:gd name="T3" fmla="*/ 131 h 360"/>
                <a:gd name="T4" fmla="*/ 130 w 359"/>
                <a:gd name="T5" fmla="*/ 333 h 360"/>
                <a:gd name="T6" fmla="*/ 332 w 359"/>
                <a:gd name="T7" fmla="*/ 230 h 360"/>
                <a:gd name="T8" fmla="*/ 229 w 359"/>
                <a:gd name="T9" fmla="*/ 28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" h="360">
                  <a:moveTo>
                    <a:pt x="229" y="28"/>
                  </a:moveTo>
                  <a:cubicBezTo>
                    <a:pt x="145" y="0"/>
                    <a:pt x="54" y="47"/>
                    <a:pt x="27" y="131"/>
                  </a:cubicBezTo>
                  <a:cubicBezTo>
                    <a:pt x="0" y="215"/>
                    <a:pt x="46" y="305"/>
                    <a:pt x="130" y="333"/>
                  </a:cubicBezTo>
                  <a:cubicBezTo>
                    <a:pt x="214" y="360"/>
                    <a:pt x="305" y="314"/>
                    <a:pt x="332" y="230"/>
                  </a:cubicBezTo>
                  <a:cubicBezTo>
                    <a:pt x="359" y="146"/>
                    <a:pt x="313" y="55"/>
                    <a:pt x="22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8" name="Freeform 217">
              <a:extLst>
                <a:ext uri="{FF2B5EF4-FFF2-40B4-BE49-F238E27FC236}">
                  <a16:creationId xmlns:a16="http://schemas.microsoft.com/office/drawing/2014/main" id="{BAC4BBC2-9689-46B1-9C73-949710221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8888" y="3868738"/>
              <a:ext cx="131763" cy="131763"/>
            </a:xfrm>
            <a:custGeom>
              <a:avLst/>
              <a:gdLst>
                <a:gd name="T0" fmla="*/ 52 w 364"/>
                <a:gd name="T1" fmla="*/ 88 h 364"/>
                <a:gd name="T2" fmla="*/ 87 w 364"/>
                <a:gd name="T3" fmla="*/ 312 h 364"/>
                <a:gd name="T4" fmla="*/ 311 w 364"/>
                <a:gd name="T5" fmla="*/ 276 h 364"/>
                <a:gd name="T6" fmla="*/ 276 w 364"/>
                <a:gd name="T7" fmla="*/ 52 h 364"/>
                <a:gd name="T8" fmla="*/ 52 w 364"/>
                <a:gd name="T9" fmla="*/ 88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4" h="364">
                  <a:moveTo>
                    <a:pt x="52" y="88"/>
                  </a:moveTo>
                  <a:cubicBezTo>
                    <a:pt x="0" y="159"/>
                    <a:pt x="16" y="260"/>
                    <a:pt x="87" y="312"/>
                  </a:cubicBezTo>
                  <a:cubicBezTo>
                    <a:pt x="159" y="364"/>
                    <a:pt x="259" y="348"/>
                    <a:pt x="311" y="276"/>
                  </a:cubicBezTo>
                  <a:cubicBezTo>
                    <a:pt x="364" y="204"/>
                    <a:pt x="348" y="104"/>
                    <a:pt x="276" y="52"/>
                  </a:cubicBezTo>
                  <a:cubicBezTo>
                    <a:pt x="204" y="0"/>
                    <a:pt x="104" y="16"/>
                    <a:pt x="52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" name="Freeform 218">
              <a:extLst>
                <a:ext uri="{FF2B5EF4-FFF2-40B4-BE49-F238E27FC236}">
                  <a16:creationId xmlns:a16="http://schemas.microsoft.com/office/drawing/2014/main" id="{E285B3E5-32ED-4878-B1A5-A6808FD07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6075" y="3611563"/>
              <a:ext cx="130175" cy="128588"/>
            </a:xfrm>
            <a:custGeom>
              <a:avLst/>
              <a:gdLst>
                <a:gd name="T0" fmla="*/ 229 w 360"/>
                <a:gd name="T1" fmla="*/ 332 h 360"/>
                <a:gd name="T2" fmla="*/ 332 w 360"/>
                <a:gd name="T3" fmla="*/ 130 h 360"/>
                <a:gd name="T4" fmla="*/ 130 w 360"/>
                <a:gd name="T5" fmla="*/ 27 h 360"/>
                <a:gd name="T6" fmla="*/ 27 w 360"/>
                <a:gd name="T7" fmla="*/ 229 h 360"/>
                <a:gd name="T8" fmla="*/ 229 w 360"/>
                <a:gd name="T9" fmla="*/ 332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0" h="360">
                  <a:moveTo>
                    <a:pt x="229" y="332"/>
                  </a:moveTo>
                  <a:cubicBezTo>
                    <a:pt x="313" y="305"/>
                    <a:pt x="360" y="214"/>
                    <a:pt x="332" y="130"/>
                  </a:cubicBezTo>
                  <a:cubicBezTo>
                    <a:pt x="305" y="46"/>
                    <a:pt x="214" y="0"/>
                    <a:pt x="130" y="27"/>
                  </a:cubicBezTo>
                  <a:cubicBezTo>
                    <a:pt x="46" y="55"/>
                    <a:pt x="0" y="145"/>
                    <a:pt x="27" y="229"/>
                  </a:cubicBezTo>
                  <a:cubicBezTo>
                    <a:pt x="55" y="314"/>
                    <a:pt x="145" y="360"/>
                    <a:pt x="229" y="3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" name="Freeform 219">
              <a:extLst>
                <a:ext uri="{FF2B5EF4-FFF2-40B4-BE49-F238E27FC236}">
                  <a16:creationId xmlns:a16="http://schemas.microsoft.com/office/drawing/2014/main" id="{CE07EE4C-091C-430D-B8B6-A8F1F607F7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1938" y="3868738"/>
              <a:ext cx="130175" cy="131763"/>
            </a:xfrm>
            <a:custGeom>
              <a:avLst/>
              <a:gdLst>
                <a:gd name="T0" fmla="*/ 52 w 363"/>
                <a:gd name="T1" fmla="*/ 276 h 364"/>
                <a:gd name="T2" fmla="*/ 276 w 363"/>
                <a:gd name="T3" fmla="*/ 312 h 364"/>
                <a:gd name="T4" fmla="*/ 311 w 363"/>
                <a:gd name="T5" fmla="*/ 88 h 364"/>
                <a:gd name="T6" fmla="*/ 87 w 363"/>
                <a:gd name="T7" fmla="*/ 52 h 364"/>
                <a:gd name="T8" fmla="*/ 52 w 363"/>
                <a:gd name="T9" fmla="*/ 276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364">
                  <a:moveTo>
                    <a:pt x="52" y="276"/>
                  </a:moveTo>
                  <a:cubicBezTo>
                    <a:pt x="104" y="348"/>
                    <a:pt x="204" y="364"/>
                    <a:pt x="276" y="312"/>
                  </a:cubicBezTo>
                  <a:cubicBezTo>
                    <a:pt x="347" y="259"/>
                    <a:pt x="363" y="159"/>
                    <a:pt x="311" y="88"/>
                  </a:cubicBezTo>
                  <a:cubicBezTo>
                    <a:pt x="259" y="16"/>
                    <a:pt x="159" y="0"/>
                    <a:pt x="87" y="52"/>
                  </a:cubicBezTo>
                  <a:cubicBezTo>
                    <a:pt x="16" y="104"/>
                    <a:pt x="0" y="204"/>
                    <a:pt x="52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1" name="Freeform 220">
              <a:extLst>
                <a:ext uri="{FF2B5EF4-FFF2-40B4-BE49-F238E27FC236}">
                  <a16:creationId xmlns:a16="http://schemas.microsoft.com/office/drawing/2014/main" id="{374E7968-9670-47B0-A4E1-9C1E1CEF7D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2088" y="3635375"/>
              <a:ext cx="114300" cy="104775"/>
            </a:xfrm>
            <a:custGeom>
              <a:avLst/>
              <a:gdLst>
                <a:gd name="T0" fmla="*/ 80 w 320"/>
                <a:gd name="T1" fmla="*/ 0 h 290"/>
                <a:gd name="T2" fmla="*/ 320 w 320"/>
                <a:gd name="T3" fmla="*/ 290 h 290"/>
                <a:gd name="T4" fmla="*/ 153 w 320"/>
                <a:gd name="T5" fmla="*/ 261 h 290"/>
                <a:gd name="T6" fmla="*/ 0 w 320"/>
                <a:gd name="T7" fmla="*/ 150 h 290"/>
                <a:gd name="T8" fmla="*/ 80 w 320"/>
                <a:gd name="T9" fmla="*/ 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" h="290">
                  <a:moveTo>
                    <a:pt x="80" y="0"/>
                  </a:moveTo>
                  <a:cubicBezTo>
                    <a:pt x="212" y="34"/>
                    <a:pt x="311" y="150"/>
                    <a:pt x="320" y="290"/>
                  </a:cubicBezTo>
                  <a:lnTo>
                    <a:pt x="153" y="261"/>
                  </a:lnTo>
                  <a:cubicBezTo>
                    <a:pt x="132" y="197"/>
                    <a:pt x="71" y="150"/>
                    <a:pt x="0" y="150"/>
                  </a:cubicBez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2" name="Freeform 221">
              <a:extLst>
                <a:ext uri="{FF2B5EF4-FFF2-40B4-BE49-F238E27FC236}">
                  <a16:creationId xmlns:a16="http://schemas.microsoft.com/office/drawing/2014/main" id="{4A469B5B-67C1-413A-AF21-825ED582F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9225" y="3794125"/>
              <a:ext cx="131763" cy="68263"/>
            </a:xfrm>
            <a:custGeom>
              <a:avLst/>
              <a:gdLst>
                <a:gd name="T0" fmla="*/ 0 w 366"/>
                <a:gd name="T1" fmla="*/ 169 h 191"/>
                <a:gd name="T2" fmla="*/ 118 w 366"/>
                <a:gd name="T3" fmla="*/ 191 h 191"/>
                <a:gd name="T4" fmla="*/ 366 w 366"/>
                <a:gd name="T5" fmla="*/ 74 h 191"/>
                <a:gd name="T6" fmla="*/ 365 w 366"/>
                <a:gd name="T7" fmla="*/ 75 h 191"/>
                <a:gd name="T8" fmla="*/ 212 w 366"/>
                <a:gd name="T9" fmla="*/ 0 h 191"/>
                <a:gd name="T10" fmla="*/ 118 w 366"/>
                <a:gd name="T11" fmla="*/ 31 h 191"/>
                <a:gd name="T12" fmla="*/ 0 w 366"/>
                <a:gd name="T13" fmla="*/ 16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6" h="191">
                  <a:moveTo>
                    <a:pt x="0" y="169"/>
                  </a:moveTo>
                  <a:cubicBezTo>
                    <a:pt x="36" y="183"/>
                    <a:pt x="76" y="191"/>
                    <a:pt x="118" y="191"/>
                  </a:cubicBezTo>
                  <a:cubicBezTo>
                    <a:pt x="218" y="191"/>
                    <a:pt x="307" y="145"/>
                    <a:pt x="366" y="74"/>
                  </a:cubicBezTo>
                  <a:lnTo>
                    <a:pt x="365" y="75"/>
                  </a:lnTo>
                  <a:lnTo>
                    <a:pt x="212" y="0"/>
                  </a:lnTo>
                  <a:cubicBezTo>
                    <a:pt x="186" y="19"/>
                    <a:pt x="153" y="31"/>
                    <a:pt x="118" y="31"/>
                  </a:cubicBezTo>
                  <a:lnTo>
                    <a:pt x="0" y="1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3" name="Freeform 222">
              <a:extLst>
                <a:ext uri="{FF2B5EF4-FFF2-40B4-BE49-F238E27FC236}">
                  <a16:creationId xmlns:a16="http://schemas.microsoft.com/office/drawing/2014/main" id="{D9768108-6A83-4A24-812A-E003E41F2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0188" y="3675063"/>
              <a:ext cx="107950" cy="65088"/>
            </a:xfrm>
            <a:custGeom>
              <a:avLst/>
              <a:gdLst>
                <a:gd name="T0" fmla="*/ 45 w 299"/>
                <a:gd name="T1" fmla="*/ 151 h 180"/>
                <a:gd name="T2" fmla="*/ 213 w 299"/>
                <a:gd name="T3" fmla="*/ 180 h 180"/>
                <a:gd name="T4" fmla="*/ 213 w 299"/>
                <a:gd name="T5" fmla="*/ 180 h 180"/>
                <a:gd name="T6" fmla="*/ 299 w 299"/>
                <a:gd name="T7" fmla="*/ 152 h 180"/>
                <a:gd name="T8" fmla="*/ 249 w 299"/>
                <a:gd name="T9" fmla="*/ 0 h 180"/>
                <a:gd name="T10" fmla="*/ 0 w 299"/>
                <a:gd name="T11" fmla="*/ 81 h 180"/>
                <a:gd name="T12" fmla="*/ 45 w 299"/>
                <a:gd name="T13" fmla="*/ 151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9" h="180">
                  <a:moveTo>
                    <a:pt x="45" y="151"/>
                  </a:moveTo>
                  <a:lnTo>
                    <a:pt x="213" y="180"/>
                  </a:lnTo>
                  <a:lnTo>
                    <a:pt x="213" y="180"/>
                  </a:lnTo>
                  <a:lnTo>
                    <a:pt x="299" y="152"/>
                  </a:lnTo>
                  <a:lnTo>
                    <a:pt x="249" y="0"/>
                  </a:lnTo>
                  <a:lnTo>
                    <a:pt x="0" y="81"/>
                  </a:lnTo>
                  <a:cubicBezTo>
                    <a:pt x="20" y="100"/>
                    <a:pt x="36" y="124"/>
                    <a:pt x="45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4" name="Freeform 223">
              <a:extLst>
                <a:ext uri="{FF2B5EF4-FFF2-40B4-BE49-F238E27FC236}">
                  <a16:creationId xmlns:a16="http://schemas.microsoft.com/office/drawing/2014/main" id="{7981631E-02ED-498E-9409-4EE5BD3FD2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6850" y="3794125"/>
              <a:ext cx="103188" cy="87313"/>
            </a:xfrm>
            <a:custGeom>
              <a:avLst/>
              <a:gdLst>
                <a:gd name="T0" fmla="*/ 231 w 284"/>
                <a:gd name="T1" fmla="*/ 75 h 242"/>
                <a:gd name="T2" fmla="*/ 78 w 284"/>
                <a:gd name="T3" fmla="*/ 0 h 242"/>
                <a:gd name="T4" fmla="*/ 0 w 284"/>
                <a:gd name="T5" fmla="*/ 30 h 242"/>
                <a:gd name="T6" fmla="*/ 154 w 284"/>
                <a:gd name="T7" fmla="*/ 242 h 242"/>
                <a:gd name="T8" fmla="*/ 284 w 284"/>
                <a:gd name="T9" fmla="*/ 148 h 242"/>
                <a:gd name="T10" fmla="*/ 231 w 284"/>
                <a:gd name="T11" fmla="*/ 75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4" h="242">
                  <a:moveTo>
                    <a:pt x="231" y="75"/>
                  </a:moveTo>
                  <a:lnTo>
                    <a:pt x="78" y="0"/>
                  </a:lnTo>
                  <a:cubicBezTo>
                    <a:pt x="56" y="16"/>
                    <a:pt x="29" y="27"/>
                    <a:pt x="0" y="30"/>
                  </a:cubicBezTo>
                  <a:lnTo>
                    <a:pt x="154" y="242"/>
                  </a:lnTo>
                  <a:lnTo>
                    <a:pt x="284" y="148"/>
                  </a:lnTo>
                  <a:lnTo>
                    <a:pt x="231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2" name="Group 431">
            <a:extLst>
              <a:ext uri="{FF2B5EF4-FFF2-40B4-BE49-F238E27FC236}">
                <a16:creationId xmlns:a16="http://schemas.microsoft.com/office/drawing/2014/main" id="{5FFAF67B-1D90-4DC4-B230-8C7BADED271E}"/>
              </a:ext>
            </a:extLst>
          </p:cNvPr>
          <p:cNvGrpSpPr/>
          <p:nvPr/>
        </p:nvGrpSpPr>
        <p:grpSpPr>
          <a:xfrm>
            <a:off x="4227513" y="5470525"/>
            <a:ext cx="577850" cy="577850"/>
            <a:chOff x="4227513" y="5470525"/>
            <a:chExt cx="577850" cy="577850"/>
          </a:xfrm>
          <a:solidFill>
            <a:schemeClr val="accent1"/>
          </a:solidFill>
        </p:grpSpPr>
        <p:sp>
          <p:nvSpPr>
            <p:cNvPr id="25" name="Freeform 224">
              <a:extLst>
                <a:ext uri="{FF2B5EF4-FFF2-40B4-BE49-F238E27FC236}">
                  <a16:creationId xmlns:a16="http://schemas.microsoft.com/office/drawing/2014/main" id="{11843B99-A034-437E-8670-E787682A3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0550" y="5614988"/>
              <a:ext cx="231775" cy="288925"/>
            </a:xfrm>
            <a:custGeom>
              <a:avLst/>
              <a:gdLst>
                <a:gd name="T0" fmla="*/ 641 w 641"/>
                <a:gd name="T1" fmla="*/ 241 h 802"/>
                <a:gd name="T2" fmla="*/ 641 w 641"/>
                <a:gd name="T3" fmla="*/ 80 h 802"/>
                <a:gd name="T4" fmla="*/ 401 w 641"/>
                <a:gd name="T5" fmla="*/ 80 h 802"/>
                <a:gd name="T6" fmla="*/ 401 w 641"/>
                <a:gd name="T7" fmla="*/ 0 h 802"/>
                <a:gd name="T8" fmla="*/ 241 w 641"/>
                <a:gd name="T9" fmla="*/ 0 h 802"/>
                <a:gd name="T10" fmla="*/ 241 w 641"/>
                <a:gd name="T11" fmla="*/ 80 h 802"/>
                <a:gd name="T12" fmla="*/ 0 w 641"/>
                <a:gd name="T13" fmla="*/ 80 h 802"/>
                <a:gd name="T14" fmla="*/ 0 w 641"/>
                <a:gd name="T15" fmla="*/ 481 h 802"/>
                <a:gd name="T16" fmla="*/ 481 w 641"/>
                <a:gd name="T17" fmla="*/ 481 h 802"/>
                <a:gd name="T18" fmla="*/ 481 w 641"/>
                <a:gd name="T19" fmla="*/ 561 h 802"/>
                <a:gd name="T20" fmla="*/ 0 w 641"/>
                <a:gd name="T21" fmla="*/ 561 h 802"/>
                <a:gd name="T22" fmla="*/ 0 w 641"/>
                <a:gd name="T23" fmla="*/ 722 h 802"/>
                <a:gd name="T24" fmla="*/ 241 w 641"/>
                <a:gd name="T25" fmla="*/ 722 h 802"/>
                <a:gd name="T26" fmla="*/ 241 w 641"/>
                <a:gd name="T27" fmla="*/ 802 h 802"/>
                <a:gd name="T28" fmla="*/ 401 w 641"/>
                <a:gd name="T29" fmla="*/ 802 h 802"/>
                <a:gd name="T30" fmla="*/ 401 w 641"/>
                <a:gd name="T31" fmla="*/ 722 h 802"/>
                <a:gd name="T32" fmla="*/ 641 w 641"/>
                <a:gd name="T33" fmla="*/ 722 h 802"/>
                <a:gd name="T34" fmla="*/ 641 w 641"/>
                <a:gd name="T35" fmla="*/ 321 h 802"/>
                <a:gd name="T36" fmla="*/ 160 w 641"/>
                <a:gd name="T37" fmla="*/ 321 h 802"/>
                <a:gd name="T38" fmla="*/ 160 w 641"/>
                <a:gd name="T39" fmla="*/ 241 h 802"/>
                <a:gd name="T40" fmla="*/ 641 w 641"/>
                <a:gd name="T41" fmla="*/ 241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1" h="802">
                  <a:moveTo>
                    <a:pt x="641" y="241"/>
                  </a:moveTo>
                  <a:lnTo>
                    <a:pt x="641" y="80"/>
                  </a:lnTo>
                  <a:lnTo>
                    <a:pt x="401" y="80"/>
                  </a:lnTo>
                  <a:lnTo>
                    <a:pt x="401" y="0"/>
                  </a:lnTo>
                  <a:lnTo>
                    <a:pt x="241" y="0"/>
                  </a:lnTo>
                  <a:lnTo>
                    <a:pt x="241" y="80"/>
                  </a:lnTo>
                  <a:lnTo>
                    <a:pt x="0" y="80"/>
                  </a:lnTo>
                  <a:lnTo>
                    <a:pt x="0" y="481"/>
                  </a:lnTo>
                  <a:lnTo>
                    <a:pt x="481" y="481"/>
                  </a:lnTo>
                  <a:lnTo>
                    <a:pt x="481" y="561"/>
                  </a:lnTo>
                  <a:lnTo>
                    <a:pt x="0" y="561"/>
                  </a:lnTo>
                  <a:lnTo>
                    <a:pt x="0" y="722"/>
                  </a:lnTo>
                  <a:lnTo>
                    <a:pt x="241" y="722"/>
                  </a:lnTo>
                  <a:lnTo>
                    <a:pt x="241" y="802"/>
                  </a:lnTo>
                  <a:lnTo>
                    <a:pt x="401" y="802"/>
                  </a:lnTo>
                  <a:lnTo>
                    <a:pt x="401" y="722"/>
                  </a:lnTo>
                  <a:lnTo>
                    <a:pt x="641" y="722"/>
                  </a:lnTo>
                  <a:lnTo>
                    <a:pt x="641" y="321"/>
                  </a:lnTo>
                  <a:lnTo>
                    <a:pt x="160" y="321"/>
                  </a:lnTo>
                  <a:lnTo>
                    <a:pt x="160" y="241"/>
                  </a:lnTo>
                  <a:lnTo>
                    <a:pt x="641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6" name="Freeform 225">
              <a:extLst>
                <a:ext uri="{FF2B5EF4-FFF2-40B4-BE49-F238E27FC236}">
                  <a16:creationId xmlns:a16="http://schemas.microsoft.com/office/drawing/2014/main" id="{6DED276B-7536-476A-A4DC-0A4119591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7513" y="5470525"/>
              <a:ext cx="577850" cy="577850"/>
            </a:xfrm>
            <a:custGeom>
              <a:avLst/>
              <a:gdLst>
                <a:gd name="T0" fmla="*/ 1283 w 1604"/>
                <a:gd name="T1" fmla="*/ 1123 h 1604"/>
                <a:gd name="T2" fmla="*/ 1283 w 1604"/>
                <a:gd name="T3" fmla="*/ 321 h 1604"/>
                <a:gd name="T4" fmla="*/ 321 w 1604"/>
                <a:gd name="T5" fmla="*/ 321 h 1604"/>
                <a:gd name="T6" fmla="*/ 321 w 1604"/>
                <a:gd name="T7" fmla="*/ 1283 h 1604"/>
                <a:gd name="T8" fmla="*/ 1443 w 1604"/>
                <a:gd name="T9" fmla="*/ 1283 h 1604"/>
                <a:gd name="T10" fmla="*/ 1283 w 1604"/>
                <a:gd name="T11" fmla="*/ 1443 h 1604"/>
                <a:gd name="T12" fmla="*/ 1123 w 1604"/>
                <a:gd name="T13" fmla="*/ 1443 h 1604"/>
                <a:gd name="T14" fmla="*/ 1123 w 1604"/>
                <a:gd name="T15" fmla="*/ 1604 h 1604"/>
                <a:gd name="T16" fmla="*/ 962 w 1604"/>
                <a:gd name="T17" fmla="*/ 1604 h 1604"/>
                <a:gd name="T18" fmla="*/ 962 w 1604"/>
                <a:gd name="T19" fmla="*/ 1443 h 1604"/>
                <a:gd name="T20" fmla="*/ 882 w 1604"/>
                <a:gd name="T21" fmla="*/ 1443 h 1604"/>
                <a:gd name="T22" fmla="*/ 882 w 1604"/>
                <a:gd name="T23" fmla="*/ 1604 h 1604"/>
                <a:gd name="T24" fmla="*/ 722 w 1604"/>
                <a:gd name="T25" fmla="*/ 1604 h 1604"/>
                <a:gd name="T26" fmla="*/ 722 w 1604"/>
                <a:gd name="T27" fmla="*/ 1443 h 1604"/>
                <a:gd name="T28" fmla="*/ 641 w 1604"/>
                <a:gd name="T29" fmla="*/ 1443 h 1604"/>
                <a:gd name="T30" fmla="*/ 641 w 1604"/>
                <a:gd name="T31" fmla="*/ 1604 h 1604"/>
                <a:gd name="T32" fmla="*/ 481 w 1604"/>
                <a:gd name="T33" fmla="*/ 1604 h 1604"/>
                <a:gd name="T34" fmla="*/ 481 w 1604"/>
                <a:gd name="T35" fmla="*/ 1443 h 1604"/>
                <a:gd name="T36" fmla="*/ 321 w 1604"/>
                <a:gd name="T37" fmla="*/ 1443 h 1604"/>
                <a:gd name="T38" fmla="*/ 160 w 1604"/>
                <a:gd name="T39" fmla="*/ 1283 h 1604"/>
                <a:gd name="T40" fmla="*/ 160 w 1604"/>
                <a:gd name="T41" fmla="*/ 1123 h 1604"/>
                <a:gd name="T42" fmla="*/ 0 w 1604"/>
                <a:gd name="T43" fmla="*/ 1123 h 1604"/>
                <a:gd name="T44" fmla="*/ 0 w 1604"/>
                <a:gd name="T45" fmla="*/ 962 h 1604"/>
                <a:gd name="T46" fmla="*/ 160 w 1604"/>
                <a:gd name="T47" fmla="*/ 962 h 1604"/>
                <a:gd name="T48" fmla="*/ 160 w 1604"/>
                <a:gd name="T49" fmla="*/ 882 h 1604"/>
                <a:gd name="T50" fmla="*/ 0 w 1604"/>
                <a:gd name="T51" fmla="*/ 882 h 1604"/>
                <a:gd name="T52" fmla="*/ 0 w 1604"/>
                <a:gd name="T53" fmla="*/ 722 h 1604"/>
                <a:gd name="T54" fmla="*/ 160 w 1604"/>
                <a:gd name="T55" fmla="*/ 722 h 1604"/>
                <a:gd name="T56" fmla="*/ 160 w 1604"/>
                <a:gd name="T57" fmla="*/ 642 h 1604"/>
                <a:gd name="T58" fmla="*/ 0 w 1604"/>
                <a:gd name="T59" fmla="*/ 642 h 1604"/>
                <a:gd name="T60" fmla="*/ 0 w 1604"/>
                <a:gd name="T61" fmla="*/ 481 h 1604"/>
                <a:gd name="T62" fmla="*/ 160 w 1604"/>
                <a:gd name="T63" fmla="*/ 481 h 1604"/>
                <a:gd name="T64" fmla="*/ 160 w 1604"/>
                <a:gd name="T65" fmla="*/ 321 h 1604"/>
                <a:gd name="T66" fmla="*/ 321 w 1604"/>
                <a:gd name="T67" fmla="*/ 161 h 1604"/>
                <a:gd name="T68" fmla="*/ 481 w 1604"/>
                <a:gd name="T69" fmla="*/ 161 h 1604"/>
                <a:gd name="T70" fmla="*/ 481 w 1604"/>
                <a:gd name="T71" fmla="*/ 0 h 1604"/>
                <a:gd name="T72" fmla="*/ 641 w 1604"/>
                <a:gd name="T73" fmla="*/ 0 h 1604"/>
                <a:gd name="T74" fmla="*/ 641 w 1604"/>
                <a:gd name="T75" fmla="*/ 161 h 1604"/>
                <a:gd name="T76" fmla="*/ 722 w 1604"/>
                <a:gd name="T77" fmla="*/ 161 h 1604"/>
                <a:gd name="T78" fmla="*/ 722 w 1604"/>
                <a:gd name="T79" fmla="*/ 0 h 1604"/>
                <a:gd name="T80" fmla="*/ 882 w 1604"/>
                <a:gd name="T81" fmla="*/ 0 h 1604"/>
                <a:gd name="T82" fmla="*/ 882 w 1604"/>
                <a:gd name="T83" fmla="*/ 161 h 1604"/>
                <a:gd name="T84" fmla="*/ 962 w 1604"/>
                <a:gd name="T85" fmla="*/ 161 h 1604"/>
                <a:gd name="T86" fmla="*/ 962 w 1604"/>
                <a:gd name="T87" fmla="*/ 0 h 1604"/>
                <a:gd name="T88" fmla="*/ 1123 w 1604"/>
                <a:gd name="T89" fmla="*/ 0 h 1604"/>
                <a:gd name="T90" fmla="*/ 1123 w 1604"/>
                <a:gd name="T91" fmla="*/ 161 h 1604"/>
                <a:gd name="T92" fmla="*/ 1283 w 1604"/>
                <a:gd name="T93" fmla="*/ 161 h 1604"/>
                <a:gd name="T94" fmla="*/ 1443 w 1604"/>
                <a:gd name="T95" fmla="*/ 321 h 1604"/>
                <a:gd name="T96" fmla="*/ 1443 w 1604"/>
                <a:gd name="T97" fmla="*/ 481 h 1604"/>
                <a:gd name="T98" fmla="*/ 1604 w 1604"/>
                <a:gd name="T99" fmla="*/ 481 h 1604"/>
                <a:gd name="T100" fmla="*/ 1604 w 1604"/>
                <a:gd name="T101" fmla="*/ 642 h 1604"/>
                <a:gd name="T102" fmla="*/ 1443 w 1604"/>
                <a:gd name="T103" fmla="*/ 642 h 1604"/>
                <a:gd name="T104" fmla="*/ 1443 w 1604"/>
                <a:gd name="T105" fmla="*/ 722 h 1604"/>
                <a:gd name="T106" fmla="*/ 1604 w 1604"/>
                <a:gd name="T107" fmla="*/ 722 h 1604"/>
                <a:gd name="T108" fmla="*/ 1604 w 1604"/>
                <a:gd name="T109" fmla="*/ 882 h 1604"/>
                <a:gd name="T110" fmla="*/ 1443 w 1604"/>
                <a:gd name="T111" fmla="*/ 882 h 1604"/>
                <a:gd name="T112" fmla="*/ 1443 w 1604"/>
                <a:gd name="T113" fmla="*/ 962 h 1604"/>
                <a:gd name="T114" fmla="*/ 1604 w 1604"/>
                <a:gd name="T115" fmla="*/ 962 h 1604"/>
                <a:gd name="T116" fmla="*/ 1604 w 1604"/>
                <a:gd name="T117" fmla="*/ 1123 h 1604"/>
                <a:gd name="T118" fmla="*/ 1283 w 1604"/>
                <a:gd name="T119" fmla="*/ 1123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4" h="1604">
                  <a:moveTo>
                    <a:pt x="1283" y="1123"/>
                  </a:moveTo>
                  <a:lnTo>
                    <a:pt x="1283" y="321"/>
                  </a:lnTo>
                  <a:lnTo>
                    <a:pt x="321" y="321"/>
                  </a:lnTo>
                  <a:lnTo>
                    <a:pt x="321" y="1283"/>
                  </a:lnTo>
                  <a:lnTo>
                    <a:pt x="1443" y="1283"/>
                  </a:lnTo>
                  <a:lnTo>
                    <a:pt x="1283" y="1443"/>
                  </a:lnTo>
                  <a:lnTo>
                    <a:pt x="1123" y="1443"/>
                  </a:lnTo>
                  <a:lnTo>
                    <a:pt x="1123" y="1604"/>
                  </a:lnTo>
                  <a:lnTo>
                    <a:pt x="962" y="1604"/>
                  </a:lnTo>
                  <a:lnTo>
                    <a:pt x="962" y="1443"/>
                  </a:lnTo>
                  <a:lnTo>
                    <a:pt x="882" y="1443"/>
                  </a:lnTo>
                  <a:lnTo>
                    <a:pt x="882" y="1604"/>
                  </a:lnTo>
                  <a:lnTo>
                    <a:pt x="722" y="1604"/>
                  </a:lnTo>
                  <a:lnTo>
                    <a:pt x="722" y="1443"/>
                  </a:lnTo>
                  <a:lnTo>
                    <a:pt x="641" y="1443"/>
                  </a:lnTo>
                  <a:lnTo>
                    <a:pt x="641" y="1604"/>
                  </a:lnTo>
                  <a:lnTo>
                    <a:pt x="481" y="1604"/>
                  </a:lnTo>
                  <a:lnTo>
                    <a:pt x="481" y="1443"/>
                  </a:lnTo>
                  <a:lnTo>
                    <a:pt x="321" y="1443"/>
                  </a:lnTo>
                  <a:lnTo>
                    <a:pt x="160" y="1283"/>
                  </a:lnTo>
                  <a:lnTo>
                    <a:pt x="160" y="1123"/>
                  </a:lnTo>
                  <a:lnTo>
                    <a:pt x="0" y="1123"/>
                  </a:lnTo>
                  <a:lnTo>
                    <a:pt x="0" y="962"/>
                  </a:lnTo>
                  <a:lnTo>
                    <a:pt x="160" y="962"/>
                  </a:lnTo>
                  <a:lnTo>
                    <a:pt x="160" y="882"/>
                  </a:lnTo>
                  <a:lnTo>
                    <a:pt x="0" y="882"/>
                  </a:lnTo>
                  <a:lnTo>
                    <a:pt x="0" y="722"/>
                  </a:lnTo>
                  <a:lnTo>
                    <a:pt x="160" y="722"/>
                  </a:lnTo>
                  <a:lnTo>
                    <a:pt x="160" y="642"/>
                  </a:lnTo>
                  <a:lnTo>
                    <a:pt x="0" y="642"/>
                  </a:lnTo>
                  <a:lnTo>
                    <a:pt x="0" y="481"/>
                  </a:lnTo>
                  <a:lnTo>
                    <a:pt x="160" y="481"/>
                  </a:lnTo>
                  <a:lnTo>
                    <a:pt x="160" y="321"/>
                  </a:lnTo>
                  <a:lnTo>
                    <a:pt x="321" y="161"/>
                  </a:lnTo>
                  <a:lnTo>
                    <a:pt x="481" y="161"/>
                  </a:lnTo>
                  <a:lnTo>
                    <a:pt x="481" y="0"/>
                  </a:lnTo>
                  <a:lnTo>
                    <a:pt x="641" y="0"/>
                  </a:lnTo>
                  <a:lnTo>
                    <a:pt x="641" y="161"/>
                  </a:lnTo>
                  <a:lnTo>
                    <a:pt x="722" y="161"/>
                  </a:lnTo>
                  <a:lnTo>
                    <a:pt x="722" y="0"/>
                  </a:lnTo>
                  <a:lnTo>
                    <a:pt x="882" y="0"/>
                  </a:lnTo>
                  <a:lnTo>
                    <a:pt x="882" y="161"/>
                  </a:lnTo>
                  <a:lnTo>
                    <a:pt x="962" y="161"/>
                  </a:lnTo>
                  <a:lnTo>
                    <a:pt x="962" y="0"/>
                  </a:lnTo>
                  <a:lnTo>
                    <a:pt x="1123" y="0"/>
                  </a:lnTo>
                  <a:lnTo>
                    <a:pt x="1123" y="161"/>
                  </a:lnTo>
                  <a:lnTo>
                    <a:pt x="1283" y="161"/>
                  </a:lnTo>
                  <a:lnTo>
                    <a:pt x="1443" y="321"/>
                  </a:lnTo>
                  <a:lnTo>
                    <a:pt x="1443" y="481"/>
                  </a:lnTo>
                  <a:lnTo>
                    <a:pt x="1604" y="481"/>
                  </a:lnTo>
                  <a:lnTo>
                    <a:pt x="1604" y="642"/>
                  </a:lnTo>
                  <a:lnTo>
                    <a:pt x="1443" y="642"/>
                  </a:lnTo>
                  <a:lnTo>
                    <a:pt x="1443" y="722"/>
                  </a:lnTo>
                  <a:lnTo>
                    <a:pt x="1604" y="722"/>
                  </a:lnTo>
                  <a:lnTo>
                    <a:pt x="1604" y="882"/>
                  </a:lnTo>
                  <a:lnTo>
                    <a:pt x="1443" y="882"/>
                  </a:lnTo>
                  <a:lnTo>
                    <a:pt x="1443" y="962"/>
                  </a:lnTo>
                  <a:lnTo>
                    <a:pt x="1604" y="962"/>
                  </a:lnTo>
                  <a:lnTo>
                    <a:pt x="1604" y="1123"/>
                  </a:lnTo>
                  <a:lnTo>
                    <a:pt x="1283" y="1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" name="Rectangle 226">
              <a:extLst>
                <a:ext uri="{FF2B5EF4-FFF2-40B4-BE49-F238E27FC236}">
                  <a16:creationId xmlns:a16="http://schemas.microsoft.com/office/drawing/2014/main" id="{EE2DC111-852F-414B-B20F-F790CACCAB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3400" y="5932488"/>
              <a:ext cx="5715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0" name="Group 419">
            <a:extLst>
              <a:ext uri="{FF2B5EF4-FFF2-40B4-BE49-F238E27FC236}">
                <a16:creationId xmlns:a16="http://schemas.microsoft.com/office/drawing/2014/main" id="{F273915B-1EBF-42F6-9095-AF1F32684B50}"/>
              </a:ext>
            </a:extLst>
          </p:cNvPr>
          <p:cNvGrpSpPr/>
          <p:nvPr/>
        </p:nvGrpSpPr>
        <p:grpSpPr>
          <a:xfrm>
            <a:off x="7294563" y="3460750"/>
            <a:ext cx="530225" cy="511176"/>
            <a:chOff x="7294563" y="3460750"/>
            <a:chExt cx="530225" cy="511176"/>
          </a:xfrm>
          <a:solidFill>
            <a:schemeClr val="accent1"/>
          </a:solidFill>
        </p:grpSpPr>
        <p:sp>
          <p:nvSpPr>
            <p:cNvPr id="28" name="Freeform 227">
              <a:extLst>
                <a:ext uri="{FF2B5EF4-FFF2-40B4-BE49-F238E27FC236}">
                  <a16:creationId xmlns:a16="http://schemas.microsoft.com/office/drawing/2014/main" id="{98EF29A7-5B06-49C4-958A-D726268D91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0125" y="3460750"/>
              <a:ext cx="474663" cy="476250"/>
            </a:xfrm>
            <a:custGeom>
              <a:avLst/>
              <a:gdLst>
                <a:gd name="T0" fmla="*/ 737 w 1319"/>
                <a:gd name="T1" fmla="*/ 1007 h 1319"/>
                <a:gd name="T2" fmla="*/ 852 w 1319"/>
                <a:gd name="T3" fmla="*/ 928 h 1319"/>
                <a:gd name="T4" fmla="*/ 800 w 1319"/>
                <a:gd name="T5" fmla="*/ 1070 h 1319"/>
                <a:gd name="T6" fmla="*/ 737 w 1319"/>
                <a:gd name="T7" fmla="*/ 1007 h 1319"/>
                <a:gd name="T8" fmla="*/ 248 w 1319"/>
                <a:gd name="T9" fmla="*/ 518 h 1319"/>
                <a:gd name="T10" fmla="*/ 389 w 1319"/>
                <a:gd name="T11" fmla="*/ 466 h 1319"/>
                <a:gd name="T12" fmla="*/ 311 w 1319"/>
                <a:gd name="T13" fmla="*/ 581 h 1319"/>
                <a:gd name="T14" fmla="*/ 248 w 1319"/>
                <a:gd name="T15" fmla="*/ 518 h 1319"/>
                <a:gd name="T16" fmla="*/ 1319 w 1319"/>
                <a:gd name="T17" fmla="*/ 115 h 1319"/>
                <a:gd name="T18" fmla="*/ 1204 w 1319"/>
                <a:gd name="T19" fmla="*/ 0 h 1319"/>
                <a:gd name="T20" fmla="*/ 135 w 1319"/>
                <a:gd name="T21" fmla="*/ 389 h 1319"/>
                <a:gd name="T22" fmla="*/ 0 w 1319"/>
                <a:gd name="T23" fmla="*/ 525 h 1319"/>
                <a:gd name="T24" fmla="*/ 204 w 1319"/>
                <a:gd name="T25" fmla="*/ 730 h 1319"/>
                <a:gd name="T26" fmla="*/ 402 w 1319"/>
                <a:gd name="T27" fmla="*/ 730 h 1319"/>
                <a:gd name="T28" fmla="*/ 654 w 1319"/>
                <a:gd name="T29" fmla="*/ 371 h 1319"/>
                <a:gd name="T30" fmla="*/ 1116 w 1319"/>
                <a:gd name="T31" fmla="*/ 203 h 1319"/>
                <a:gd name="T32" fmla="*/ 948 w 1319"/>
                <a:gd name="T33" fmla="*/ 664 h 1319"/>
                <a:gd name="T34" fmla="*/ 489 w 1319"/>
                <a:gd name="T35" fmla="*/ 985 h 1319"/>
                <a:gd name="T36" fmla="*/ 350 w 1319"/>
                <a:gd name="T37" fmla="*/ 847 h 1319"/>
                <a:gd name="T38" fmla="*/ 123 w 1319"/>
                <a:gd name="T39" fmla="*/ 847 h 1319"/>
                <a:gd name="T40" fmla="*/ 470 w 1319"/>
                <a:gd name="T41" fmla="*/ 1194 h 1319"/>
                <a:gd name="T42" fmla="*/ 587 w 1319"/>
                <a:gd name="T43" fmla="*/ 1112 h 1319"/>
                <a:gd name="T44" fmla="*/ 793 w 1319"/>
                <a:gd name="T45" fmla="*/ 1319 h 1319"/>
                <a:gd name="T46" fmla="*/ 930 w 1319"/>
                <a:gd name="T47" fmla="*/ 1182 h 1319"/>
                <a:gd name="T48" fmla="*/ 1319 w 1319"/>
                <a:gd name="T49" fmla="*/ 115 h 1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19" h="1319">
                  <a:moveTo>
                    <a:pt x="737" y="1007"/>
                  </a:moveTo>
                  <a:lnTo>
                    <a:pt x="852" y="928"/>
                  </a:lnTo>
                  <a:lnTo>
                    <a:pt x="800" y="1070"/>
                  </a:lnTo>
                  <a:lnTo>
                    <a:pt x="737" y="1007"/>
                  </a:lnTo>
                  <a:close/>
                  <a:moveTo>
                    <a:pt x="248" y="518"/>
                  </a:moveTo>
                  <a:lnTo>
                    <a:pt x="389" y="466"/>
                  </a:lnTo>
                  <a:lnTo>
                    <a:pt x="311" y="581"/>
                  </a:lnTo>
                  <a:lnTo>
                    <a:pt x="248" y="518"/>
                  </a:lnTo>
                  <a:close/>
                  <a:moveTo>
                    <a:pt x="1319" y="115"/>
                  </a:moveTo>
                  <a:lnTo>
                    <a:pt x="1204" y="0"/>
                  </a:lnTo>
                  <a:lnTo>
                    <a:pt x="135" y="389"/>
                  </a:lnTo>
                  <a:lnTo>
                    <a:pt x="0" y="525"/>
                  </a:lnTo>
                  <a:lnTo>
                    <a:pt x="204" y="730"/>
                  </a:lnTo>
                  <a:lnTo>
                    <a:pt x="402" y="730"/>
                  </a:lnTo>
                  <a:lnTo>
                    <a:pt x="654" y="371"/>
                  </a:lnTo>
                  <a:lnTo>
                    <a:pt x="1116" y="203"/>
                  </a:lnTo>
                  <a:lnTo>
                    <a:pt x="948" y="664"/>
                  </a:lnTo>
                  <a:lnTo>
                    <a:pt x="489" y="985"/>
                  </a:lnTo>
                  <a:lnTo>
                    <a:pt x="350" y="847"/>
                  </a:lnTo>
                  <a:lnTo>
                    <a:pt x="123" y="847"/>
                  </a:lnTo>
                  <a:lnTo>
                    <a:pt x="470" y="1194"/>
                  </a:lnTo>
                  <a:lnTo>
                    <a:pt x="587" y="1112"/>
                  </a:lnTo>
                  <a:lnTo>
                    <a:pt x="793" y="1319"/>
                  </a:lnTo>
                  <a:lnTo>
                    <a:pt x="930" y="1182"/>
                  </a:lnTo>
                  <a:lnTo>
                    <a:pt x="1319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" name="Freeform 228">
              <a:extLst>
                <a:ext uri="{FF2B5EF4-FFF2-40B4-BE49-F238E27FC236}">
                  <a16:creationId xmlns:a16="http://schemas.microsoft.com/office/drawing/2014/main" id="{462BE96B-89A3-4E8F-B41E-568F4029F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7750" y="3548063"/>
              <a:ext cx="146050" cy="100013"/>
            </a:xfrm>
            <a:custGeom>
              <a:avLst/>
              <a:gdLst>
                <a:gd name="T0" fmla="*/ 404 w 404"/>
                <a:gd name="T1" fmla="*/ 0 h 276"/>
                <a:gd name="T2" fmla="*/ 252 w 404"/>
                <a:gd name="T3" fmla="*/ 225 h 276"/>
                <a:gd name="T4" fmla="*/ 112 w 404"/>
                <a:gd name="T5" fmla="*/ 276 h 276"/>
                <a:gd name="T6" fmla="*/ 0 w 404"/>
                <a:gd name="T7" fmla="*/ 147 h 276"/>
                <a:gd name="T8" fmla="*/ 404 w 404"/>
                <a:gd name="T9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4" h="276">
                  <a:moveTo>
                    <a:pt x="404" y="0"/>
                  </a:moveTo>
                  <a:lnTo>
                    <a:pt x="252" y="225"/>
                  </a:lnTo>
                  <a:lnTo>
                    <a:pt x="112" y="276"/>
                  </a:lnTo>
                  <a:lnTo>
                    <a:pt x="0" y="147"/>
                  </a:lnTo>
                  <a:lnTo>
                    <a:pt x="4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" name="Freeform 229">
              <a:extLst>
                <a:ext uri="{FF2B5EF4-FFF2-40B4-BE49-F238E27FC236}">
                  <a16:creationId xmlns:a16="http://schemas.microsoft.com/office/drawing/2014/main" id="{D9F03B10-FF57-47D6-A565-37E0EC026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9050" y="3740150"/>
              <a:ext cx="98425" cy="147638"/>
            </a:xfrm>
            <a:custGeom>
              <a:avLst/>
              <a:gdLst>
                <a:gd name="T0" fmla="*/ 276 w 276"/>
                <a:gd name="T1" fmla="*/ 0 h 407"/>
                <a:gd name="T2" fmla="*/ 50 w 276"/>
                <a:gd name="T3" fmla="*/ 152 h 407"/>
                <a:gd name="T4" fmla="*/ 0 w 276"/>
                <a:gd name="T5" fmla="*/ 292 h 407"/>
                <a:gd name="T6" fmla="*/ 128 w 276"/>
                <a:gd name="T7" fmla="*/ 407 h 407"/>
                <a:gd name="T8" fmla="*/ 276 w 276"/>
                <a:gd name="T9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6" h="407">
                  <a:moveTo>
                    <a:pt x="276" y="0"/>
                  </a:moveTo>
                  <a:lnTo>
                    <a:pt x="50" y="152"/>
                  </a:lnTo>
                  <a:lnTo>
                    <a:pt x="0" y="292"/>
                  </a:lnTo>
                  <a:lnTo>
                    <a:pt x="128" y="407"/>
                  </a:lnTo>
                  <a:lnTo>
                    <a:pt x="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" name="Freeform 230">
              <a:extLst>
                <a:ext uri="{FF2B5EF4-FFF2-40B4-BE49-F238E27FC236}">
                  <a16:creationId xmlns:a16="http://schemas.microsoft.com/office/drawing/2014/main" id="{C4610BBD-3AFC-40E2-BF01-DABD0B02F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4563" y="3808413"/>
              <a:ext cx="122238" cy="163513"/>
            </a:xfrm>
            <a:custGeom>
              <a:avLst/>
              <a:gdLst>
                <a:gd name="T0" fmla="*/ 227 w 340"/>
                <a:gd name="T1" fmla="*/ 0 h 453"/>
                <a:gd name="T2" fmla="*/ 0 w 340"/>
                <a:gd name="T3" fmla="*/ 227 h 453"/>
                <a:gd name="T4" fmla="*/ 0 w 340"/>
                <a:gd name="T5" fmla="*/ 453 h 453"/>
                <a:gd name="T6" fmla="*/ 340 w 340"/>
                <a:gd name="T7" fmla="*/ 113 h 453"/>
                <a:gd name="T8" fmla="*/ 227 w 340"/>
                <a:gd name="T9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453">
                  <a:moveTo>
                    <a:pt x="227" y="0"/>
                  </a:moveTo>
                  <a:lnTo>
                    <a:pt x="0" y="227"/>
                  </a:lnTo>
                  <a:lnTo>
                    <a:pt x="0" y="453"/>
                  </a:lnTo>
                  <a:lnTo>
                    <a:pt x="340" y="113"/>
                  </a:lnTo>
                  <a:lnTo>
                    <a:pt x="2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" name="Freeform 231">
              <a:extLst>
                <a:ext uri="{FF2B5EF4-FFF2-40B4-BE49-F238E27FC236}">
                  <a16:creationId xmlns:a16="http://schemas.microsoft.com/office/drawing/2014/main" id="{677FEC82-60DB-46A2-B3DF-C6576E7000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6475" y="3868738"/>
              <a:ext cx="122238" cy="82550"/>
            </a:xfrm>
            <a:custGeom>
              <a:avLst/>
              <a:gdLst>
                <a:gd name="T0" fmla="*/ 227 w 338"/>
                <a:gd name="T1" fmla="*/ 0 h 227"/>
                <a:gd name="T2" fmla="*/ 0 w 338"/>
                <a:gd name="T3" fmla="*/ 227 h 227"/>
                <a:gd name="T4" fmla="*/ 227 w 338"/>
                <a:gd name="T5" fmla="*/ 227 h 227"/>
                <a:gd name="T6" fmla="*/ 338 w 338"/>
                <a:gd name="T7" fmla="*/ 115 h 227"/>
                <a:gd name="T8" fmla="*/ 227 w 338"/>
                <a:gd name="T9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8" h="227">
                  <a:moveTo>
                    <a:pt x="227" y="0"/>
                  </a:moveTo>
                  <a:lnTo>
                    <a:pt x="0" y="227"/>
                  </a:lnTo>
                  <a:lnTo>
                    <a:pt x="227" y="227"/>
                  </a:lnTo>
                  <a:lnTo>
                    <a:pt x="338" y="115"/>
                  </a:lnTo>
                  <a:lnTo>
                    <a:pt x="2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7" name="Group 426">
            <a:extLst>
              <a:ext uri="{FF2B5EF4-FFF2-40B4-BE49-F238E27FC236}">
                <a16:creationId xmlns:a16="http://schemas.microsoft.com/office/drawing/2014/main" id="{66A4147A-B7CF-40BA-BF42-34C71412C45F}"/>
              </a:ext>
            </a:extLst>
          </p:cNvPr>
          <p:cNvGrpSpPr/>
          <p:nvPr/>
        </p:nvGrpSpPr>
        <p:grpSpPr>
          <a:xfrm>
            <a:off x="4991100" y="5470525"/>
            <a:ext cx="576263" cy="577850"/>
            <a:chOff x="4991100" y="5470525"/>
            <a:chExt cx="576263" cy="577850"/>
          </a:xfrm>
          <a:solidFill>
            <a:schemeClr val="accent1"/>
          </a:solidFill>
        </p:grpSpPr>
        <p:sp>
          <p:nvSpPr>
            <p:cNvPr id="33" name="Freeform 232">
              <a:extLst>
                <a:ext uri="{FF2B5EF4-FFF2-40B4-BE49-F238E27FC236}">
                  <a16:creationId xmlns:a16="http://schemas.microsoft.com/office/drawing/2014/main" id="{B9B9CB6E-C587-493E-A27B-52C0C6962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4138" y="5614988"/>
              <a:ext cx="230188" cy="288925"/>
            </a:xfrm>
            <a:custGeom>
              <a:avLst/>
              <a:gdLst>
                <a:gd name="T0" fmla="*/ 641 w 641"/>
                <a:gd name="T1" fmla="*/ 241 h 802"/>
                <a:gd name="T2" fmla="*/ 641 w 641"/>
                <a:gd name="T3" fmla="*/ 80 h 802"/>
                <a:gd name="T4" fmla="*/ 401 w 641"/>
                <a:gd name="T5" fmla="*/ 80 h 802"/>
                <a:gd name="T6" fmla="*/ 401 w 641"/>
                <a:gd name="T7" fmla="*/ 0 h 802"/>
                <a:gd name="T8" fmla="*/ 240 w 641"/>
                <a:gd name="T9" fmla="*/ 0 h 802"/>
                <a:gd name="T10" fmla="*/ 240 w 641"/>
                <a:gd name="T11" fmla="*/ 80 h 802"/>
                <a:gd name="T12" fmla="*/ 0 w 641"/>
                <a:gd name="T13" fmla="*/ 80 h 802"/>
                <a:gd name="T14" fmla="*/ 0 w 641"/>
                <a:gd name="T15" fmla="*/ 481 h 802"/>
                <a:gd name="T16" fmla="*/ 481 w 641"/>
                <a:gd name="T17" fmla="*/ 481 h 802"/>
                <a:gd name="T18" fmla="*/ 481 w 641"/>
                <a:gd name="T19" fmla="*/ 561 h 802"/>
                <a:gd name="T20" fmla="*/ 0 w 641"/>
                <a:gd name="T21" fmla="*/ 561 h 802"/>
                <a:gd name="T22" fmla="*/ 0 w 641"/>
                <a:gd name="T23" fmla="*/ 722 h 802"/>
                <a:gd name="T24" fmla="*/ 240 w 641"/>
                <a:gd name="T25" fmla="*/ 722 h 802"/>
                <a:gd name="T26" fmla="*/ 240 w 641"/>
                <a:gd name="T27" fmla="*/ 802 h 802"/>
                <a:gd name="T28" fmla="*/ 401 w 641"/>
                <a:gd name="T29" fmla="*/ 802 h 802"/>
                <a:gd name="T30" fmla="*/ 401 w 641"/>
                <a:gd name="T31" fmla="*/ 722 h 802"/>
                <a:gd name="T32" fmla="*/ 641 w 641"/>
                <a:gd name="T33" fmla="*/ 722 h 802"/>
                <a:gd name="T34" fmla="*/ 641 w 641"/>
                <a:gd name="T35" fmla="*/ 321 h 802"/>
                <a:gd name="T36" fmla="*/ 160 w 641"/>
                <a:gd name="T37" fmla="*/ 321 h 802"/>
                <a:gd name="T38" fmla="*/ 160 w 641"/>
                <a:gd name="T39" fmla="*/ 241 h 802"/>
                <a:gd name="T40" fmla="*/ 641 w 641"/>
                <a:gd name="T41" fmla="*/ 241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1" h="802">
                  <a:moveTo>
                    <a:pt x="641" y="241"/>
                  </a:moveTo>
                  <a:lnTo>
                    <a:pt x="641" y="80"/>
                  </a:lnTo>
                  <a:lnTo>
                    <a:pt x="401" y="80"/>
                  </a:lnTo>
                  <a:lnTo>
                    <a:pt x="401" y="0"/>
                  </a:lnTo>
                  <a:lnTo>
                    <a:pt x="240" y="0"/>
                  </a:lnTo>
                  <a:lnTo>
                    <a:pt x="240" y="80"/>
                  </a:lnTo>
                  <a:lnTo>
                    <a:pt x="0" y="80"/>
                  </a:lnTo>
                  <a:lnTo>
                    <a:pt x="0" y="481"/>
                  </a:lnTo>
                  <a:lnTo>
                    <a:pt x="481" y="481"/>
                  </a:lnTo>
                  <a:lnTo>
                    <a:pt x="481" y="561"/>
                  </a:lnTo>
                  <a:lnTo>
                    <a:pt x="0" y="561"/>
                  </a:lnTo>
                  <a:lnTo>
                    <a:pt x="0" y="722"/>
                  </a:lnTo>
                  <a:lnTo>
                    <a:pt x="240" y="722"/>
                  </a:lnTo>
                  <a:lnTo>
                    <a:pt x="240" y="802"/>
                  </a:lnTo>
                  <a:lnTo>
                    <a:pt x="401" y="802"/>
                  </a:lnTo>
                  <a:lnTo>
                    <a:pt x="401" y="722"/>
                  </a:lnTo>
                  <a:lnTo>
                    <a:pt x="641" y="722"/>
                  </a:lnTo>
                  <a:lnTo>
                    <a:pt x="641" y="321"/>
                  </a:lnTo>
                  <a:lnTo>
                    <a:pt x="160" y="321"/>
                  </a:lnTo>
                  <a:lnTo>
                    <a:pt x="160" y="241"/>
                  </a:lnTo>
                  <a:lnTo>
                    <a:pt x="641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" name="Freeform 233">
              <a:extLst>
                <a:ext uri="{FF2B5EF4-FFF2-40B4-BE49-F238E27FC236}">
                  <a16:creationId xmlns:a16="http://schemas.microsoft.com/office/drawing/2014/main" id="{646CDA85-42DF-4200-8DCC-6C6296ED97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1100" y="5470525"/>
              <a:ext cx="163513" cy="165100"/>
            </a:xfrm>
            <a:custGeom>
              <a:avLst/>
              <a:gdLst>
                <a:gd name="T0" fmla="*/ 457 w 457"/>
                <a:gd name="T1" fmla="*/ 344 h 458"/>
                <a:gd name="T2" fmla="*/ 273 w 457"/>
                <a:gd name="T3" fmla="*/ 161 h 458"/>
                <a:gd name="T4" fmla="*/ 401 w 457"/>
                <a:gd name="T5" fmla="*/ 161 h 458"/>
                <a:gd name="T6" fmla="*/ 401 w 457"/>
                <a:gd name="T7" fmla="*/ 0 h 458"/>
                <a:gd name="T8" fmla="*/ 80 w 457"/>
                <a:gd name="T9" fmla="*/ 0 h 458"/>
                <a:gd name="T10" fmla="*/ 0 w 457"/>
                <a:gd name="T11" fmla="*/ 80 h 458"/>
                <a:gd name="T12" fmla="*/ 0 w 457"/>
                <a:gd name="T13" fmla="*/ 401 h 458"/>
                <a:gd name="T14" fmla="*/ 160 w 457"/>
                <a:gd name="T15" fmla="*/ 401 h 458"/>
                <a:gd name="T16" fmla="*/ 160 w 457"/>
                <a:gd name="T17" fmla="*/ 274 h 458"/>
                <a:gd name="T18" fmla="*/ 344 w 457"/>
                <a:gd name="T19" fmla="*/ 458 h 458"/>
                <a:gd name="T20" fmla="*/ 457 w 457"/>
                <a:gd name="T21" fmla="*/ 344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7" h="458">
                  <a:moveTo>
                    <a:pt x="457" y="344"/>
                  </a:moveTo>
                  <a:lnTo>
                    <a:pt x="273" y="161"/>
                  </a:lnTo>
                  <a:lnTo>
                    <a:pt x="401" y="161"/>
                  </a:lnTo>
                  <a:lnTo>
                    <a:pt x="401" y="0"/>
                  </a:lnTo>
                  <a:lnTo>
                    <a:pt x="80" y="0"/>
                  </a:lnTo>
                  <a:lnTo>
                    <a:pt x="0" y="80"/>
                  </a:lnTo>
                  <a:lnTo>
                    <a:pt x="0" y="401"/>
                  </a:lnTo>
                  <a:lnTo>
                    <a:pt x="160" y="401"/>
                  </a:lnTo>
                  <a:lnTo>
                    <a:pt x="160" y="274"/>
                  </a:lnTo>
                  <a:lnTo>
                    <a:pt x="344" y="458"/>
                  </a:lnTo>
                  <a:lnTo>
                    <a:pt x="457" y="3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" name="Freeform 234">
              <a:extLst>
                <a:ext uri="{FF2B5EF4-FFF2-40B4-BE49-F238E27FC236}">
                  <a16:creationId xmlns:a16="http://schemas.microsoft.com/office/drawing/2014/main" id="{114C278C-0FB0-444A-BD48-E049CA75F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3850" y="5470525"/>
              <a:ext cx="163513" cy="165100"/>
            </a:xfrm>
            <a:custGeom>
              <a:avLst/>
              <a:gdLst>
                <a:gd name="T0" fmla="*/ 113 w 457"/>
                <a:gd name="T1" fmla="*/ 458 h 458"/>
                <a:gd name="T2" fmla="*/ 297 w 457"/>
                <a:gd name="T3" fmla="*/ 274 h 458"/>
                <a:gd name="T4" fmla="*/ 297 w 457"/>
                <a:gd name="T5" fmla="*/ 401 h 458"/>
                <a:gd name="T6" fmla="*/ 457 w 457"/>
                <a:gd name="T7" fmla="*/ 401 h 458"/>
                <a:gd name="T8" fmla="*/ 457 w 457"/>
                <a:gd name="T9" fmla="*/ 80 h 458"/>
                <a:gd name="T10" fmla="*/ 377 w 457"/>
                <a:gd name="T11" fmla="*/ 0 h 458"/>
                <a:gd name="T12" fmla="*/ 56 w 457"/>
                <a:gd name="T13" fmla="*/ 0 h 458"/>
                <a:gd name="T14" fmla="*/ 56 w 457"/>
                <a:gd name="T15" fmla="*/ 161 h 458"/>
                <a:gd name="T16" fmla="*/ 183 w 457"/>
                <a:gd name="T17" fmla="*/ 161 h 458"/>
                <a:gd name="T18" fmla="*/ 0 w 457"/>
                <a:gd name="T19" fmla="*/ 344 h 458"/>
                <a:gd name="T20" fmla="*/ 113 w 457"/>
                <a:gd name="T21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7" h="458">
                  <a:moveTo>
                    <a:pt x="113" y="458"/>
                  </a:moveTo>
                  <a:lnTo>
                    <a:pt x="297" y="274"/>
                  </a:lnTo>
                  <a:lnTo>
                    <a:pt x="297" y="401"/>
                  </a:lnTo>
                  <a:lnTo>
                    <a:pt x="457" y="401"/>
                  </a:lnTo>
                  <a:lnTo>
                    <a:pt x="457" y="80"/>
                  </a:lnTo>
                  <a:lnTo>
                    <a:pt x="377" y="0"/>
                  </a:lnTo>
                  <a:lnTo>
                    <a:pt x="56" y="0"/>
                  </a:lnTo>
                  <a:lnTo>
                    <a:pt x="56" y="161"/>
                  </a:lnTo>
                  <a:lnTo>
                    <a:pt x="183" y="161"/>
                  </a:lnTo>
                  <a:lnTo>
                    <a:pt x="0" y="344"/>
                  </a:lnTo>
                  <a:lnTo>
                    <a:pt x="113" y="4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6" name="Freeform 235">
              <a:extLst>
                <a:ext uri="{FF2B5EF4-FFF2-40B4-BE49-F238E27FC236}">
                  <a16:creationId xmlns:a16="http://schemas.microsoft.com/office/drawing/2014/main" id="{07F1409F-F7CB-439E-8137-F19F8F851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1100" y="5883275"/>
              <a:ext cx="163513" cy="165100"/>
            </a:xfrm>
            <a:custGeom>
              <a:avLst/>
              <a:gdLst>
                <a:gd name="T0" fmla="*/ 344 w 457"/>
                <a:gd name="T1" fmla="*/ 0 h 458"/>
                <a:gd name="T2" fmla="*/ 160 w 457"/>
                <a:gd name="T3" fmla="*/ 184 h 458"/>
                <a:gd name="T4" fmla="*/ 160 w 457"/>
                <a:gd name="T5" fmla="*/ 57 h 458"/>
                <a:gd name="T6" fmla="*/ 0 w 457"/>
                <a:gd name="T7" fmla="*/ 57 h 458"/>
                <a:gd name="T8" fmla="*/ 0 w 457"/>
                <a:gd name="T9" fmla="*/ 377 h 458"/>
                <a:gd name="T10" fmla="*/ 80 w 457"/>
                <a:gd name="T11" fmla="*/ 458 h 458"/>
                <a:gd name="T12" fmla="*/ 401 w 457"/>
                <a:gd name="T13" fmla="*/ 458 h 458"/>
                <a:gd name="T14" fmla="*/ 401 w 457"/>
                <a:gd name="T15" fmla="*/ 297 h 458"/>
                <a:gd name="T16" fmla="*/ 273 w 457"/>
                <a:gd name="T17" fmla="*/ 297 h 458"/>
                <a:gd name="T18" fmla="*/ 457 w 457"/>
                <a:gd name="T19" fmla="*/ 114 h 458"/>
                <a:gd name="T20" fmla="*/ 344 w 457"/>
                <a:gd name="T21" fmla="*/ 0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7" h="458">
                  <a:moveTo>
                    <a:pt x="344" y="0"/>
                  </a:moveTo>
                  <a:lnTo>
                    <a:pt x="160" y="184"/>
                  </a:lnTo>
                  <a:lnTo>
                    <a:pt x="160" y="57"/>
                  </a:lnTo>
                  <a:lnTo>
                    <a:pt x="0" y="57"/>
                  </a:lnTo>
                  <a:lnTo>
                    <a:pt x="0" y="377"/>
                  </a:lnTo>
                  <a:lnTo>
                    <a:pt x="80" y="458"/>
                  </a:lnTo>
                  <a:lnTo>
                    <a:pt x="401" y="458"/>
                  </a:lnTo>
                  <a:lnTo>
                    <a:pt x="401" y="297"/>
                  </a:lnTo>
                  <a:lnTo>
                    <a:pt x="273" y="297"/>
                  </a:lnTo>
                  <a:lnTo>
                    <a:pt x="457" y="114"/>
                  </a:lnTo>
                  <a:lnTo>
                    <a:pt x="3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7" name="Freeform 236">
              <a:extLst>
                <a:ext uri="{FF2B5EF4-FFF2-40B4-BE49-F238E27FC236}">
                  <a16:creationId xmlns:a16="http://schemas.microsoft.com/office/drawing/2014/main" id="{4C1DE5EB-F5C4-45DF-80E7-76F7A3088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3850" y="5883275"/>
              <a:ext cx="163513" cy="165100"/>
            </a:xfrm>
            <a:custGeom>
              <a:avLst/>
              <a:gdLst>
                <a:gd name="T0" fmla="*/ 0 w 457"/>
                <a:gd name="T1" fmla="*/ 114 h 458"/>
                <a:gd name="T2" fmla="*/ 183 w 457"/>
                <a:gd name="T3" fmla="*/ 297 h 458"/>
                <a:gd name="T4" fmla="*/ 56 w 457"/>
                <a:gd name="T5" fmla="*/ 297 h 458"/>
                <a:gd name="T6" fmla="*/ 56 w 457"/>
                <a:gd name="T7" fmla="*/ 458 h 458"/>
                <a:gd name="T8" fmla="*/ 377 w 457"/>
                <a:gd name="T9" fmla="*/ 458 h 458"/>
                <a:gd name="T10" fmla="*/ 457 w 457"/>
                <a:gd name="T11" fmla="*/ 377 h 458"/>
                <a:gd name="T12" fmla="*/ 457 w 457"/>
                <a:gd name="T13" fmla="*/ 57 h 458"/>
                <a:gd name="T14" fmla="*/ 297 w 457"/>
                <a:gd name="T15" fmla="*/ 57 h 458"/>
                <a:gd name="T16" fmla="*/ 297 w 457"/>
                <a:gd name="T17" fmla="*/ 184 h 458"/>
                <a:gd name="T18" fmla="*/ 113 w 457"/>
                <a:gd name="T19" fmla="*/ 0 h 458"/>
                <a:gd name="T20" fmla="*/ 0 w 457"/>
                <a:gd name="T21" fmla="*/ 114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7" h="458">
                  <a:moveTo>
                    <a:pt x="0" y="114"/>
                  </a:moveTo>
                  <a:lnTo>
                    <a:pt x="183" y="297"/>
                  </a:lnTo>
                  <a:lnTo>
                    <a:pt x="56" y="297"/>
                  </a:lnTo>
                  <a:lnTo>
                    <a:pt x="56" y="458"/>
                  </a:lnTo>
                  <a:lnTo>
                    <a:pt x="377" y="458"/>
                  </a:lnTo>
                  <a:lnTo>
                    <a:pt x="457" y="377"/>
                  </a:lnTo>
                  <a:lnTo>
                    <a:pt x="457" y="57"/>
                  </a:lnTo>
                  <a:lnTo>
                    <a:pt x="297" y="57"/>
                  </a:lnTo>
                  <a:lnTo>
                    <a:pt x="297" y="184"/>
                  </a:lnTo>
                  <a:lnTo>
                    <a:pt x="113" y="0"/>
                  </a:lnTo>
                  <a:lnTo>
                    <a:pt x="0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8" name="Freeform 237">
              <a:extLst>
                <a:ext uri="{FF2B5EF4-FFF2-40B4-BE49-F238E27FC236}">
                  <a16:creationId xmlns:a16="http://schemas.microsoft.com/office/drawing/2014/main" id="{E170FD4B-8D12-4D8E-AF8A-39779E799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1100" y="5499100"/>
              <a:ext cx="57150" cy="115888"/>
            </a:xfrm>
            <a:custGeom>
              <a:avLst/>
              <a:gdLst>
                <a:gd name="T0" fmla="*/ 0 w 160"/>
                <a:gd name="T1" fmla="*/ 0 h 321"/>
                <a:gd name="T2" fmla="*/ 160 w 160"/>
                <a:gd name="T3" fmla="*/ 194 h 321"/>
                <a:gd name="T4" fmla="*/ 160 w 160"/>
                <a:gd name="T5" fmla="*/ 321 h 321"/>
                <a:gd name="T6" fmla="*/ 0 w 160"/>
                <a:gd name="T7" fmla="*/ 321 h 321"/>
                <a:gd name="T8" fmla="*/ 0 w 160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321">
                  <a:moveTo>
                    <a:pt x="0" y="0"/>
                  </a:moveTo>
                  <a:lnTo>
                    <a:pt x="160" y="194"/>
                  </a:lnTo>
                  <a:lnTo>
                    <a:pt x="160" y="321"/>
                  </a:lnTo>
                  <a:lnTo>
                    <a:pt x="0" y="32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228" name="Freeform 68">
            <a:extLst>
              <a:ext uri="{FF2B5EF4-FFF2-40B4-BE49-F238E27FC236}">
                <a16:creationId xmlns:a16="http://schemas.microsoft.com/office/drawing/2014/main" id="{4BA8BB14-4303-4C0B-BAC4-9CE6E8E47DE3}"/>
              </a:ext>
            </a:extLst>
          </p:cNvPr>
          <p:cNvSpPr>
            <a:spLocks noEditPoints="1"/>
          </p:cNvSpPr>
          <p:nvPr/>
        </p:nvSpPr>
        <p:spPr bwMode="auto">
          <a:xfrm>
            <a:off x="10455389" y="5045076"/>
            <a:ext cx="376238" cy="219075"/>
          </a:xfrm>
          <a:custGeom>
            <a:avLst/>
            <a:gdLst>
              <a:gd name="T0" fmla="*/ 179 w 1045"/>
              <a:gd name="T1" fmla="*/ 28 h 608"/>
              <a:gd name="T2" fmla="*/ 168 w 1045"/>
              <a:gd name="T3" fmla="*/ 166 h 608"/>
              <a:gd name="T4" fmla="*/ 107 w 1045"/>
              <a:gd name="T5" fmla="*/ 134 h 608"/>
              <a:gd name="T6" fmla="*/ 18 w 1045"/>
              <a:gd name="T7" fmla="*/ 228 h 608"/>
              <a:gd name="T8" fmla="*/ 160 w 1045"/>
              <a:gd name="T9" fmla="*/ 345 h 608"/>
              <a:gd name="T10" fmla="*/ 149 w 1045"/>
              <a:gd name="T11" fmla="*/ 483 h 608"/>
              <a:gd name="T12" fmla="*/ 88 w 1045"/>
              <a:gd name="T13" fmla="*/ 451 h 608"/>
              <a:gd name="T14" fmla="*/ 0 w 1045"/>
              <a:gd name="T15" fmla="*/ 545 h 608"/>
              <a:gd name="T16" fmla="*/ 140 w 1045"/>
              <a:gd name="T17" fmla="*/ 380 h 608"/>
              <a:gd name="T18" fmla="*/ 310 w 1045"/>
              <a:gd name="T19" fmla="*/ 492 h 608"/>
              <a:gd name="T20" fmla="*/ 196 w 1045"/>
              <a:gd name="T21" fmla="*/ 464 h 608"/>
              <a:gd name="T22" fmla="*/ 337 w 1045"/>
              <a:gd name="T23" fmla="*/ 470 h 608"/>
              <a:gd name="T24" fmla="*/ 310 w 1045"/>
              <a:gd name="T25" fmla="*/ 492 h 608"/>
              <a:gd name="T26" fmla="*/ 238 w 1045"/>
              <a:gd name="T27" fmla="*/ 412 h 608"/>
              <a:gd name="T28" fmla="*/ 393 w 1045"/>
              <a:gd name="T29" fmla="*/ 402 h 608"/>
              <a:gd name="T30" fmla="*/ 503 w 1045"/>
              <a:gd name="T31" fmla="*/ 461 h 608"/>
              <a:gd name="T32" fmla="*/ 395 w 1045"/>
              <a:gd name="T33" fmla="*/ 528 h 608"/>
              <a:gd name="T34" fmla="*/ 434 w 1045"/>
              <a:gd name="T35" fmla="*/ 526 h 608"/>
              <a:gd name="T36" fmla="*/ 406 w 1045"/>
              <a:gd name="T37" fmla="*/ 415 h 608"/>
              <a:gd name="T38" fmla="*/ 559 w 1045"/>
              <a:gd name="T39" fmla="*/ 545 h 608"/>
              <a:gd name="T40" fmla="*/ 604 w 1045"/>
              <a:gd name="T41" fmla="*/ 535 h 608"/>
              <a:gd name="T42" fmla="*/ 651 w 1045"/>
              <a:gd name="T43" fmla="*/ 450 h 608"/>
              <a:gd name="T44" fmla="*/ 634 w 1045"/>
              <a:gd name="T45" fmla="*/ 407 h 608"/>
              <a:gd name="T46" fmla="*/ 665 w 1045"/>
              <a:gd name="T47" fmla="*/ 377 h 608"/>
              <a:gd name="T48" fmla="*/ 724 w 1045"/>
              <a:gd name="T49" fmla="*/ 476 h 608"/>
              <a:gd name="T50" fmla="*/ 698 w 1045"/>
              <a:gd name="T51" fmla="*/ 463 h 608"/>
              <a:gd name="T52" fmla="*/ 626 w 1045"/>
              <a:gd name="T53" fmla="*/ 519 h 608"/>
              <a:gd name="T54" fmla="*/ 698 w 1045"/>
              <a:gd name="T55" fmla="*/ 463 h 608"/>
              <a:gd name="T56" fmla="*/ 776 w 1045"/>
              <a:gd name="T57" fmla="*/ 526 h 608"/>
              <a:gd name="T58" fmla="*/ 867 w 1045"/>
              <a:gd name="T59" fmla="*/ 390 h 608"/>
              <a:gd name="T60" fmla="*/ 795 w 1045"/>
              <a:gd name="T61" fmla="*/ 415 h 608"/>
              <a:gd name="T62" fmla="*/ 864 w 1045"/>
              <a:gd name="T63" fmla="*/ 485 h 608"/>
              <a:gd name="T64" fmla="*/ 923 w 1045"/>
              <a:gd name="T65" fmla="*/ 526 h 608"/>
              <a:gd name="T66" fmla="*/ 1045 w 1045"/>
              <a:gd name="T67" fmla="*/ 462 h 608"/>
              <a:gd name="T68" fmla="*/ 1001 w 1045"/>
              <a:gd name="T69" fmla="*/ 518 h 608"/>
              <a:gd name="T70" fmla="*/ 975 w 1045"/>
              <a:gd name="T71" fmla="*/ 400 h 608"/>
              <a:gd name="T72" fmla="*/ 137 w 1045"/>
              <a:gd name="T73" fmla="*/ 96 h 608"/>
              <a:gd name="T74" fmla="*/ 46 w 1045"/>
              <a:gd name="T75" fmla="*/ 25 h 608"/>
              <a:gd name="T76" fmla="*/ 254 w 1045"/>
              <a:gd name="T77" fmla="*/ 32 h 608"/>
              <a:gd name="T78" fmla="*/ 254 w 1045"/>
              <a:gd name="T79" fmla="*/ 228 h 608"/>
              <a:gd name="T80" fmla="*/ 318 w 1045"/>
              <a:gd name="T81" fmla="*/ 84 h 608"/>
              <a:gd name="T82" fmla="*/ 427 w 1045"/>
              <a:gd name="T83" fmla="*/ 144 h 608"/>
              <a:gd name="T84" fmla="*/ 320 w 1045"/>
              <a:gd name="T85" fmla="*/ 210 h 608"/>
              <a:gd name="T86" fmla="*/ 358 w 1045"/>
              <a:gd name="T87" fmla="*/ 208 h 608"/>
              <a:gd name="T88" fmla="*/ 330 w 1045"/>
              <a:gd name="T89" fmla="*/ 98 h 608"/>
              <a:gd name="T90" fmla="*/ 719 w 1045"/>
              <a:gd name="T91" fmla="*/ 228 h 608"/>
              <a:gd name="T92" fmla="*/ 521 w 1045"/>
              <a:gd name="T93" fmla="*/ 228 h 608"/>
              <a:gd name="T94" fmla="*/ 605 w 1045"/>
              <a:gd name="T95" fmla="*/ 67 h 608"/>
              <a:gd name="T96" fmla="*/ 761 w 1045"/>
              <a:gd name="T97" fmla="*/ 86 h 608"/>
              <a:gd name="T98" fmla="*/ 862 w 1045"/>
              <a:gd name="T99" fmla="*/ 126 h 608"/>
              <a:gd name="T100" fmla="*/ 823 w 1045"/>
              <a:gd name="T101" fmla="*/ 88 h 608"/>
              <a:gd name="T102" fmla="*/ 738 w 1045"/>
              <a:gd name="T103" fmla="*/ 228 h 608"/>
              <a:gd name="T104" fmla="*/ 901 w 1045"/>
              <a:gd name="T105" fmla="*/ 190 h 608"/>
              <a:gd name="T106" fmla="*/ 982 w 1045"/>
              <a:gd name="T107" fmla="*/ 66 h 608"/>
              <a:gd name="T108" fmla="*/ 1002 w 1045"/>
              <a:gd name="T109" fmla="*/ 228 h 608"/>
              <a:gd name="T110" fmla="*/ 1002 w 1045"/>
              <a:gd name="T111" fmla="*/ 148 h 6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45" h="608">
                <a:moveTo>
                  <a:pt x="18" y="228"/>
                </a:moveTo>
                <a:lnTo>
                  <a:pt x="18" y="0"/>
                </a:lnTo>
                <a:lnTo>
                  <a:pt x="112" y="0"/>
                </a:lnTo>
                <a:cubicBezTo>
                  <a:pt x="131" y="0"/>
                  <a:pt x="145" y="2"/>
                  <a:pt x="155" y="6"/>
                </a:cubicBezTo>
                <a:cubicBezTo>
                  <a:pt x="165" y="10"/>
                  <a:pt x="173" y="18"/>
                  <a:pt x="179" y="28"/>
                </a:cubicBezTo>
                <a:cubicBezTo>
                  <a:pt x="185" y="38"/>
                  <a:pt x="188" y="50"/>
                  <a:pt x="188" y="62"/>
                </a:cubicBezTo>
                <a:cubicBezTo>
                  <a:pt x="188" y="78"/>
                  <a:pt x="183" y="92"/>
                  <a:pt x="173" y="103"/>
                </a:cubicBezTo>
                <a:cubicBezTo>
                  <a:pt x="163" y="114"/>
                  <a:pt x="148" y="121"/>
                  <a:pt x="128" y="124"/>
                </a:cubicBezTo>
                <a:cubicBezTo>
                  <a:pt x="135" y="128"/>
                  <a:pt x="141" y="132"/>
                  <a:pt x="145" y="135"/>
                </a:cubicBezTo>
                <a:cubicBezTo>
                  <a:pt x="153" y="143"/>
                  <a:pt x="161" y="154"/>
                  <a:pt x="168" y="166"/>
                </a:cubicBezTo>
                <a:lnTo>
                  <a:pt x="205" y="228"/>
                </a:lnTo>
                <a:lnTo>
                  <a:pt x="170" y="228"/>
                </a:lnTo>
                <a:lnTo>
                  <a:pt x="142" y="180"/>
                </a:lnTo>
                <a:cubicBezTo>
                  <a:pt x="134" y="167"/>
                  <a:pt x="127" y="156"/>
                  <a:pt x="122" y="149"/>
                </a:cubicBezTo>
                <a:cubicBezTo>
                  <a:pt x="116" y="142"/>
                  <a:pt x="111" y="137"/>
                  <a:pt x="107" y="134"/>
                </a:cubicBezTo>
                <a:cubicBezTo>
                  <a:pt x="103" y="131"/>
                  <a:pt x="99" y="129"/>
                  <a:pt x="95" y="128"/>
                </a:cubicBezTo>
                <a:cubicBezTo>
                  <a:pt x="91" y="127"/>
                  <a:pt x="86" y="127"/>
                  <a:pt x="79" y="127"/>
                </a:cubicBezTo>
                <a:lnTo>
                  <a:pt x="46" y="127"/>
                </a:lnTo>
                <a:lnTo>
                  <a:pt x="46" y="228"/>
                </a:lnTo>
                <a:lnTo>
                  <a:pt x="18" y="228"/>
                </a:lnTo>
                <a:close/>
                <a:moveTo>
                  <a:pt x="0" y="545"/>
                </a:moveTo>
                <a:lnTo>
                  <a:pt x="0" y="318"/>
                </a:lnTo>
                <a:lnTo>
                  <a:pt x="93" y="318"/>
                </a:lnTo>
                <a:cubicBezTo>
                  <a:pt x="112" y="318"/>
                  <a:pt x="127" y="320"/>
                  <a:pt x="136" y="324"/>
                </a:cubicBezTo>
                <a:cubicBezTo>
                  <a:pt x="146" y="328"/>
                  <a:pt x="154" y="335"/>
                  <a:pt x="160" y="345"/>
                </a:cubicBezTo>
                <a:cubicBezTo>
                  <a:pt x="166" y="356"/>
                  <a:pt x="169" y="367"/>
                  <a:pt x="169" y="380"/>
                </a:cubicBezTo>
                <a:cubicBezTo>
                  <a:pt x="169" y="396"/>
                  <a:pt x="164" y="409"/>
                  <a:pt x="154" y="420"/>
                </a:cubicBezTo>
                <a:cubicBezTo>
                  <a:pt x="144" y="432"/>
                  <a:pt x="129" y="439"/>
                  <a:pt x="109" y="442"/>
                </a:cubicBezTo>
                <a:cubicBezTo>
                  <a:pt x="117" y="445"/>
                  <a:pt x="122" y="449"/>
                  <a:pt x="126" y="453"/>
                </a:cubicBezTo>
                <a:cubicBezTo>
                  <a:pt x="134" y="461"/>
                  <a:pt x="142" y="471"/>
                  <a:pt x="149" y="483"/>
                </a:cubicBezTo>
                <a:lnTo>
                  <a:pt x="186" y="545"/>
                </a:lnTo>
                <a:lnTo>
                  <a:pt x="151" y="545"/>
                </a:lnTo>
                <a:lnTo>
                  <a:pt x="123" y="498"/>
                </a:lnTo>
                <a:cubicBezTo>
                  <a:pt x="115" y="484"/>
                  <a:pt x="108" y="474"/>
                  <a:pt x="103" y="466"/>
                </a:cubicBezTo>
                <a:cubicBezTo>
                  <a:pt x="97" y="459"/>
                  <a:pt x="93" y="454"/>
                  <a:pt x="88" y="451"/>
                </a:cubicBezTo>
                <a:cubicBezTo>
                  <a:pt x="84" y="448"/>
                  <a:pt x="80" y="446"/>
                  <a:pt x="76" y="445"/>
                </a:cubicBezTo>
                <a:cubicBezTo>
                  <a:pt x="73" y="444"/>
                  <a:pt x="67" y="444"/>
                  <a:pt x="60" y="444"/>
                </a:cubicBezTo>
                <a:lnTo>
                  <a:pt x="28" y="444"/>
                </a:lnTo>
                <a:lnTo>
                  <a:pt x="28" y="545"/>
                </a:lnTo>
                <a:lnTo>
                  <a:pt x="0" y="545"/>
                </a:lnTo>
                <a:close/>
                <a:moveTo>
                  <a:pt x="28" y="418"/>
                </a:moveTo>
                <a:lnTo>
                  <a:pt x="88" y="418"/>
                </a:lnTo>
                <a:cubicBezTo>
                  <a:pt x="101" y="418"/>
                  <a:pt x="111" y="417"/>
                  <a:pt x="118" y="414"/>
                </a:cubicBezTo>
                <a:cubicBezTo>
                  <a:pt x="125" y="411"/>
                  <a:pt x="130" y="406"/>
                  <a:pt x="134" y="400"/>
                </a:cubicBezTo>
                <a:cubicBezTo>
                  <a:pt x="138" y="394"/>
                  <a:pt x="140" y="387"/>
                  <a:pt x="140" y="380"/>
                </a:cubicBezTo>
                <a:cubicBezTo>
                  <a:pt x="140" y="369"/>
                  <a:pt x="136" y="360"/>
                  <a:pt x="129" y="353"/>
                </a:cubicBezTo>
                <a:cubicBezTo>
                  <a:pt x="122" y="346"/>
                  <a:pt x="110" y="343"/>
                  <a:pt x="95" y="343"/>
                </a:cubicBezTo>
                <a:lnTo>
                  <a:pt x="28" y="343"/>
                </a:lnTo>
                <a:lnTo>
                  <a:pt x="28" y="418"/>
                </a:lnTo>
                <a:close/>
                <a:moveTo>
                  <a:pt x="310" y="492"/>
                </a:moveTo>
                <a:lnTo>
                  <a:pt x="337" y="496"/>
                </a:lnTo>
                <a:cubicBezTo>
                  <a:pt x="332" y="512"/>
                  <a:pt x="324" y="525"/>
                  <a:pt x="313" y="535"/>
                </a:cubicBezTo>
                <a:cubicBezTo>
                  <a:pt x="302" y="544"/>
                  <a:pt x="287" y="549"/>
                  <a:pt x="269" y="549"/>
                </a:cubicBezTo>
                <a:cubicBezTo>
                  <a:pt x="247" y="549"/>
                  <a:pt x="229" y="541"/>
                  <a:pt x="216" y="526"/>
                </a:cubicBezTo>
                <a:cubicBezTo>
                  <a:pt x="203" y="512"/>
                  <a:pt x="196" y="491"/>
                  <a:pt x="196" y="464"/>
                </a:cubicBezTo>
                <a:cubicBezTo>
                  <a:pt x="196" y="436"/>
                  <a:pt x="203" y="415"/>
                  <a:pt x="216" y="400"/>
                </a:cubicBezTo>
                <a:cubicBezTo>
                  <a:pt x="229" y="384"/>
                  <a:pt x="247" y="377"/>
                  <a:pt x="268" y="377"/>
                </a:cubicBezTo>
                <a:cubicBezTo>
                  <a:pt x="288" y="377"/>
                  <a:pt x="305" y="384"/>
                  <a:pt x="318" y="399"/>
                </a:cubicBezTo>
                <a:cubicBezTo>
                  <a:pt x="331" y="414"/>
                  <a:pt x="337" y="435"/>
                  <a:pt x="337" y="462"/>
                </a:cubicBezTo>
                <a:cubicBezTo>
                  <a:pt x="337" y="464"/>
                  <a:pt x="337" y="467"/>
                  <a:pt x="337" y="470"/>
                </a:cubicBezTo>
                <a:lnTo>
                  <a:pt x="223" y="470"/>
                </a:lnTo>
                <a:cubicBezTo>
                  <a:pt x="224" y="488"/>
                  <a:pt x="229" y="502"/>
                  <a:pt x="237" y="511"/>
                </a:cubicBezTo>
                <a:cubicBezTo>
                  <a:pt x="246" y="521"/>
                  <a:pt x="256" y="526"/>
                  <a:pt x="269" y="526"/>
                </a:cubicBezTo>
                <a:cubicBezTo>
                  <a:pt x="279" y="526"/>
                  <a:pt x="287" y="523"/>
                  <a:pt x="294" y="518"/>
                </a:cubicBezTo>
                <a:cubicBezTo>
                  <a:pt x="300" y="512"/>
                  <a:pt x="306" y="504"/>
                  <a:pt x="310" y="492"/>
                </a:cubicBezTo>
                <a:close/>
                <a:moveTo>
                  <a:pt x="224" y="447"/>
                </a:moveTo>
                <a:lnTo>
                  <a:pt x="310" y="447"/>
                </a:lnTo>
                <a:cubicBezTo>
                  <a:pt x="309" y="433"/>
                  <a:pt x="305" y="423"/>
                  <a:pt x="300" y="416"/>
                </a:cubicBezTo>
                <a:cubicBezTo>
                  <a:pt x="292" y="405"/>
                  <a:pt x="281" y="400"/>
                  <a:pt x="268" y="400"/>
                </a:cubicBezTo>
                <a:cubicBezTo>
                  <a:pt x="256" y="400"/>
                  <a:pt x="246" y="404"/>
                  <a:pt x="238" y="412"/>
                </a:cubicBezTo>
                <a:cubicBezTo>
                  <a:pt x="230" y="421"/>
                  <a:pt x="225" y="433"/>
                  <a:pt x="224" y="447"/>
                </a:cubicBezTo>
                <a:close/>
                <a:moveTo>
                  <a:pt x="369" y="608"/>
                </a:moveTo>
                <a:lnTo>
                  <a:pt x="369" y="380"/>
                </a:lnTo>
                <a:lnTo>
                  <a:pt x="393" y="380"/>
                </a:lnTo>
                <a:lnTo>
                  <a:pt x="393" y="402"/>
                </a:lnTo>
                <a:cubicBezTo>
                  <a:pt x="399" y="394"/>
                  <a:pt x="405" y="387"/>
                  <a:pt x="412" y="383"/>
                </a:cubicBezTo>
                <a:cubicBezTo>
                  <a:pt x="419" y="379"/>
                  <a:pt x="428" y="377"/>
                  <a:pt x="438" y="377"/>
                </a:cubicBezTo>
                <a:cubicBezTo>
                  <a:pt x="451" y="377"/>
                  <a:pt x="462" y="380"/>
                  <a:pt x="472" y="388"/>
                </a:cubicBezTo>
                <a:cubicBezTo>
                  <a:pt x="482" y="395"/>
                  <a:pt x="490" y="405"/>
                  <a:pt x="495" y="418"/>
                </a:cubicBezTo>
                <a:cubicBezTo>
                  <a:pt x="500" y="431"/>
                  <a:pt x="503" y="446"/>
                  <a:pt x="503" y="461"/>
                </a:cubicBezTo>
                <a:cubicBezTo>
                  <a:pt x="503" y="478"/>
                  <a:pt x="500" y="493"/>
                  <a:pt x="494" y="507"/>
                </a:cubicBezTo>
                <a:cubicBezTo>
                  <a:pt x="488" y="520"/>
                  <a:pt x="480" y="531"/>
                  <a:pt x="470" y="538"/>
                </a:cubicBezTo>
                <a:cubicBezTo>
                  <a:pt x="459" y="545"/>
                  <a:pt x="448" y="549"/>
                  <a:pt x="436" y="549"/>
                </a:cubicBezTo>
                <a:cubicBezTo>
                  <a:pt x="427" y="549"/>
                  <a:pt x="419" y="547"/>
                  <a:pt x="412" y="543"/>
                </a:cubicBezTo>
                <a:cubicBezTo>
                  <a:pt x="405" y="539"/>
                  <a:pt x="400" y="534"/>
                  <a:pt x="395" y="528"/>
                </a:cubicBezTo>
                <a:lnTo>
                  <a:pt x="395" y="608"/>
                </a:lnTo>
                <a:lnTo>
                  <a:pt x="369" y="608"/>
                </a:lnTo>
                <a:close/>
                <a:moveTo>
                  <a:pt x="393" y="464"/>
                </a:moveTo>
                <a:cubicBezTo>
                  <a:pt x="393" y="485"/>
                  <a:pt x="397" y="500"/>
                  <a:pt x="405" y="511"/>
                </a:cubicBezTo>
                <a:cubicBezTo>
                  <a:pt x="413" y="521"/>
                  <a:pt x="423" y="526"/>
                  <a:pt x="434" y="526"/>
                </a:cubicBezTo>
                <a:cubicBezTo>
                  <a:pt x="446" y="526"/>
                  <a:pt x="455" y="520"/>
                  <a:pt x="464" y="510"/>
                </a:cubicBezTo>
                <a:cubicBezTo>
                  <a:pt x="472" y="499"/>
                  <a:pt x="476" y="483"/>
                  <a:pt x="476" y="461"/>
                </a:cubicBezTo>
                <a:cubicBezTo>
                  <a:pt x="476" y="440"/>
                  <a:pt x="472" y="425"/>
                  <a:pt x="464" y="414"/>
                </a:cubicBezTo>
                <a:cubicBezTo>
                  <a:pt x="456" y="404"/>
                  <a:pt x="446" y="399"/>
                  <a:pt x="435" y="399"/>
                </a:cubicBezTo>
                <a:cubicBezTo>
                  <a:pt x="424" y="399"/>
                  <a:pt x="414" y="404"/>
                  <a:pt x="406" y="415"/>
                </a:cubicBezTo>
                <a:cubicBezTo>
                  <a:pt x="397" y="426"/>
                  <a:pt x="393" y="443"/>
                  <a:pt x="393" y="464"/>
                </a:cubicBezTo>
                <a:close/>
                <a:moveTo>
                  <a:pt x="533" y="545"/>
                </a:moveTo>
                <a:lnTo>
                  <a:pt x="533" y="318"/>
                </a:lnTo>
                <a:lnTo>
                  <a:pt x="559" y="318"/>
                </a:lnTo>
                <a:lnTo>
                  <a:pt x="559" y="545"/>
                </a:lnTo>
                <a:lnTo>
                  <a:pt x="533" y="545"/>
                </a:lnTo>
                <a:close/>
                <a:moveTo>
                  <a:pt x="700" y="524"/>
                </a:moveTo>
                <a:cubicBezTo>
                  <a:pt x="690" y="533"/>
                  <a:pt x="681" y="539"/>
                  <a:pt x="672" y="543"/>
                </a:cubicBezTo>
                <a:cubicBezTo>
                  <a:pt x="663" y="547"/>
                  <a:pt x="654" y="549"/>
                  <a:pt x="643" y="549"/>
                </a:cubicBezTo>
                <a:cubicBezTo>
                  <a:pt x="626" y="549"/>
                  <a:pt x="613" y="544"/>
                  <a:pt x="604" y="535"/>
                </a:cubicBezTo>
                <a:cubicBezTo>
                  <a:pt x="595" y="527"/>
                  <a:pt x="591" y="515"/>
                  <a:pt x="591" y="502"/>
                </a:cubicBezTo>
                <a:cubicBezTo>
                  <a:pt x="591" y="494"/>
                  <a:pt x="592" y="486"/>
                  <a:pt x="596" y="479"/>
                </a:cubicBezTo>
                <a:cubicBezTo>
                  <a:pt x="599" y="473"/>
                  <a:pt x="604" y="468"/>
                  <a:pt x="609" y="464"/>
                </a:cubicBezTo>
                <a:cubicBezTo>
                  <a:pt x="615" y="459"/>
                  <a:pt x="621" y="456"/>
                  <a:pt x="628" y="454"/>
                </a:cubicBezTo>
                <a:cubicBezTo>
                  <a:pt x="633" y="453"/>
                  <a:pt x="641" y="452"/>
                  <a:pt x="651" y="450"/>
                </a:cubicBezTo>
                <a:cubicBezTo>
                  <a:pt x="672" y="448"/>
                  <a:pt x="688" y="444"/>
                  <a:pt x="698" y="441"/>
                </a:cubicBezTo>
                <a:cubicBezTo>
                  <a:pt x="698" y="437"/>
                  <a:pt x="698" y="434"/>
                  <a:pt x="698" y="433"/>
                </a:cubicBezTo>
                <a:cubicBezTo>
                  <a:pt x="698" y="422"/>
                  <a:pt x="695" y="414"/>
                  <a:pt x="690" y="409"/>
                </a:cubicBezTo>
                <a:cubicBezTo>
                  <a:pt x="684" y="403"/>
                  <a:pt x="674" y="400"/>
                  <a:pt x="661" y="400"/>
                </a:cubicBezTo>
                <a:cubicBezTo>
                  <a:pt x="649" y="400"/>
                  <a:pt x="639" y="402"/>
                  <a:pt x="634" y="407"/>
                </a:cubicBezTo>
                <a:cubicBezTo>
                  <a:pt x="628" y="411"/>
                  <a:pt x="623" y="420"/>
                  <a:pt x="621" y="431"/>
                </a:cubicBezTo>
                <a:lnTo>
                  <a:pt x="595" y="428"/>
                </a:lnTo>
                <a:cubicBezTo>
                  <a:pt x="598" y="416"/>
                  <a:pt x="601" y="406"/>
                  <a:pt x="607" y="399"/>
                </a:cubicBezTo>
                <a:cubicBezTo>
                  <a:pt x="612" y="392"/>
                  <a:pt x="620" y="387"/>
                  <a:pt x="630" y="383"/>
                </a:cubicBezTo>
                <a:cubicBezTo>
                  <a:pt x="640" y="379"/>
                  <a:pt x="651" y="377"/>
                  <a:pt x="665" y="377"/>
                </a:cubicBezTo>
                <a:cubicBezTo>
                  <a:pt x="678" y="377"/>
                  <a:pt x="688" y="378"/>
                  <a:pt x="697" y="382"/>
                </a:cubicBezTo>
                <a:cubicBezTo>
                  <a:pt x="705" y="385"/>
                  <a:pt x="711" y="389"/>
                  <a:pt x="715" y="394"/>
                </a:cubicBezTo>
                <a:cubicBezTo>
                  <a:pt x="719" y="399"/>
                  <a:pt x="721" y="406"/>
                  <a:pt x="723" y="413"/>
                </a:cubicBezTo>
                <a:cubicBezTo>
                  <a:pt x="724" y="418"/>
                  <a:pt x="724" y="427"/>
                  <a:pt x="724" y="439"/>
                </a:cubicBezTo>
                <a:lnTo>
                  <a:pt x="724" y="476"/>
                </a:lnTo>
                <a:cubicBezTo>
                  <a:pt x="724" y="502"/>
                  <a:pt x="725" y="518"/>
                  <a:pt x="726" y="525"/>
                </a:cubicBezTo>
                <a:cubicBezTo>
                  <a:pt x="727" y="532"/>
                  <a:pt x="729" y="539"/>
                  <a:pt x="732" y="545"/>
                </a:cubicBezTo>
                <a:lnTo>
                  <a:pt x="705" y="545"/>
                </a:lnTo>
                <a:cubicBezTo>
                  <a:pt x="702" y="539"/>
                  <a:pt x="701" y="532"/>
                  <a:pt x="700" y="524"/>
                </a:cubicBezTo>
                <a:close/>
                <a:moveTo>
                  <a:pt x="698" y="463"/>
                </a:moveTo>
                <a:cubicBezTo>
                  <a:pt x="688" y="467"/>
                  <a:pt x="674" y="470"/>
                  <a:pt x="655" y="473"/>
                </a:cubicBezTo>
                <a:cubicBezTo>
                  <a:pt x="645" y="475"/>
                  <a:pt x="637" y="476"/>
                  <a:pt x="632" y="479"/>
                </a:cubicBezTo>
                <a:cubicBezTo>
                  <a:pt x="628" y="481"/>
                  <a:pt x="625" y="484"/>
                  <a:pt x="622" y="488"/>
                </a:cubicBezTo>
                <a:cubicBezTo>
                  <a:pt x="620" y="492"/>
                  <a:pt x="619" y="496"/>
                  <a:pt x="619" y="501"/>
                </a:cubicBezTo>
                <a:cubicBezTo>
                  <a:pt x="619" y="508"/>
                  <a:pt x="621" y="514"/>
                  <a:pt x="626" y="519"/>
                </a:cubicBezTo>
                <a:cubicBezTo>
                  <a:pt x="632" y="524"/>
                  <a:pt x="639" y="527"/>
                  <a:pt x="650" y="527"/>
                </a:cubicBezTo>
                <a:cubicBezTo>
                  <a:pt x="660" y="527"/>
                  <a:pt x="668" y="524"/>
                  <a:pt x="676" y="520"/>
                </a:cubicBezTo>
                <a:cubicBezTo>
                  <a:pt x="684" y="515"/>
                  <a:pt x="690" y="509"/>
                  <a:pt x="694" y="500"/>
                </a:cubicBezTo>
                <a:cubicBezTo>
                  <a:pt x="696" y="494"/>
                  <a:pt x="698" y="485"/>
                  <a:pt x="698" y="473"/>
                </a:cubicBezTo>
                <a:lnTo>
                  <a:pt x="698" y="463"/>
                </a:lnTo>
                <a:close/>
                <a:moveTo>
                  <a:pt x="864" y="485"/>
                </a:moveTo>
                <a:lnTo>
                  <a:pt x="890" y="489"/>
                </a:lnTo>
                <a:cubicBezTo>
                  <a:pt x="887" y="507"/>
                  <a:pt x="880" y="522"/>
                  <a:pt x="868" y="533"/>
                </a:cubicBezTo>
                <a:cubicBezTo>
                  <a:pt x="857" y="543"/>
                  <a:pt x="843" y="549"/>
                  <a:pt x="826" y="549"/>
                </a:cubicBezTo>
                <a:cubicBezTo>
                  <a:pt x="805" y="549"/>
                  <a:pt x="788" y="541"/>
                  <a:pt x="776" y="526"/>
                </a:cubicBezTo>
                <a:cubicBezTo>
                  <a:pt x="763" y="512"/>
                  <a:pt x="756" y="491"/>
                  <a:pt x="756" y="463"/>
                </a:cubicBezTo>
                <a:cubicBezTo>
                  <a:pt x="756" y="446"/>
                  <a:pt x="759" y="430"/>
                  <a:pt x="765" y="417"/>
                </a:cubicBezTo>
                <a:cubicBezTo>
                  <a:pt x="770" y="403"/>
                  <a:pt x="779" y="393"/>
                  <a:pt x="790" y="387"/>
                </a:cubicBezTo>
                <a:cubicBezTo>
                  <a:pt x="801" y="380"/>
                  <a:pt x="813" y="377"/>
                  <a:pt x="826" y="377"/>
                </a:cubicBezTo>
                <a:cubicBezTo>
                  <a:pt x="843" y="377"/>
                  <a:pt x="857" y="381"/>
                  <a:pt x="867" y="390"/>
                </a:cubicBezTo>
                <a:cubicBezTo>
                  <a:pt x="878" y="399"/>
                  <a:pt x="885" y="412"/>
                  <a:pt x="888" y="429"/>
                </a:cubicBezTo>
                <a:lnTo>
                  <a:pt x="862" y="433"/>
                </a:lnTo>
                <a:cubicBezTo>
                  <a:pt x="860" y="422"/>
                  <a:pt x="856" y="414"/>
                  <a:pt x="850" y="408"/>
                </a:cubicBezTo>
                <a:cubicBezTo>
                  <a:pt x="843" y="402"/>
                  <a:pt x="836" y="400"/>
                  <a:pt x="827" y="400"/>
                </a:cubicBezTo>
                <a:cubicBezTo>
                  <a:pt x="814" y="400"/>
                  <a:pt x="804" y="405"/>
                  <a:pt x="795" y="415"/>
                </a:cubicBezTo>
                <a:cubicBezTo>
                  <a:pt x="787" y="425"/>
                  <a:pt x="783" y="441"/>
                  <a:pt x="783" y="463"/>
                </a:cubicBezTo>
                <a:cubicBezTo>
                  <a:pt x="783" y="485"/>
                  <a:pt x="787" y="501"/>
                  <a:pt x="795" y="511"/>
                </a:cubicBezTo>
                <a:cubicBezTo>
                  <a:pt x="803" y="521"/>
                  <a:pt x="813" y="526"/>
                  <a:pt x="826" y="526"/>
                </a:cubicBezTo>
                <a:cubicBezTo>
                  <a:pt x="836" y="526"/>
                  <a:pt x="845" y="522"/>
                  <a:pt x="851" y="516"/>
                </a:cubicBezTo>
                <a:cubicBezTo>
                  <a:pt x="858" y="509"/>
                  <a:pt x="863" y="499"/>
                  <a:pt x="864" y="485"/>
                </a:cubicBezTo>
                <a:close/>
                <a:moveTo>
                  <a:pt x="1017" y="492"/>
                </a:moveTo>
                <a:lnTo>
                  <a:pt x="1044" y="496"/>
                </a:lnTo>
                <a:cubicBezTo>
                  <a:pt x="1040" y="512"/>
                  <a:pt x="1032" y="525"/>
                  <a:pt x="1020" y="535"/>
                </a:cubicBezTo>
                <a:cubicBezTo>
                  <a:pt x="1009" y="544"/>
                  <a:pt x="994" y="549"/>
                  <a:pt x="976" y="549"/>
                </a:cubicBezTo>
                <a:cubicBezTo>
                  <a:pt x="954" y="549"/>
                  <a:pt x="936" y="541"/>
                  <a:pt x="923" y="526"/>
                </a:cubicBezTo>
                <a:cubicBezTo>
                  <a:pt x="910" y="512"/>
                  <a:pt x="903" y="491"/>
                  <a:pt x="903" y="464"/>
                </a:cubicBezTo>
                <a:cubicBezTo>
                  <a:pt x="903" y="436"/>
                  <a:pt x="910" y="415"/>
                  <a:pt x="923" y="400"/>
                </a:cubicBezTo>
                <a:cubicBezTo>
                  <a:pt x="937" y="384"/>
                  <a:pt x="954" y="377"/>
                  <a:pt x="975" y="377"/>
                </a:cubicBezTo>
                <a:cubicBezTo>
                  <a:pt x="995" y="377"/>
                  <a:pt x="1012" y="384"/>
                  <a:pt x="1025" y="399"/>
                </a:cubicBezTo>
                <a:cubicBezTo>
                  <a:pt x="1038" y="414"/>
                  <a:pt x="1045" y="435"/>
                  <a:pt x="1045" y="462"/>
                </a:cubicBezTo>
                <a:cubicBezTo>
                  <a:pt x="1045" y="464"/>
                  <a:pt x="1045" y="467"/>
                  <a:pt x="1044" y="470"/>
                </a:cubicBezTo>
                <a:lnTo>
                  <a:pt x="930" y="470"/>
                </a:lnTo>
                <a:cubicBezTo>
                  <a:pt x="931" y="488"/>
                  <a:pt x="936" y="502"/>
                  <a:pt x="944" y="511"/>
                </a:cubicBezTo>
                <a:cubicBezTo>
                  <a:pt x="953" y="521"/>
                  <a:pt x="964" y="526"/>
                  <a:pt x="976" y="526"/>
                </a:cubicBezTo>
                <a:cubicBezTo>
                  <a:pt x="986" y="526"/>
                  <a:pt x="994" y="523"/>
                  <a:pt x="1001" y="518"/>
                </a:cubicBezTo>
                <a:cubicBezTo>
                  <a:pt x="1008" y="512"/>
                  <a:pt x="1013" y="504"/>
                  <a:pt x="1017" y="492"/>
                </a:cubicBezTo>
                <a:close/>
                <a:moveTo>
                  <a:pt x="932" y="447"/>
                </a:moveTo>
                <a:lnTo>
                  <a:pt x="1017" y="447"/>
                </a:lnTo>
                <a:cubicBezTo>
                  <a:pt x="1016" y="433"/>
                  <a:pt x="1013" y="423"/>
                  <a:pt x="1007" y="416"/>
                </a:cubicBezTo>
                <a:cubicBezTo>
                  <a:pt x="999" y="405"/>
                  <a:pt x="988" y="400"/>
                  <a:pt x="975" y="400"/>
                </a:cubicBezTo>
                <a:cubicBezTo>
                  <a:pt x="963" y="400"/>
                  <a:pt x="953" y="404"/>
                  <a:pt x="945" y="412"/>
                </a:cubicBezTo>
                <a:cubicBezTo>
                  <a:pt x="937" y="421"/>
                  <a:pt x="932" y="433"/>
                  <a:pt x="932" y="447"/>
                </a:cubicBezTo>
                <a:close/>
                <a:moveTo>
                  <a:pt x="46" y="101"/>
                </a:moveTo>
                <a:lnTo>
                  <a:pt x="107" y="101"/>
                </a:lnTo>
                <a:cubicBezTo>
                  <a:pt x="119" y="101"/>
                  <a:pt x="129" y="99"/>
                  <a:pt x="137" y="96"/>
                </a:cubicBezTo>
                <a:cubicBezTo>
                  <a:pt x="144" y="93"/>
                  <a:pt x="149" y="89"/>
                  <a:pt x="153" y="83"/>
                </a:cubicBezTo>
                <a:cubicBezTo>
                  <a:pt x="157" y="76"/>
                  <a:pt x="159" y="70"/>
                  <a:pt x="159" y="62"/>
                </a:cubicBezTo>
                <a:cubicBezTo>
                  <a:pt x="159" y="52"/>
                  <a:pt x="155" y="43"/>
                  <a:pt x="148" y="36"/>
                </a:cubicBezTo>
                <a:cubicBezTo>
                  <a:pt x="141" y="29"/>
                  <a:pt x="129" y="25"/>
                  <a:pt x="113" y="25"/>
                </a:cubicBezTo>
                <a:lnTo>
                  <a:pt x="46" y="25"/>
                </a:lnTo>
                <a:lnTo>
                  <a:pt x="46" y="101"/>
                </a:lnTo>
                <a:close/>
                <a:moveTo>
                  <a:pt x="228" y="32"/>
                </a:moveTo>
                <a:lnTo>
                  <a:pt x="228" y="0"/>
                </a:lnTo>
                <a:lnTo>
                  <a:pt x="254" y="0"/>
                </a:lnTo>
                <a:lnTo>
                  <a:pt x="254" y="32"/>
                </a:lnTo>
                <a:lnTo>
                  <a:pt x="228" y="32"/>
                </a:lnTo>
                <a:close/>
                <a:moveTo>
                  <a:pt x="228" y="228"/>
                </a:moveTo>
                <a:lnTo>
                  <a:pt x="228" y="63"/>
                </a:lnTo>
                <a:lnTo>
                  <a:pt x="254" y="63"/>
                </a:lnTo>
                <a:lnTo>
                  <a:pt x="254" y="228"/>
                </a:lnTo>
                <a:lnTo>
                  <a:pt x="228" y="228"/>
                </a:lnTo>
                <a:close/>
                <a:moveTo>
                  <a:pt x="294" y="291"/>
                </a:moveTo>
                <a:lnTo>
                  <a:pt x="294" y="63"/>
                </a:lnTo>
                <a:lnTo>
                  <a:pt x="318" y="63"/>
                </a:lnTo>
                <a:lnTo>
                  <a:pt x="318" y="84"/>
                </a:lnTo>
                <a:cubicBezTo>
                  <a:pt x="323" y="76"/>
                  <a:pt x="329" y="70"/>
                  <a:pt x="336" y="66"/>
                </a:cubicBezTo>
                <a:cubicBezTo>
                  <a:pt x="343" y="61"/>
                  <a:pt x="352" y="59"/>
                  <a:pt x="362" y="59"/>
                </a:cubicBezTo>
                <a:cubicBezTo>
                  <a:pt x="375" y="59"/>
                  <a:pt x="387" y="63"/>
                  <a:pt x="397" y="70"/>
                </a:cubicBezTo>
                <a:cubicBezTo>
                  <a:pt x="407" y="77"/>
                  <a:pt x="414" y="88"/>
                  <a:pt x="419" y="101"/>
                </a:cubicBezTo>
                <a:cubicBezTo>
                  <a:pt x="424" y="114"/>
                  <a:pt x="427" y="128"/>
                  <a:pt x="427" y="144"/>
                </a:cubicBezTo>
                <a:cubicBezTo>
                  <a:pt x="427" y="161"/>
                  <a:pt x="424" y="176"/>
                  <a:pt x="419" y="189"/>
                </a:cubicBezTo>
                <a:cubicBezTo>
                  <a:pt x="413" y="203"/>
                  <a:pt x="405" y="213"/>
                  <a:pt x="394" y="220"/>
                </a:cubicBezTo>
                <a:cubicBezTo>
                  <a:pt x="383" y="227"/>
                  <a:pt x="372" y="231"/>
                  <a:pt x="360" y="231"/>
                </a:cubicBezTo>
                <a:cubicBezTo>
                  <a:pt x="352" y="231"/>
                  <a:pt x="344" y="229"/>
                  <a:pt x="337" y="225"/>
                </a:cubicBezTo>
                <a:cubicBezTo>
                  <a:pt x="330" y="221"/>
                  <a:pt x="324" y="216"/>
                  <a:pt x="320" y="210"/>
                </a:cubicBezTo>
                <a:lnTo>
                  <a:pt x="320" y="291"/>
                </a:lnTo>
                <a:lnTo>
                  <a:pt x="294" y="291"/>
                </a:lnTo>
                <a:close/>
                <a:moveTo>
                  <a:pt x="318" y="146"/>
                </a:moveTo>
                <a:cubicBezTo>
                  <a:pt x="318" y="167"/>
                  <a:pt x="322" y="183"/>
                  <a:pt x="329" y="193"/>
                </a:cubicBezTo>
                <a:cubicBezTo>
                  <a:pt x="337" y="203"/>
                  <a:pt x="347" y="208"/>
                  <a:pt x="358" y="208"/>
                </a:cubicBezTo>
                <a:cubicBezTo>
                  <a:pt x="370" y="208"/>
                  <a:pt x="380" y="203"/>
                  <a:pt x="388" y="192"/>
                </a:cubicBezTo>
                <a:cubicBezTo>
                  <a:pt x="396" y="182"/>
                  <a:pt x="400" y="166"/>
                  <a:pt x="400" y="144"/>
                </a:cubicBezTo>
                <a:cubicBezTo>
                  <a:pt x="400" y="123"/>
                  <a:pt x="396" y="107"/>
                  <a:pt x="388" y="97"/>
                </a:cubicBezTo>
                <a:cubicBezTo>
                  <a:pt x="380" y="86"/>
                  <a:pt x="371" y="81"/>
                  <a:pt x="360" y="81"/>
                </a:cubicBezTo>
                <a:cubicBezTo>
                  <a:pt x="349" y="81"/>
                  <a:pt x="339" y="87"/>
                  <a:pt x="330" y="98"/>
                </a:cubicBezTo>
                <a:cubicBezTo>
                  <a:pt x="322" y="109"/>
                  <a:pt x="318" y="125"/>
                  <a:pt x="318" y="146"/>
                </a:cubicBezTo>
                <a:close/>
                <a:moveTo>
                  <a:pt x="521" y="228"/>
                </a:moveTo>
                <a:lnTo>
                  <a:pt x="602" y="0"/>
                </a:lnTo>
                <a:lnTo>
                  <a:pt x="633" y="0"/>
                </a:lnTo>
                <a:lnTo>
                  <a:pt x="719" y="228"/>
                </a:lnTo>
                <a:lnTo>
                  <a:pt x="687" y="228"/>
                </a:lnTo>
                <a:lnTo>
                  <a:pt x="663" y="159"/>
                </a:lnTo>
                <a:lnTo>
                  <a:pt x="573" y="159"/>
                </a:lnTo>
                <a:lnTo>
                  <a:pt x="550" y="228"/>
                </a:lnTo>
                <a:lnTo>
                  <a:pt x="521" y="228"/>
                </a:lnTo>
                <a:close/>
                <a:moveTo>
                  <a:pt x="582" y="134"/>
                </a:moveTo>
                <a:lnTo>
                  <a:pt x="654" y="134"/>
                </a:lnTo>
                <a:lnTo>
                  <a:pt x="632" y="71"/>
                </a:lnTo>
                <a:cubicBezTo>
                  <a:pt x="625" y="52"/>
                  <a:pt x="620" y="36"/>
                  <a:pt x="616" y="24"/>
                </a:cubicBezTo>
                <a:cubicBezTo>
                  <a:pt x="614" y="39"/>
                  <a:pt x="610" y="53"/>
                  <a:pt x="605" y="67"/>
                </a:cubicBezTo>
                <a:lnTo>
                  <a:pt x="582" y="134"/>
                </a:lnTo>
                <a:close/>
                <a:moveTo>
                  <a:pt x="738" y="228"/>
                </a:moveTo>
                <a:lnTo>
                  <a:pt x="738" y="63"/>
                </a:lnTo>
                <a:lnTo>
                  <a:pt x="761" y="63"/>
                </a:lnTo>
                <a:lnTo>
                  <a:pt x="761" y="86"/>
                </a:lnTo>
                <a:cubicBezTo>
                  <a:pt x="772" y="68"/>
                  <a:pt x="789" y="59"/>
                  <a:pt x="810" y="59"/>
                </a:cubicBezTo>
                <a:cubicBezTo>
                  <a:pt x="819" y="59"/>
                  <a:pt x="828" y="61"/>
                  <a:pt x="836" y="65"/>
                </a:cubicBezTo>
                <a:cubicBezTo>
                  <a:pt x="843" y="68"/>
                  <a:pt x="849" y="73"/>
                  <a:pt x="853" y="79"/>
                </a:cubicBezTo>
                <a:cubicBezTo>
                  <a:pt x="857" y="84"/>
                  <a:pt x="859" y="91"/>
                  <a:pt x="861" y="99"/>
                </a:cubicBezTo>
                <a:cubicBezTo>
                  <a:pt x="862" y="104"/>
                  <a:pt x="862" y="113"/>
                  <a:pt x="862" y="126"/>
                </a:cubicBezTo>
                <a:lnTo>
                  <a:pt x="862" y="228"/>
                </a:lnTo>
                <a:lnTo>
                  <a:pt x="836" y="228"/>
                </a:lnTo>
                <a:lnTo>
                  <a:pt x="836" y="127"/>
                </a:lnTo>
                <a:cubicBezTo>
                  <a:pt x="836" y="116"/>
                  <a:pt x="835" y="108"/>
                  <a:pt x="833" y="102"/>
                </a:cubicBezTo>
                <a:cubicBezTo>
                  <a:pt x="831" y="96"/>
                  <a:pt x="828" y="92"/>
                  <a:pt x="823" y="88"/>
                </a:cubicBezTo>
                <a:cubicBezTo>
                  <a:pt x="818" y="85"/>
                  <a:pt x="811" y="83"/>
                  <a:pt x="805" y="83"/>
                </a:cubicBezTo>
                <a:cubicBezTo>
                  <a:pt x="794" y="83"/>
                  <a:pt x="784" y="87"/>
                  <a:pt x="776" y="95"/>
                </a:cubicBezTo>
                <a:cubicBezTo>
                  <a:pt x="768" y="102"/>
                  <a:pt x="764" y="117"/>
                  <a:pt x="764" y="138"/>
                </a:cubicBezTo>
                <a:lnTo>
                  <a:pt x="764" y="228"/>
                </a:lnTo>
                <a:lnTo>
                  <a:pt x="738" y="228"/>
                </a:lnTo>
                <a:close/>
                <a:moveTo>
                  <a:pt x="1002" y="228"/>
                </a:moveTo>
                <a:lnTo>
                  <a:pt x="1002" y="207"/>
                </a:lnTo>
                <a:cubicBezTo>
                  <a:pt x="992" y="223"/>
                  <a:pt x="977" y="231"/>
                  <a:pt x="959" y="231"/>
                </a:cubicBezTo>
                <a:cubicBezTo>
                  <a:pt x="946" y="231"/>
                  <a:pt x="935" y="227"/>
                  <a:pt x="925" y="220"/>
                </a:cubicBezTo>
                <a:cubicBezTo>
                  <a:pt x="915" y="213"/>
                  <a:pt x="907" y="203"/>
                  <a:pt x="901" y="190"/>
                </a:cubicBezTo>
                <a:cubicBezTo>
                  <a:pt x="895" y="177"/>
                  <a:pt x="893" y="162"/>
                  <a:pt x="893" y="145"/>
                </a:cubicBezTo>
                <a:cubicBezTo>
                  <a:pt x="893" y="129"/>
                  <a:pt x="895" y="114"/>
                  <a:pt x="900" y="101"/>
                </a:cubicBezTo>
                <a:cubicBezTo>
                  <a:pt x="905" y="87"/>
                  <a:pt x="913" y="77"/>
                  <a:pt x="923" y="70"/>
                </a:cubicBezTo>
                <a:cubicBezTo>
                  <a:pt x="933" y="63"/>
                  <a:pt x="945" y="59"/>
                  <a:pt x="957" y="59"/>
                </a:cubicBezTo>
                <a:cubicBezTo>
                  <a:pt x="967" y="59"/>
                  <a:pt x="975" y="61"/>
                  <a:pt x="982" y="66"/>
                </a:cubicBezTo>
                <a:cubicBezTo>
                  <a:pt x="989" y="70"/>
                  <a:pt x="995" y="75"/>
                  <a:pt x="1000" y="82"/>
                </a:cubicBezTo>
                <a:lnTo>
                  <a:pt x="1000" y="0"/>
                </a:lnTo>
                <a:lnTo>
                  <a:pt x="1026" y="0"/>
                </a:lnTo>
                <a:lnTo>
                  <a:pt x="1026" y="228"/>
                </a:lnTo>
                <a:lnTo>
                  <a:pt x="1002" y="228"/>
                </a:lnTo>
                <a:close/>
                <a:moveTo>
                  <a:pt x="919" y="145"/>
                </a:moveTo>
                <a:cubicBezTo>
                  <a:pt x="919" y="166"/>
                  <a:pt x="923" y="182"/>
                  <a:pt x="932" y="193"/>
                </a:cubicBezTo>
                <a:cubicBezTo>
                  <a:pt x="940" y="203"/>
                  <a:pt x="950" y="208"/>
                  <a:pt x="961" y="208"/>
                </a:cubicBezTo>
                <a:cubicBezTo>
                  <a:pt x="973" y="208"/>
                  <a:pt x="982" y="203"/>
                  <a:pt x="990" y="193"/>
                </a:cubicBezTo>
                <a:cubicBezTo>
                  <a:pt x="998" y="183"/>
                  <a:pt x="1002" y="168"/>
                  <a:pt x="1002" y="148"/>
                </a:cubicBezTo>
                <a:cubicBezTo>
                  <a:pt x="1002" y="125"/>
                  <a:pt x="998" y="109"/>
                  <a:pt x="990" y="98"/>
                </a:cubicBezTo>
                <a:cubicBezTo>
                  <a:pt x="982" y="88"/>
                  <a:pt x="972" y="82"/>
                  <a:pt x="960" y="82"/>
                </a:cubicBezTo>
                <a:cubicBezTo>
                  <a:pt x="948" y="82"/>
                  <a:pt x="939" y="87"/>
                  <a:pt x="931" y="98"/>
                </a:cubicBezTo>
                <a:cubicBezTo>
                  <a:pt x="923" y="108"/>
                  <a:pt x="919" y="124"/>
                  <a:pt x="919" y="1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7" name="Group 406">
            <a:extLst>
              <a:ext uri="{FF2B5EF4-FFF2-40B4-BE49-F238E27FC236}">
                <a16:creationId xmlns:a16="http://schemas.microsoft.com/office/drawing/2014/main" id="{1F43E59E-F830-47E5-BEE4-547CA031C337}"/>
              </a:ext>
            </a:extLst>
          </p:cNvPr>
          <p:cNvGrpSpPr/>
          <p:nvPr/>
        </p:nvGrpSpPr>
        <p:grpSpPr>
          <a:xfrm>
            <a:off x="10396651" y="4460876"/>
            <a:ext cx="479425" cy="544512"/>
            <a:chOff x="10396651" y="4460876"/>
            <a:chExt cx="479425" cy="544512"/>
          </a:xfrm>
          <a:solidFill>
            <a:schemeClr val="accent1"/>
          </a:solidFill>
        </p:grpSpPr>
        <p:sp>
          <p:nvSpPr>
            <p:cNvPr id="39" name="Freeform 238">
              <a:extLst>
                <a:ext uri="{FF2B5EF4-FFF2-40B4-BE49-F238E27FC236}">
                  <a16:creationId xmlns:a16="http://schemas.microsoft.com/office/drawing/2014/main" id="{AF89B4AD-452D-4FA4-ACF6-80F6AEDF8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6026" y="4460876"/>
              <a:ext cx="400050" cy="414338"/>
            </a:xfrm>
            <a:custGeom>
              <a:avLst/>
              <a:gdLst>
                <a:gd name="T0" fmla="*/ 80 w 1111"/>
                <a:gd name="T1" fmla="*/ 232 h 1151"/>
                <a:gd name="T2" fmla="*/ 80 w 1111"/>
                <a:gd name="T3" fmla="*/ 232 h 1151"/>
                <a:gd name="T4" fmla="*/ 0 w 1111"/>
                <a:gd name="T5" fmla="*/ 371 h 1151"/>
                <a:gd name="T6" fmla="*/ 144 w 1111"/>
                <a:gd name="T7" fmla="*/ 454 h 1151"/>
                <a:gd name="T8" fmla="*/ 365 w 1111"/>
                <a:gd name="T9" fmla="*/ 326 h 1151"/>
                <a:gd name="T10" fmla="*/ 365 w 1111"/>
                <a:gd name="T11" fmla="*/ 160 h 1151"/>
                <a:gd name="T12" fmla="*/ 526 w 1111"/>
                <a:gd name="T13" fmla="*/ 160 h 1151"/>
                <a:gd name="T14" fmla="*/ 526 w 1111"/>
                <a:gd name="T15" fmla="*/ 326 h 1151"/>
                <a:gd name="T16" fmla="*/ 747 w 1111"/>
                <a:gd name="T17" fmla="*/ 454 h 1151"/>
                <a:gd name="T18" fmla="*/ 891 w 1111"/>
                <a:gd name="T19" fmla="*/ 371 h 1151"/>
                <a:gd name="T20" fmla="*/ 972 w 1111"/>
                <a:gd name="T21" fmla="*/ 510 h 1151"/>
                <a:gd name="T22" fmla="*/ 827 w 1111"/>
                <a:gd name="T23" fmla="*/ 593 h 1151"/>
                <a:gd name="T24" fmla="*/ 827 w 1111"/>
                <a:gd name="T25" fmla="*/ 849 h 1151"/>
                <a:gd name="T26" fmla="*/ 972 w 1111"/>
                <a:gd name="T27" fmla="*/ 932 h 1151"/>
                <a:gd name="T28" fmla="*/ 891 w 1111"/>
                <a:gd name="T29" fmla="*/ 1071 h 1151"/>
                <a:gd name="T30" fmla="*/ 1030 w 1111"/>
                <a:gd name="T31" fmla="*/ 1151 h 1151"/>
                <a:gd name="T32" fmla="*/ 1111 w 1111"/>
                <a:gd name="T33" fmla="*/ 1013 h 1151"/>
                <a:gd name="T34" fmla="*/ 1052 w 1111"/>
                <a:gd name="T35" fmla="*/ 793 h 1151"/>
                <a:gd name="T36" fmla="*/ 988 w 1111"/>
                <a:gd name="T37" fmla="*/ 756 h 1151"/>
                <a:gd name="T38" fmla="*/ 988 w 1111"/>
                <a:gd name="T39" fmla="*/ 686 h 1151"/>
                <a:gd name="T40" fmla="*/ 1052 w 1111"/>
                <a:gd name="T41" fmla="*/ 649 h 1151"/>
                <a:gd name="T42" fmla="*/ 1111 w 1111"/>
                <a:gd name="T43" fmla="*/ 430 h 1151"/>
                <a:gd name="T44" fmla="*/ 1111 w 1111"/>
                <a:gd name="T45" fmla="*/ 430 h 1151"/>
                <a:gd name="T46" fmla="*/ 1030 w 1111"/>
                <a:gd name="T47" fmla="*/ 291 h 1151"/>
                <a:gd name="T48" fmla="*/ 811 w 1111"/>
                <a:gd name="T49" fmla="*/ 232 h 1151"/>
                <a:gd name="T50" fmla="*/ 747 w 1111"/>
                <a:gd name="T51" fmla="*/ 269 h 1151"/>
                <a:gd name="T52" fmla="*/ 686 w 1111"/>
                <a:gd name="T53" fmla="*/ 234 h 1151"/>
                <a:gd name="T54" fmla="*/ 686 w 1111"/>
                <a:gd name="T55" fmla="*/ 160 h 1151"/>
                <a:gd name="T56" fmla="*/ 526 w 1111"/>
                <a:gd name="T57" fmla="*/ 0 h 1151"/>
                <a:gd name="T58" fmla="*/ 365 w 1111"/>
                <a:gd name="T59" fmla="*/ 0 h 1151"/>
                <a:gd name="T60" fmla="*/ 205 w 1111"/>
                <a:gd name="T61" fmla="*/ 160 h 1151"/>
                <a:gd name="T62" fmla="*/ 205 w 1111"/>
                <a:gd name="T63" fmla="*/ 234 h 1151"/>
                <a:gd name="T64" fmla="*/ 144 w 1111"/>
                <a:gd name="T65" fmla="*/ 269 h 1151"/>
                <a:gd name="T66" fmla="*/ 80 w 1111"/>
                <a:gd name="T67" fmla="*/ 232 h 1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11" h="1151">
                  <a:moveTo>
                    <a:pt x="80" y="232"/>
                  </a:moveTo>
                  <a:lnTo>
                    <a:pt x="80" y="232"/>
                  </a:lnTo>
                  <a:lnTo>
                    <a:pt x="0" y="371"/>
                  </a:lnTo>
                  <a:lnTo>
                    <a:pt x="144" y="454"/>
                  </a:lnTo>
                  <a:lnTo>
                    <a:pt x="365" y="326"/>
                  </a:lnTo>
                  <a:lnTo>
                    <a:pt x="365" y="160"/>
                  </a:lnTo>
                  <a:lnTo>
                    <a:pt x="526" y="160"/>
                  </a:lnTo>
                  <a:lnTo>
                    <a:pt x="526" y="326"/>
                  </a:lnTo>
                  <a:lnTo>
                    <a:pt x="747" y="454"/>
                  </a:lnTo>
                  <a:lnTo>
                    <a:pt x="891" y="371"/>
                  </a:lnTo>
                  <a:lnTo>
                    <a:pt x="972" y="510"/>
                  </a:lnTo>
                  <a:lnTo>
                    <a:pt x="827" y="593"/>
                  </a:lnTo>
                  <a:lnTo>
                    <a:pt x="827" y="849"/>
                  </a:lnTo>
                  <a:lnTo>
                    <a:pt x="972" y="932"/>
                  </a:lnTo>
                  <a:lnTo>
                    <a:pt x="891" y="1071"/>
                  </a:lnTo>
                  <a:lnTo>
                    <a:pt x="1030" y="1151"/>
                  </a:lnTo>
                  <a:lnTo>
                    <a:pt x="1111" y="1013"/>
                  </a:lnTo>
                  <a:lnTo>
                    <a:pt x="1052" y="793"/>
                  </a:lnTo>
                  <a:lnTo>
                    <a:pt x="988" y="756"/>
                  </a:lnTo>
                  <a:lnTo>
                    <a:pt x="988" y="686"/>
                  </a:lnTo>
                  <a:lnTo>
                    <a:pt x="1052" y="649"/>
                  </a:lnTo>
                  <a:lnTo>
                    <a:pt x="1111" y="430"/>
                  </a:lnTo>
                  <a:lnTo>
                    <a:pt x="1111" y="430"/>
                  </a:lnTo>
                  <a:lnTo>
                    <a:pt x="1030" y="291"/>
                  </a:lnTo>
                  <a:lnTo>
                    <a:pt x="811" y="232"/>
                  </a:lnTo>
                  <a:lnTo>
                    <a:pt x="747" y="269"/>
                  </a:lnTo>
                  <a:lnTo>
                    <a:pt x="686" y="234"/>
                  </a:lnTo>
                  <a:lnTo>
                    <a:pt x="686" y="160"/>
                  </a:lnTo>
                  <a:lnTo>
                    <a:pt x="526" y="0"/>
                  </a:lnTo>
                  <a:lnTo>
                    <a:pt x="365" y="0"/>
                  </a:lnTo>
                  <a:lnTo>
                    <a:pt x="205" y="160"/>
                  </a:lnTo>
                  <a:lnTo>
                    <a:pt x="205" y="234"/>
                  </a:lnTo>
                  <a:lnTo>
                    <a:pt x="144" y="269"/>
                  </a:lnTo>
                  <a:lnTo>
                    <a:pt x="80" y="2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0" name="Freeform 239">
              <a:extLst>
                <a:ext uri="{FF2B5EF4-FFF2-40B4-BE49-F238E27FC236}">
                  <a16:creationId xmlns:a16="http://schemas.microsoft.com/office/drawing/2014/main" id="{BC43C7E2-D064-4A39-B671-B2F26CC90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6651" y="4543426"/>
              <a:ext cx="107950" cy="101600"/>
            </a:xfrm>
            <a:custGeom>
              <a:avLst/>
              <a:gdLst>
                <a:gd name="T0" fmla="*/ 138 w 299"/>
                <a:gd name="T1" fmla="*/ 278 h 278"/>
                <a:gd name="T2" fmla="*/ 299 w 299"/>
                <a:gd name="T3" fmla="*/ 0 h 278"/>
                <a:gd name="T4" fmla="*/ 80 w 299"/>
                <a:gd name="T5" fmla="*/ 59 h 278"/>
                <a:gd name="T6" fmla="*/ 0 w 299"/>
                <a:gd name="T7" fmla="*/ 198 h 278"/>
                <a:gd name="T8" fmla="*/ 138 w 299"/>
                <a:gd name="T9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9" h="278">
                  <a:moveTo>
                    <a:pt x="138" y="278"/>
                  </a:moveTo>
                  <a:lnTo>
                    <a:pt x="299" y="0"/>
                  </a:lnTo>
                  <a:lnTo>
                    <a:pt x="80" y="59"/>
                  </a:lnTo>
                  <a:lnTo>
                    <a:pt x="0" y="198"/>
                  </a:lnTo>
                  <a:lnTo>
                    <a:pt x="138" y="2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1" name="Freeform 240">
              <a:extLst>
                <a:ext uri="{FF2B5EF4-FFF2-40B4-BE49-F238E27FC236}">
                  <a16:creationId xmlns:a16="http://schemas.microsoft.com/office/drawing/2014/main" id="{A5DAD418-4184-44F6-BCD2-BC90B6CAD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6651" y="4543426"/>
              <a:ext cx="107950" cy="101600"/>
            </a:xfrm>
            <a:custGeom>
              <a:avLst/>
              <a:gdLst>
                <a:gd name="T0" fmla="*/ 0 w 299"/>
                <a:gd name="T1" fmla="*/ 198 h 278"/>
                <a:gd name="T2" fmla="*/ 0 w 299"/>
                <a:gd name="T3" fmla="*/ 198 h 278"/>
                <a:gd name="T4" fmla="*/ 80 w 299"/>
                <a:gd name="T5" fmla="*/ 59 h 278"/>
                <a:gd name="T6" fmla="*/ 299 w 299"/>
                <a:gd name="T7" fmla="*/ 0 h 278"/>
                <a:gd name="T8" fmla="*/ 138 w 299"/>
                <a:gd name="T9" fmla="*/ 278 h 278"/>
                <a:gd name="T10" fmla="*/ 0 w 299"/>
                <a:gd name="T11" fmla="*/ 19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9" h="278">
                  <a:moveTo>
                    <a:pt x="0" y="198"/>
                  </a:moveTo>
                  <a:lnTo>
                    <a:pt x="0" y="198"/>
                  </a:lnTo>
                  <a:lnTo>
                    <a:pt x="80" y="59"/>
                  </a:lnTo>
                  <a:lnTo>
                    <a:pt x="299" y="0"/>
                  </a:lnTo>
                  <a:lnTo>
                    <a:pt x="138" y="278"/>
                  </a:lnTo>
                  <a:lnTo>
                    <a:pt x="0" y="1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2" name="Freeform 241">
              <a:extLst>
                <a:ext uri="{FF2B5EF4-FFF2-40B4-BE49-F238E27FC236}">
                  <a16:creationId xmlns:a16="http://schemas.microsoft.com/office/drawing/2014/main" id="{353E7ADD-04FE-4FEA-8B67-FB391F6DD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6651" y="4614863"/>
              <a:ext cx="268288" cy="365125"/>
            </a:xfrm>
            <a:custGeom>
              <a:avLst/>
              <a:gdLst>
                <a:gd name="T0" fmla="*/ 584 w 745"/>
                <a:gd name="T1" fmla="*/ 852 h 1013"/>
                <a:gd name="T2" fmla="*/ 584 w 745"/>
                <a:gd name="T3" fmla="*/ 852 h 1013"/>
                <a:gd name="T4" fmla="*/ 584 w 745"/>
                <a:gd name="T5" fmla="*/ 686 h 1013"/>
                <a:gd name="T6" fmla="*/ 363 w 745"/>
                <a:gd name="T7" fmla="*/ 558 h 1013"/>
                <a:gd name="T8" fmla="*/ 219 w 745"/>
                <a:gd name="T9" fmla="*/ 641 h 1013"/>
                <a:gd name="T10" fmla="*/ 138 w 745"/>
                <a:gd name="T11" fmla="*/ 502 h 1013"/>
                <a:gd name="T12" fmla="*/ 283 w 745"/>
                <a:gd name="T13" fmla="*/ 419 h 1013"/>
                <a:gd name="T14" fmla="*/ 283 w 745"/>
                <a:gd name="T15" fmla="*/ 163 h 1013"/>
                <a:gd name="T16" fmla="*/ 0 w 745"/>
                <a:gd name="T17" fmla="*/ 0 h 1013"/>
                <a:gd name="T18" fmla="*/ 58 w 745"/>
                <a:gd name="T19" fmla="*/ 219 h 1013"/>
                <a:gd name="T20" fmla="*/ 122 w 745"/>
                <a:gd name="T21" fmla="*/ 256 h 1013"/>
                <a:gd name="T22" fmla="*/ 122 w 745"/>
                <a:gd name="T23" fmla="*/ 326 h 1013"/>
                <a:gd name="T24" fmla="*/ 58 w 745"/>
                <a:gd name="T25" fmla="*/ 363 h 1013"/>
                <a:gd name="T26" fmla="*/ 0 w 745"/>
                <a:gd name="T27" fmla="*/ 583 h 1013"/>
                <a:gd name="T28" fmla="*/ 80 w 745"/>
                <a:gd name="T29" fmla="*/ 721 h 1013"/>
                <a:gd name="T30" fmla="*/ 299 w 745"/>
                <a:gd name="T31" fmla="*/ 780 h 1013"/>
                <a:gd name="T32" fmla="*/ 363 w 745"/>
                <a:gd name="T33" fmla="*/ 743 h 1013"/>
                <a:gd name="T34" fmla="*/ 424 w 745"/>
                <a:gd name="T35" fmla="*/ 778 h 1013"/>
                <a:gd name="T36" fmla="*/ 424 w 745"/>
                <a:gd name="T37" fmla="*/ 852 h 1013"/>
                <a:gd name="T38" fmla="*/ 584 w 745"/>
                <a:gd name="T39" fmla="*/ 1013 h 1013"/>
                <a:gd name="T40" fmla="*/ 745 w 745"/>
                <a:gd name="T41" fmla="*/ 1013 h 1013"/>
                <a:gd name="T42" fmla="*/ 745 w 745"/>
                <a:gd name="T43" fmla="*/ 852 h 1013"/>
                <a:gd name="T44" fmla="*/ 584 w 745"/>
                <a:gd name="T45" fmla="*/ 852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45" h="1013">
                  <a:moveTo>
                    <a:pt x="584" y="852"/>
                  </a:moveTo>
                  <a:lnTo>
                    <a:pt x="584" y="852"/>
                  </a:lnTo>
                  <a:lnTo>
                    <a:pt x="584" y="686"/>
                  </a:lnTo>
                  <a:lnTo>
                    <a:pt x="363" y="558"/>
                  </a:lnTo>
                  <a:lnTo>
                    <a:pt x="219" y="641"/>
                  </a:lnTo>
                  <a:lnTo>
                    <a:pt x="138" y="502"/>
                  </a:lnTo>
                  <a:lnTo>
                    <a:pt x="283" y="419"/>
                  </a:lnTo>
                  <a:lnTo>
                    <a:pt x="283" y="163"/>
                  </a:lnTo>
                  <a:lnTo>
                    <a:pt x="0" y="0"/>
                  </a:lnTo>
                  <a:lnTo>
                    <a:pt x="58" y="219"/>
                  </a:lnTo>
                  <a:lnTo>
                    <a:pt x="122" y="256"/>
                  </a:lnTo>
                  <a:lnTo>
                    <a:pt x="122" y="326"/>
                  </a:lnTo>
                  <a:lnTo>
                    <a:pt x="58" y="363"/>
                  </a:lnTo>
                  <a:lnTo>
                    <a:pt x="0" y="583"/>
                  </a:lnTo>
                  <a:lnTo>
                    <a:pt x="80" y="721"/>
                  </a:lnTo>
                  <a:lnTo>
                    <a:pt x="299" y="780"/>
                  </a:lnTo>
                  <a:lnTo>
                    <a:pt x="363" y="743"/>
                  </a:lnTo>
                  <a:lnTo>
                    <a:pt x="424" y="778"/>
                  </a:lnTo>
                  <a:lnTo>
                    <a:pt x="424" y="852"/>
                  </a:lnTo>
                  <a:lnTo>
                    <a:pt x="584" y="1013"/>
                  </a:lnTo>
                  <a:lnTo>
                    <a:pt x="745" y="1013"/>
                  </a:lnTo>
                  <a:lnTo>
                    <a:pt x="745" y="852"/>
                  </a:lnTo>
                  <a:lnTo>
                    <a:pt x="584" y="8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3" name="Freeform 242">
              <a:extLst>
                <a:ext uri="{FF2B5EF4-FFF2-40B4-BE49-F238E27FC236}">
                  <a16:creationId xmlns:a16="http://schemas.microsoft.com/office/drawing/2014/main" id="{BF2B72C8-FCB1-41A8-8E6E-16DEA01F2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50638" y="4633913"/>
              <a:ext cx="266700" cy="371475"/>
            </a:xfrm>
            <a:custGeom>
              <a:avLst/>
              <a:gdLst>
                <a:gd name="T0" fmla="*/ 743 w 743"/>
                <a:gd name="T1" fmla="*/ 950 h 1030"/>
                <a:gd name="T2" fmla="*/ 423 w 743"/>
                <a:gd name="T3" fmla="*/ 396 h 1030"/>
                <a:gd name="T4" fmla="*/ 481 w 743"/>
                <a:gd name="T5" fmla="*/ 240 h 1030"/>
                <a:gd name="T6" fmla="*/ 241 w 743"/>
                <a:gd name="T7" fmla="*/ 0 h 1030"/>
                <a:gd name="T8" fmla="*/ 197 w 743"/>
                <a:gd name="T9" fmla="*/ 4 h 1030"/>
                <a:gd name="T10" fmla="*/ 310 w 743"/>
                <a:gd name="T11" fmla="*/ 201 h 1030"/>
                <a:gd name="T12" fmla="*/ 310 w 743"/>
                <a:gd name="T13" fmla="*/ 201 h 1030"/>
                <a:gd name="T14" fmla="*/ 321 w 743"/>
                <a:gd name="T15" fmla="*/ 240 h 1030"/>
                <a:gd name="T16" fmla="*/ 241 w 743"/>
                <a:gd name="T17" fmla="*/ 320 h 1030"/>
                <a:gd name="T18" fmla="*/ 172 w 743"/>
                <a:gd name="T19" fmla="*/ 281 h 1030"/>
                <a:gd name="T20" fmla="*/ 171 w 743"/>
                <a:gd name="T21" fmla="*/ 281 h 1030"/>
                <a:gd name="T22" fmla="*/ 58 w 743"/>
                <a:gd name="T23" fmla="*/ 84 h 1030"/>
                <a:gd name="T24" fmla="*/ 0 w 743"/>
                <a:gd name="T25" fmla="*/ 240 h 1030"/>
                <a:gd name="T26" fmla="*/ 241 w 743"/>
                <a:gd name="T27" fmla="*/ 481 h 1030"/>
                <a:gd name="T28" fmla="*/ 284 w 743"/>
                <a:gd name="T29" fmla="*/ 477 h 1030"/>
                <a:gd name="T30" fmla="*/ 604 w 743"/>
                <a:gd name="T31" fmla="*/ 1030 h 1030"/>
                <a:gd name="T32" fmla="*/ 743 w 743"/>
                <a:gd name="T33" fmla="*/ 950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1030">
                  <a:moveTo>
                    <a:pt x="743" y="950"/>
                  </a:moveTo>
                  <a:lnTo>
                    <a:pt x="423" y="396"/>
                  </a:lnTo>
                  <a:cubicBezTo>
                    <a:pt x="459" y="354"/>
                    <a:pt x="481" y="300"/>
                    <a:pt x="481" y="240"/>
                  </a:cubicBezTo>
                  <a:cubicBezTo>
                    <a:pt x="481" y="107"/>
                    <a:pt x="373" y="0"/>
                    <a:pt x="241" y="0"/>
                  </a:cubicBezTo>
                  <a:cubicBezTo>
                    <a:pt x="226" y="0"/>
                    <a:pt x="211" y="1"/>
                    <a:pt x="197" y="4"/>
                  </a:cubicBezTo>
                  <a:lnTo>
                    <a:pt x="310" y="201"/>
                  </a:lnTo>
                  <a:lnTo>
                    <a:pt x="310" y="201"/>
                  </a:lnTo>
                  <a:cubicBezTo>
                    <a:pt x="317" y="212"/>
                    <a:pt x="321" y="226"/>
                    <a:pt x="321" y="240"/>
                  </a:cubicBezTo>
                  <a:cubicBezTo>
                    <a:pt x="321" y="284"/>
                    <a:pt x="285" y="320"/>
                    <a:pt x="241" y="320"/>
                  </a:cubicBezTo>
                  <a:cubicBezTo>
                    <a:pt x="211" y="320"/>
                    <a:pt x="185" y="304"/>
                    <a:pt x="172" y="281"/>
                  </a:cubicBezTo>
                  <a:lnTo>
                    <a:pt x="171" y="281"/>
                  </a:lnTo>
                  <a:lnTo>
                    <a:pt x="58" y="84"/>
                  </a:lnTo>
                  <a:cubicBezTo>
                    <a:pt x="22" y="126"/>
                    <a:pt x="0" y="180"/>
                    <a:pt x="0" y="240"/>
                  </a:cubicBezTo>
                  <a:cubicBezTo>
                    <a:pt x="0" y="373"/>
                    <a:pt x="108" y="481"/>
                    <a:pt x="241" y="481"/>
                  </a:cubicBezTo>
                  <a:cubicBezTo>
                    <a:pt x="256" y="481"/>
                    <a:pt x="270" y="479"/>
                    <a:pt x="284" y="477"/>
                  </a:cubicBezTo>
                  <a:lnTo>
                    <a:pt x="604" y="1030"/>
                  </a:lnTo>
                  <a:lnTo>
                    <a:pt x="743" y="9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229" name="Freeform 69">
            <a:extLst>
              <a:ext uri="{FF2B5EF4-FFF2-40B4-BE49-F238E27FC236}">
                <a16:creationId xmlns:a16="http://schemas.microsoft.com/office/drawing/2014/main" id="{AAB2736B-A951-4416-965A-D30EFB1F8974}"/>
              </a:ext>
            </a:extLst>
          </p:cNvPr>
          <p:cNvSpPr>
            <a:spLocks noEditPoints="1"/>
          </p:cNvSpPr>
          <p:nvPr/>
        </p:nvSpPr>
        <p:spPr bwMode="auto">
          <a:xfrm>
            <a:off x="10403001" y="6083301"/>
            <a:ext cx="469900" cy="198438"/>
          </a:xfrm>
          <a:custGeom>
            <a:avLst/>
            <a:gdLst>
              <a:gd name="T0" fmla="*/ 168 w 1303"/>
              <a:gd name="T1" fmla="*/ 31 h 553"/>
              <a:gd name="T2" fmla="*/ 47 w 1303"/>
              <a:gd name="T3" fmla="*/ 348 h 553"/>
              <a:gd name="T4" fmla="*/ 117 w 1303"/>
              <a:gd name="T5" fmla="*/ 549 h 553"/>
              <a:gd name="T6" fmla="*/ 342 w 1303"/>
              <a:gd name="T7" fmla="*/ 388 h 553"/>
              <a:gd name="T8" fmla="*/ 330 w 1303"/>
              <a:gd name="T9" fmla="*/ 414 h 553"/>
              <a:gd name="T10" fmla="*/ 240 w 1303"/>
              <a:gd name="T11" fmla="*/ 549 h 553"/>
              <a:gd name="T12" fmla="*/ 396 w 1303"/>
              <a:gd name="T13" fmla="*/ 468 h 553"/>
              <a:gd name="T14" fmla="*/ 423 w 1303"/>
              <a:gd name="T15" fmla="*/ 474 h 553"/>
              <a:gd name="T16" fmla="*/ 510 w 1303"/>
              <a:gd name="T17" fmla="*/ 451 h 553"/>
              <a:gd name="T18" fmla="*/ 834 w 1303"/>
              <a:gd name="T19" fmla="*/ 477 h 553"/>
              <a:gd name="T20" fmla="*/ 659 w 1303"/>
              <a:gd name="T21" fmla="*/ 372 h 553"/>
              <a:gd name="T22" fmla="*/ 781 w 1303"/>
              <a:gd name="T23" fmla="*/ 355 h 553"/>
              <a:gd name="T24" fmla="*/ 708 w 1303"/>
              <a:gd name="T25" fmla="*/ 516 h 553"/>
              <a:gd name="T26" fmla="*/ 927 w 1303"/>
              <a:gd name="T27" fmla="*/ 381 h 553"/>
              <a:gd name="T28" fmla="*/ 875 w 1303"/>
              <a:gd name="T29" fmla="*/ 530 h 553"/>
              <a:gd name="T30" fmla="*/ 973 w 1303"/>
              <a:gd name="T31" fmla="*/ 466 h 553"/>
              <a:gd name="T32" fmla="*/ 1029 w 1303"/>
              <a:gd name="T33" fmla="*/ 384 h 553"/>
              <a:gd name="T34" fmla="*/ 1104 w 1303"/>
              <a:gd name="T35" fmla="*/ 415 h 553"/>
              <a:gd name="T36" fmla="*/ 1029 w 1303"/>
              <a:gd name="T37" fmla="*/ 549 h 553"/>
              <a:gd name="T38" fmla="*/ 1115 w 1303"/>
              <a:gd name="T39" fmla="*/ 468 h 553"/>
              <a:gd name="T40" fmla="*/ 1142 w 1303"/>
              <a:gd name="T41" fmla="*/ 474 h 553"/>
              <a:gd name="T42" fmla="*/ 1229 w 1303"/>
              <a:gd name="T43" fmla="*/ 451 h 553"/>
              <a:gd name="T44" fmla="*/ 181 w 1303"/>
              <a:gd name="T45" fmla="*/ 67 h 553"/>
              <a:gd name="T46" fmla="*/ 256 w 1303"/>
              <a:gd name="T47" fmla="*/ 98 h 553"/>
              <a:gd name="T48" fmla="*/ 181 w 1303"/>
              <a:gd name="T49" fmla="*/ 232 h 553"/>
              <a:gd name="T50" fmla="*/ 276 w 1303"/>
              <a:gd name="T51" fmla="*/ 166 h 553"/>
              <a:gd name="T52" fmla="*/ 371 w 1303"/>
              <a:gd name="T53" fmla="*/ 96 h 553"/>
              <a:gd name="T54" fmla="*/ 310 w 1303"/>
              <a:gd name="T55" fmla="*/ 69 h 553"/>
              <a:gd name="T56" fmla="*/ 405 w 1303"/>
              <a:gd name="T57" fmla="*/ 162 h 553"/>
              <a:gd name="T58" fmla="*/ 336 w 1303"/>
              <a:gd name="T59" fmla="*/ 159 h 553"/>
              <a:gd name="T60" fmla="*/ 357 w 1303"/>
              <a:gd name="T61" fmla="*/ 206 h 553"/>
              <a:gd name="T62" fmla="*/ 468 w 1303"/>
              <a:gd name="T63" fmla="*/ 67 h 553"/>
              <a:gd name="T64" fmla="*/ 569 w 1303"/>
              <a:gd name="T65" fmla="*/ 130 h 553"/>
              <a:gd name="T66" fmla="*/ 511 w 1303"/>
              <a:gd name="T67" fmla="*/ 87 h 553"/>
              <a:gd name="T68" fmla="*/ 625 w 1303"/>
              <a:gd name="T69" fmla="*/ 178 h 553"/>
              <a:gd name="T70" fmla="*/ 665 w 1303"/>
              <a:gd name="T71" fmla="*/ 162 h 553"/>
              <a:gd name="T72" fmla="*/ 637 w 1303"/>
              <a:gd name="T73" fmla="*/ 67 h 553"/>
              <a:gd name="T74" fmla="*/ 685 w 1303"/>
              <a:gd name="T75" fmla="*/ 93 h 553"/>
              <a:gd name="T76" fmla="*/ 664 w 1303"/>
              <a:gd name="T77" fmla="*/ 132 h 553"/>
              <a:gd name="T78" fmla="*/ 664 w 1303"/>
              <a:gd name="T79" fmla="*/ 235 h 553"/>
              <a:gd name="T80" fmla="*/ 740 w 1303"/>
              <a:gd name="T81" fmla="*/ 67 h 553"/>
              <a:gd name="T82" fmla="*/ 830 w 1303"/>
              <a:gd name="T83" fmla="*/ 3 h 553"/>
              <a:gd name="T84" fmla="*/ 819 w 1303"/>
              <a:gd name="T85" fmla="*/ 67 h 553"/>
              <a:gd name="T86" fmla="*/ 846 w 1303"/>
              <a:gd name="T87" fmla="*/ 82 h 553"/>
              <a:gd name="T88" fmla="*/ 894 w 1303"/>
              <a:gd name="T89" fmla="*/ 235 h 553"/>
              <a:gd name="T90" fmla="*/ 926 w 1303"/>
              <a:gd name="T91" fmla="*/ 196 h 553"/>
              <a:gd name="T92" fmla="*/ 996 w 1303"/>
              <a:gd name="T93" fmla="*/ 232 h 553"/>
              <a:gd name="T94" fmla="*/ 1080 w 1303"/>
              <a:gd name="T95" fmla="*/ 72 h 553"/>
              <a:gd name="T96" fmla="*/ 1022 w 1303"/>
              <a:gd name="T97" fmla="*/ 232 h 553"/>
              <a:gd name="T98" fmla="*/ 1137 w 1303"/>
              <a:gd name="T99" fmla="*/ 71 h 553"/>
              <a:gd name="T100" fmla="*/ 1303 w 1303"/>
              <a:gd name="T101" fmla="*/ 119 h 553"/>
              <a:gd name="T102" fmla="*/ 1250 w 1303"/>
              <a:gd name="T103" fmla="*/ 87 h 553"/>
              <a:gd name="T104" fmla="*/ 1180 w 1303"/>
              <a:gd name="T105" fmla="*/ 97 h 553"/>
              <a:gd name="T106" fmla="*/ 1095 w 1303"/>
              <a:gd name="T107" fmla="*/ 232 h 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303" h="553">
                <a:moveTo>
                  <a:pt x="70" y="232"/>
                </a:moveTo>
                <a:lnTo>
                  <a:pt x="70" y="31"/>
                </a:lnTo>
                <a:lnTo>
                  <a:pt x="0" y="31"/>
                </a:lnTo>
                <a:lnTo>
                  <a:pt x="0" y="4"/>
                </a:lnTo>
                <a:lnTo>
                  <a:pt x="168" y="4"/>
                </a:lnTo>
                <a:lnTo>
                  <a:pt x="168" y="31"/>
                </a:lnTo>
                <a:lnTo>
                  <a:pt x="98" y="31"/>
                </a:lnTo>
                <a:lnTo>
                  <a:pt x="98" y="232"/>
                </a:lnTo>
                <a:lnTo>
                  <a:pt x="70" y="232"/>
                </a:lnTo>
                <a:close/>
                <a:moveTo>
                  <a:pt x="117" y="549"/>
                </a:moveTo>
                <a:lnTo>
                  <a:pt x="117" y="348"/>
                </a:lnTo>
                <a:lnTo>
                  <a:pt x="47" y="348"/>
                </a:lnTo>
                <a:lnTo>
                  <a:pt x="47" y="322"/>
                </a:lnTo>
                <a:lnTo>
                  <a:pt x="215" y="322"/>
                </a:lnTo>
                <a:lnTo>
                  <a:pt x="215" y="348"/>
                </a:lnTo>
                <a:lnTo>
                  <a:pt x="145" y="348"/>
                </a:lnTo>
                <a:lnTo>
                  <a:pt x="145" y="549"/>
                </a:lnTo>
                <a:lnTo>
                  <a:pt x="117" y="549"/>
                </a:lnTo>
                <a:close/>
                <a:moveTo>
                  <a:pt x="240" y="549"/>
                </a:moveTo>
                <a:lnTo>
                  <a:pt x="240" y="322"/>
                </a:lnTo>
                <a:lnTo>
                  <a:pt x="266" y="322"/>
                </a:lnTo>
                <a:lnTo>
                  <a:pt x="266" y="404"/>
                </a:lnTo>
                <a:cubicBezTo>
                  <a:pt x="278" y="388"/>
                  <a:pt x="294" y="381"/>
                  <a:pt x="312" y="381"/>
                </a:cubicBezTo>
                <a:cubicBezTo>
                  <a:pt x="323" y="381"/>
                  <a:pt x="333" y="383"/>
                  <a:pt x="342" y="388"/>
                </a:cubicBezTo>
                <a:cubicBezTo>
                  <a:pt x="350" y="393"/>
                  <a:pt x="356" y="399"/>
                  <a:pt x="360" y="408"/>
                </a:cubicBezTo>
                <a:cubicBezTo>
                  <a:pt x="363" y="416"/>
                  <a:pt x="365" y="429"/>
                  <a:pt x="365" y="445"/>
                </a:cubicBezTo>
                <a:lnTo>
                  <a:pt x="365" y="549"/>
                </a:lnTo>
                <a:lnTo>
                  <a:pt x="339" y="549"/>
                </a:lnTo>
                <a:lnTo>
                  <a:pt x="339" y="445"/>
                </a:lnTo>
                <a:cubicBezTo>
                  <a:pt x="339" y="431"/>
                  <a:pt x="336" y="421"/>
                  <a:pt x="330" y="414"/>
                </a:cubicBezTo>
                <a:cubicBezTo>
                  <a:pt x="325" y="408"/>
                  <a:pt x="317" y="405"/>
                  <a:pt x="307" y="405"/>
                </a:cubicBezTo>
                <a:cubicBezTo>
                  <a:pt x="299" y="405"/>
                  <a:pt x="292" y="407"/>
                  <a:pt x="285" y="411"/>
                </a:cubicBezTo>
                <a:cubicBezTo>
                  <a:pt x="278" y="416"/>
                  <a:pt x="274" y="421"/>
                  <a:pt x="271" y="429"/>
                </a:cubicBezTo>
                <a:cubicBezTo>
                  <a:pt x="268" y="436"/>
                  <a:pt x="266" y="446"/>
                  <a:pt x="266" y="459"/>
                </a:cubicBezTo>
                <a:lnTo>
                  <a:pt x="266" y="549"/>
                </a:lnTo>
                <a:lnTo>
                  <a:pt x="240" y="549"/>
                </a:lnTo>
                <a:close/>
                <a:moveTo>
                  <a:pt x="510" y="496"/>
                </a:moveTo>
                <a:lnTo>
                  <a:pt x="537" y="500"/>
                </a:lnTo>
                <a:cubicBezTo>
                  <a:pt x="532" y="516"/>
                  <a:pt x="524" y="529"/>
                  <a:pt x="513" y="539"/>
                </a:cubicBezTo>
                <a:cubicBezTo>
                  <a:pt x="502" y="548"/>
                  <a:pt x="487" y="553"/>
                  <a:pt x="469" y="553"/>
                </a:cubicBezTo>
                <a:cubicBezTo>
                  <a:pt x="447" y="553"/>
                  <a:pt x="429" y="545"/>
                  <a:pt x="416" y="530"/>
                </a:cubicBezTo>
                <a:cubicBezTo>
                  <a:pt x="403" y="516"/>
                  <a:pt x="396" y="495"/>
                  <a:pt x="396" y="468"/>
                </a:cubicBezTo>
                <a:cubicBezTo>
                  <a:pt x="396" y="440"/>
                  <a:pt x="403" y="419"/>
                  <a:pt x="416" y="404"/>
                </a:cubicBezTo>
                <a:cubicBezTo>
                  <a:pt x="429" y="388"/>
                  <a:pt x="447" y="381"/>
                  <a:pt x="468" y="381"/>
                </a:cubicBezTo>
                <a:cubicBezTo>
                  <a:pt x="488" y="381"/>
                  <a:pt x="505" y="388"/>
                  <a:pt x="518" y="403"/>
                </a:cubicBezTo>
                <a:cubicBezTo>
                  <a:pt x="531" y="418"/>
                  <a:pt x="537" y="439"/>
                  <a:pt x="537" y="466"/>
                </a:cubicBezTo>
                <a:cubicBezTo>
                  <a:pt x="537" y="468"/>
                  <a:pt x="537" y="471"/>
                  <a:pt x="537" y="474"/>
                </a:cubicBezTo>
                <a:lnTo>
                  <a:pt x="423" y="474"/>
                </a:lnTo>
                <a:cubicBezTo>
                  <a:pt x="424" y="492"/>
                  <a:pt x="429" y="506"/>
                  <a:pt x="437" y="515"/>
                </a:cubicBezTo>
                <a:cubicBezTo>
                  <a:pt x="446" y="525"/>
                  <a:pt x="456" y="530"/>
                  <a:pt x="469" y="530"/>
                </a:cubicBezTo>
                <a:cubicBezTo>
                  <a:pt x="479" y="530"/>
                  <a:pt x="487" y="527"/>
                  <a:pt x="494" y="522"/>
                </a:cubicBezTo>
                <a:cubicBezTo>
                  <a:pt x="500" y="516"/>
                  <a:pt x="506" y="508"/>
                  <a:pt x="510" y="496"/>
                </a:cubicBezTo>
                <a:close/>
                <a:moveTo>
                  <a:pt x="424" y="451"/>
                </a:moveTo>
                <a:lnTo>
                  <a:pt x="510" y="451"/>
                </a:lnTo>
                <a:cubicBezTo>
                  <a:pt x="509" y="437"/>
                  <a:pt x="505" y="427"/>
                  <a:pt x="500" y="420"/>
                </a:cubicBezTo>
                <a:cubicBezTo>
                  <a:pt x="492" y="409"/>
                  <a:pt x="481" y="404"/>
                  <a:pt x="468" y="404"/>
                </a:cubicBezTo>
                <a:cubicBezTo>
                  <a:pt x="456" y="404"/>
                  <a:pt x="446" y="408"/>
                  <a:pt x="438" y="416"/>
                </a:cubicBezTo>
                <a:cubicBezTo>
                  <a:pt x="430" y="425"/>
                  <a:pt x="425" y="437"/>
                  <a:pt x="424" y="451"/>
                </a:cubicBezTo>
                <a:close/>
                <a:moveTo>
                  <a:pt x="806" y="469"/>
                </a:moveTo>
                <a:lnTo>
                  <a:pt x="834" y="477"/>
                </a:lnTo>
                <a:cubicBezTo>
                  <a:pt x="828" y="502"/>
                  <a:pt x="817" y="520"/>
                  <a:pt x="802" y="533"/>
                </a:cubicBezTo>
                <a:cubicBezTo>
                  <a:pt x="787" y="546"/>
                  <a:pt x="768" y="553"/>
                  <a:pt x="746" y="553"/>
                </a:cubicBezTo>
                <a:cubicBezTo>
                  <a:pt x="723" y="553"/>
                  <a:pt x="705" y="548"/>
                  <a:pt x="691" y="538"/>
                </a:cubicBezTo>
                <a:cubicBezTo>
                  <a:pt x="676" y="528"/>
                  <a:pt x="665" y="513"/>
                  <a:pt x="658" y="495"/>
                </a:cubicBezTo>
                <a:cubicBezTo>
                  <a:pt x="651" y="476"/>
                  <a:pt x="647" y="455"/>
                  <a:pt x="647" y="434"/>
                </a:cubicBezTo>
                <a:cubicBezTo>
                  <a:pt x="647" y="410"/>
                  <a:pt x="651" y="389"/>
                  <a:pt x="659" y="372"/>
                </a:cubicBezTo>
                <a:cubicBezTo>
                  <a:pt x="668" y="354"/>
                  <a:pt x="680" y="341"/>
                  <a:pt x="695" y="332"/>
                </a:cubicBezTo>
                <a:cubicBezTo>
                  <a:pt x="711" y="322"/>
                  <a:pt x="728" y="318"/>
                  <a:pt x="747" y="318"/>
                </a:cubicBezTo>
                <a:cubicBezTo>
                  <a:pt x="768" y="318"/>
                  <a:pt x="786" y="324"/>
                  <a:pt x="800" y="335"/>
                </a:cubicBezTo>
                <a:cubicBezTo>
                  <a:pt x="815" y="347"/>
                  <a:pt x="825" y="363"/>
                  <a:pt x="830" y="384"/>
                </a:cubicBezTo>
                <a:lnTo>
                  <a:pt x="803" y="391"/>
                </a:lnTo>
                <a:cubicBezTo>
                  <a:pt x="798" y="375"/>
                  <a:pt x="791" y="362"/>
                  <a:pt x="781" y="355"/>
                </a:cubicBezTo>
                <a:cubicBezTo>
                  <a:pt x="772" y="347"/>
                  <a:pt x="760" y="344"/>
                  <a:pt x="746" y="344"/>
                </a:cubicBezTo>
                <a:cubicBezTo>
                  <a:pt x="730" y="344"/>
                  <a:pt x="716" y="348"/>
                  <a:pt x="705" y="356"/>
                </a:cubicBezTo>
                <a:cubicBezTo>
                  <a:pt x="695" y="365"/>
                  <a:pt x="687" y="376"/>
                  <a:pt x="682" y="390"/>
                </a:cubicBezTo>
                <a:cubicBezTo>
                  <a:pt x="678" y="404"/>
                  <a:pt x="676" y="419"/>
                  <a:pt x="676" y="434"/>
                </a:cubicBezTo>
                <a:cubicBezTo>
                  <a:pt x="676" y="453"/>
                  <a:pt x="678" y="470"/>
                  <a:pt x="684" y="484"/>
                </a:cubicBezTo>
                <a:cubicBezTo>
                  <a:pt x="689" y="499"/>
                  <a:pt x="697" y="509"/>
                  <a:pt x="708" y="516"/>
                </a:cubicBezTo>
                <a:cubicBezTo>
                  <a:pt x="719" y="524"/>
                  <a:pt x="731" y="527"/>
                  <a:pt x="744" y="527"/>
                </a:cubicBezTo>
                <a:cubicBezTo>
                  <a:pt x="760" y="527"/>
                  <a:pt x="773" y="522"/>
                  <a:pt x="784" y="513"/>
                </a:cubicBezTo>
                <a:cubicBezTo>
                  <a:pt x="795" y="503"/>
                  <a:pt x="802" y="488"/>
                  <a:pt x="806" y="469"/>
                </a:cubicBezTo>
                <a:close/>
                <a:moveTo>
                  <a:pt x="855" y="467"/>
                </a:moveTo>
                <a:cubicBezTo>
                  <a:pt x="855" y="436"/>
                  <a:pt x="863" y="414"/>
                  <a:pt x="879" y="399"/>
                </a:cubicBezTo>
                <a:cubicBezTo>
                  <a:pt x="892" y="387"/>
                  <a:pt x="908" y="381"/>
                  <a:pt x="927" y="381"/>
                </a:cubicBezTo>
                <a:cubicBezTo>
                  <a:pt x="948" y="381"/>
                  <a:pt x="966" y="388"/>
                  <a:pt x="979" y="403"/>
                </a:cubicBezTo>
                <a:cubicBezTo>
                  <a:pt x="993" y="418"/>
                  <a:pt x="999" y="438"/>
                  <a:pt x="999" y="464"/>
                </a:cubicBezTo>
                <a:cubicBezTo>
                  <a:pt x="999" y="486"/>
                  <a:pt x="996" y="502"/>
                  <a:pt x="990" y="514"/>
                </a:cubicBezTo>
                <a:cubicBezTo>
                  <a:pt x="984" y="526"/>
                  <a:pt x="976" y="536"/>
                  <a:pt x="964" y="542"/>
                </a:cubicBezTo>
                <a:cubicBezTo>
                  <a:pt x="953" y="549"/>
                  <a:pt x="941" y="553"/>
                  <a:pt x="927" y="553"/>
                </a:cubicBezTo>
                <a:cubicBezTo>
                  <a:pt x="906" y="553"/>
                  <a:pt x="889" y="545"/>
                  <a:pt x="875" y="530"/>
                </a:cubicBezTo>
                <a:cubicBezTo>
                  <a:pt x="862" y="516"/>
                  <a:pt x="855" y="494"/>
                  <a:pt x="855" y="467"/>
                </a:cubicBezTo>
                <a:close/>
                <a:moveTo>
                  <a:pt x="882" y="467"/>
                </a:moveTo>
                <a:cubicBezTo>
                  <a:pt x="882" y="488"/>
                  <a:pt x="886" y="504"/>
                  <a:pt x="895" y="514"/>
                </a:cubicBezTo>
                <a:cubicBezTo>
                  <a:pt x="904" y="524"/>
                  <a:pt x="914" y="530"/>
                  <a:pt x="927" y="530"/>
                </a:cubicBezTo>
                <a:cubicBezTo>
                  <a:pt x="940" y="530"/>
                  <a:pt x="951" y="524"/>
                  <a:pt x="960" y="514"/>
                </a:cubicBezTo>
                <a:cubicBezTo>
                  <a:pt x="968" y="503"/>
                  <a:pt x="973" y="487"/>
                  <a:pt x="973" y="466"/>
                </a:cubicBezTo>
                <a:cubicBezTo>
                  <a:pt x="973" y="445"/>
                  <a:pt x="968" y="430"/>
                  <a:pt x="960" y="420"/>
                </a:cubicBezTo>
                <a:cubicBezTo>
                  <a:pt x="951" y="409"/>
                  <a:pt x="940" y="404"/>
                  <a:pt x="927" y="404"/>
                </a:cubicBezTo>
                <a:cubicBezTo>
                  <a:pt x="914" y="404"/>
                  <a:pt x="904" y="409"/>
                  <a:pt x="895" y="420"/>
                </a:cubicBezTo>
                <a:cubicBezTo>
                  <a:pt x="886" y="430"/>
                  <a:pt x="882" y="446"/>
                  <a:pt x="882" y="467"/>
                </a:cubicBezTo>
                <a:close/>
                <a:moveTo>
                  <a:pt x="1029" y="549"/>
                </a:moveTo>
                <a:lnTo>
                  <a:pt x="1029" y="384"/>
                </a:lnTo>
                <a:lnTo>
                  <a:pt x="1053" y="384"/>
                </a:lnTo>
                <a:lnTo>
                  <a:pt x="1053" y="410"/>
                </a:lnTo>
                <a:cubicBezTo>
                  <a:pt x="1059" y="398"/>
                  <a:pt x="1064" y="390"/>
                  <a:pt x="1069" y="386"/>
                </a:cubicBezTo>
                <a:cubicBezTo>
                  <a:pt x="1074" y="383"/>
                  <a:pt x="1080" y="381"/>
                  <a:pt x="1086" y="381"/>
                </a:cubicBezTo>
                <a:cubicBezTo>
                  <a:pt x="1095" y="381"/>
                  <a:pt x="1104" y="384"/>
                  <a:pt x="1113" y="390"/>
                </a:cubicBezTo>
                <a:lnTo>
                  <a:pt x="1104" y="415"/>
                </a:lnTo>
                <a:cubicBezTo>
                  <a:pt x="1097" y="412"/>
                  <a:pt x="1091" y="410"/>
                  <a:pt x="1085" y="410"/>
                </a:cubicBezTo>
                <a:cubicBezTo>
                  <a:pt x="1079" y="410"/>
                  <a:pt x="1074" y="412"/>
                  <a:pt x="1069" y="415"/>
                </a:cubicBezTo>
                <a:cubicBezTo>
                  <a:pt x="1065" y="419"/>
                  <a:pt x="1062" y="424"/>
                  <a:pt x="1060" y="430"/>
                </a:cubicBezTo>
                <a:cubicBezTo>
                  <a:pt x="1057" y="440"/>
                  <a:pt x="1055" y="451"/>
                  <a:pt x="1055" y="463"/>
                </a:cubicBezTo>
                <a:lnTo>
                  <a:pt x="1055" y="549"/>
                </a:lnTo>
                <a:lnTo>
                  <a:pt x="1029" y="549"/>
                </a:lnTo>
                <a:close/>
                <a:moveTo>
                  <a:pt x="1228" y="496"/>
                </a:moveTo>
                <a:lnTo>
                  <a:pt x="1255" y="500"/>
                </a:lnTo>
                <a:cubicBezTo>
                  <a:pt x="1251" y="516"/>
                  <a:pt x="1243" y="529"/>
                  <a:pt x="1232" y="539"/>
                </a:cubicBezTo>
                <a:cubicBezTo>
                  <a:pt x="1220" y="548"/>
                  <a:pt x="1206" y="553"/>
                  <a:pt x="1188" y="553"/>
                </a:cubicBezTo>
                <a:cubicBezTo>
                  <a:pt x="1166" y="553"/>
                  <a:pt x="1148" y="545"/>
                  <a:pt x="1135" y="530"/>
                </a:cubicBezTo>
                <a:cubicBezTo>
                  <a:pt x="1122" y="516"/>
                  <a:pt x="1115" y="495"/>
                  <a:pt x="1115" y="468"/>
                </a:cubicBezTo>
                <a:cubicBezTo>
                  <a:pt x="1115" y="440"/>
                  <a:pt x="1122" y="419"/>
                  <a:pt x="1135" y="404"/>
                </a:cubicBezTo>
                <a:cubicBezTo>
                  <a:pt x="1148" y="388"/>
                  <a:pt x="1166" y="381"/>
                  <a:pt x="1187" y="381"/>
                </a:cubicBezTo>
                <a:cubicBezTo>
                  <a:pt x="1207" y="381"/>
                  <a:pt x="1224" y="388"/>
                  <a:pt x="1237" y="403"/>
                </a:cubicBezTo>
                <a:cubicBezTo>
                  <a:pt x="1250" y="418"/>
                  <a:pt x="1256" y="439"/>
                  <a:pt x="1256" y="466"/>
                </a:cubicBezTo>
                <a:cubicBezTo>
                  <a:pt x="1256" y="468"/>
                  <a:pt x="1256" y="471"/>
                  <a:pt x="1256" y="474"/>
                </a:cubicBezTo>
                <a:lnTo>
                  <a:pt x="1142" y="474"/>
                </a:lnTo>
                <a:cubicBezTo>
                  <a:pt x="1143" y="492"/>
                  <a:pt x="1148" y="506"/>
                  <a:pt x="1156" y="515"/>
                </a:cubicBezTo>
                <a:cubicBezTo>
                  <a:pt x="1165" y="525"/>
                  <a:pt x="1175" y="530"/>
                  <a:pt x="1188" y="530"/>
                </a:cubicBezTo>
                <a:cubicBezTo>
                  <a:pt x="1198" y="530"/>
                  <a:pt x="1206" y="527"/>
                  <a:pt x="1212" y="522"/>
                </a:cubicBezTo>
                <a:cubicBezTo>
                  <a:pt x="1219" y="516"/>
                  <a:pt x="1225" y="508"/>
                  <a:pt x="1228" y="496"/>
                </a:cubicBezTo>
                <a:close/>
                <a:moveTo>
                  <a:pt x="1143" y="451"/>
                </a:moveTo>
                <a:lnTo>
                  <a:pt x="1229" y="451"/>
                </a:lnTo>
                <a:cubicBezTo>
                  <a:pt x="1228" y="437"/>
                  <a:pt x="1224" y="427"/>
                  <a:pt x="1219" y="420"/>
                </a:cubicBezTo>
                <a:cubicBezTo>
                  <a:pt x="1211" y="409"/>
                  <a:pt x="1200" y="404"/>
                  <a:pt x="1187" y="404"/>
                </a:cubicBezTo>
                <a:cubicBezTo>
                  <a:pt x="1175" y="404"/>
                  <a:pt x="1165" y="408"/>
                  <a:pt x="1157" y="416"/>
                </a:cubicBezTo>
                <a:cubicBezTo>
                  <a:pt x="1149" y="425"/>
                  <a:pt x="1144" y="437"/>
                  <a:pt x="1143" y="451"/>
                </a:cubicBezTo>
                <a:close/>
                <a:moveTo>
                  <a:pt x="181" y="232"/>
                </a:moveTo>
                <a:lnTo>
                  <a:pt x="181" y="67"/>
                </a:lnTo>
                <a:lnTo>
                  <a:pt x="205" y="67"/>
                </a:lnTo>
                <a:lnTo>
                  <a:pt x="205" y="92"/>
                </a:lnTo>
                <a:cubicBezTo>
                  <a:pt x="211" y="80"/>
                  <a:pt x="216" y="73"/>
                  <a:pt x="221" y="69"/>
                </a:cubicBezTo>
                <a:cubicBezTo>
                  <a:pt x="226" y="65"/>
                  <a:pt x="232" y="63"/>
                  <a:pt x="238" y="63"/>
                </a:cubicBezTo>
                <a:cubicBezTo>
                  <a:pt x="247" y="63"/>
                  <a:pt x="256" y="66"/>
                  <a:pt x="265" y="72"/>
                </a:cubicBezTo>
                <a:lnTo>
                  <a:pt x="256" y="98"/>
                </a:lnTo>
                <a:cubicBezTo>
                  <a:pt x="249" y="94"/>
                  <a:pt x="243" y="92"/>
                  <a:pt x="237" y="92"/>
                </a:cubicBezTo>
                <a:cubicBezTo>
                  <a:pt x="231" y="92"/>
                  <a:pt x="226" y="94"/>
                  <a:pt x="221" y="98"/>
                </a:cubicBezTo>
                <a:cubicBezTo>
                  <a:pt x="217" y="101"/>
                  <a:pt x="214" y="106"/>
                  <a:pt x="212" y="113"/>
                </a:cubicBezTo>
                <a:cubicBezTo>
                  <a:pt x="209" y="123"/>
                  <a:pt x="207" y="134"/>
                  <a:pt x="207" y="145"/>
                </a:cubicBezTo>
                <a:lnTo>
                  <a:pt x="207" y="232"/>
                </a:lnTo>
                <a:lnTo>
                  <a:pt x="181" y="232"/>
                </a:lnTo>
                <a:close/>
                <a:moveTo>
                  <a:pt x="380" y="211"/>
                </a:moveTo>
                <a:cubicBezTo>
                  <a:pt x="371" y="220"/>
                  <a:pt x="361" y="226"/>
                  <a:pt x="353" y="230"/>
                </a:cubicBezTo>
                <a:cubicBezTo>
                  <a:pt x="344" y="233"/>
                  <a:pt x="334" y="235"/>
                  <a:pt x="324" y="235"/>
                </a:cubicBezTo>
                <a:cubicBezTo>
                  <a:pt x="307" y="235"/>
                  <a:pt x="294" y="231"/>
                  <a:pt x="285" y="222"/>
                </a:cubicBezTo>
                <a:cubicBezTo>
                  <a:pt x="276" y="213"/>
                  <a:pt x="271" y="202"/>
                  <a:pt x="271" y="188"/>
                </a:cubicBezTo>
                <a:cubicBezTo>
                  <a:pt x="271" y="180"/>
                  <a:pt x="273" y="173"/>
                  <a:pt x="276" y="166"/>
                </a:cubicBezTo>
                <a:cubicBezTo>
                  <a:pt x="280" y="159"/>
                  <a:pt x="284" y="154"/>
                  <a:pt x="290" y="150"/>
                </a:cubicBezTo>
                <a:cubicBezTo>
                  <a:pt x="295" y="146"/>
                  <a:pt x="302" y="143"/>
                  <a:pt x="309" y="141"/>
                </a:cubicBezTo>
                <a:cubicBezTo>
                  <a:pt x="314" y="139"/>
                  <a:pt x="321" y="138"/>
                  <a:pt x="332" y="137"/>
                </a:cubicBezTo>
                <a:cubicBezTo>
                  <a:pt x="353" y="134"/>
                  <a:pt x="368" y="131"/>
                  <a:pt x="378" y="127"/>
                </a:cubicBezTo>
                <a:cubicBezTo>
                  <a:pt x="378" y="123"/>
                  <a:pt x="378" y="121"/>
                  <a:pt x="378" y="120"/>
                </a:cubicBezTo>
                <a:cubicBezTo>
                  <a:pt x="378" y="109"/>
                  <a:pt x="376" y="101"/>
                  <a:pt x="371" y="96"/>
                </a:cubicBezTo>
                <a:cubicBezTo>
                  <a:pt x="364" y="90"/>
                  <a:pt x="354" y="86"/>
                  <a:pt x="341" y="86"/>
                </a:cubicBezTo>
                <a:cubicBezTo>
                  <a:pt x="329" y="86"/>
                  <a:pt x="320" y="89"/>
                  <a:pt x="314" y="93"/>
                </a:cubicBezTo>
                <a:cubicBezTo>
                  <a:pt x="308" y="98"/>
                  <a:pt x="304" y="106"/>
                  <a:pt x="301" y="118"/>
                </a:cubicBezTo>
                <a:lnTo>
                  <a:pt x="276" y="114"/>
                </a:lnTo>
                <a:cubicBezTo>
                  <a:pt x="278" y="102"/>
                  <a:pt x="282" y="93"/>
                  <a:pt x="287" y="86"/>
                </a:cubicBezTo>
                <a:cubicBezTo>
                  <a:pt x="292" y="79"/>
                  <a:pt x="300" y="73"/>
                  <a:pt x="310" y="69"/>
                </a:cubicBezTo>
                <a:cubicBezTo>
                  <a:pt x="320" y="65"/>
                  <a:pt x="332" y="63"/>
                  <a:pt x="345" y="63"/>
                </a:cubicBezTo>
                <a:cubicBezTo>
                  <a:pt x="358" y="63"/>
                  <a:pt x="369" y="65"/>
                  <a:pt x="377" y="68"/>
                </a:cubicBezTo>
                <a:cubicBezTo>
                  <a:pt x="385" y="72"/>
                  <a:pt x="391" y="76"/>
                  <a:pt x="395" y="81"/>
                </a:cubicBezTo>
                <a:cubicBezTo>
                  <a:pt x="399" y="86"/>
                  <a:pt x="402" y="92"/>
                  <a:pt x="403" y="100"/>
                </a:cubicBezTo>
                <a:cubicBezTo>
                  <a:pt x="404" y="105"/>
                  <a:pt x="405" y="113"/>
                  <a:pt x="405" y="125"/>
                </a:cubicBezTo>
                <a:lnTo>
                  <a:pt x="405" y="162"/>
                </a:lnTo>
                <a:cubicBezTo>
                  <a:pt x="405" y="188"/>
                  <a:pt x="405" y="205"/>
                  <a:pt x="406" y="212"/>
                </a:cubicBezTo>
                <a:cubicBezTo>
                  <a:pt x="407" y="219"/>
                  <a:pt x="410" y="225"/>
                  <a:pt x="413" y="232"/>
                </a:cubicBezTo>
                <a:lnTo>
                  <a:pt x="385" y="232"/>
                </a:lnTo>
                <a:cubicBezTo>
                  <a:pt x="383" y="226"/>
                  <a:pt x="381" y="219"/>
                  <a:pt x="380" y="211"/>
                </a:cubicBezTo>
                <a:close/>
                <a:moveTo>
                  <a:pt x="378" y="149"/>
                </a:moveTo>
                <a:cubicBezTo>
                  <a:pt x="369" y="153"/>
                  <a:pt x="355" y="157"/>
                  <a:pt x="336" y="159"/>
                </a:cubicBezTo>
                <a:cubicBezTo>
                  <a:pt x="325" y="161"/>
                  <a:pt x="317" y="163"/>
                  <a:pt x="313" y="165"/>
                </a:cubicBezTo>
                <a:cubicBezTo>
                  <a:pt x="309" y="167"/>
                  <a:pt x="305" y="170"/>
                  <a:pt x="303" y="174"/>
                </a:cubicBezTo>
                <a:cubicBezTo>
                  <a:pt x="300" y="178"/>
                  <a:pt x="299" y="182"/>
                  <a:pt x="299" y="187"/>
                </a:cubicBezTo>
                <a:cubicBezTo>
                  <a:pt x="299" y="195"/>
                  <a:pt x="302" y="201"/>
                  <a:pt x="307" y="206"/>
                </a:cubicBezTo>
                <a:cubicBezTo>
                  <a:pt x="312" y="211"/>
                  <a:pt x="320" y="213"/>
                  <a:pt x="330" y="213"/>
                </a:cubicBezTo>
                <a:cubicBezTo>
                  <a:pt x="340" y="213"/>
                  <a:pt x="349" y="211"/>
                  <a:pt x="357" y="206"/>
                </a:cubicBezTo>
                <a:cubicBezTo>
                  <a:pt x="365" y="201"/>
                  <a:pt x="370" y="195"/>
                  <a:pt x="374" y="187"/>
                </a:cubicBezTo>
                <a:cubicBezTo>
                  <a:pt x="377" y="181"/>
                  <a:pt x="378" y="171"/>
                  <a:pt x="378" y="159"/>
                </a:cubicBezTo>
                <a:lnTo>
                  <a:pt x="378" y="149"/>
                </a:lnTo>
                <a:close/>
                <a:moveTo>
                  <a:pt x="445" y="232"/>
                </a:moveTo>
                <a:lnTo>
                  <a:pt x="445" y="67"/>
                </a:lnTo>
                <a:lnTo>
                  <a:pt x="468" y="67"/>
                </a:lnTo>
                <a:lnTo>
                  <a:pt x="468" y="90"/>
                </a:lnTo>
                <a:cubicBezTo>
                  <a:pt x="479" y="72"/>
                  <a:pt x="496" y="63"/>
                  <a:pt x="517" y="63"/>
                </a:cubicBezTo>
                <a:cubicBezTo>
                  <a:pt x="526" y="63"/>
                  <a:pt x="535" y="65"/>
                  <a:pt x="542" y="69"/>
                </a:cubicBezTo>
                <a:cubicBezTo>
                  <a:pt x="550" y="72"/>
                  <a:pt x="556" y="77"/>
                  <a:pt x="560" y="83"/>
                </a:cubicBezTo>
                <a:cubicBezTo>
                  <a:pt x="564" y="88"/>
                  <a:pt x="566" y="95"/>
                  <a:pt x="568" y="103"/>
                </a:cubicBezTo>
                <a:cubicBezTo>
                  <a:pt x="569" y="108"/>
                  <a:pt x="569" y="117"/>
                  <a:pt x="569" y="130"/>
                </a:cubicBezTo>
                <a:lnTo>
                  <a:pt x="569" y="232"/>
                </a:lnTo>
                <a:lnTo>
                  <a:pt x="543" y="232"/>
                </a:lnTo>
                <a:lnTo>
                  <a:pt x="543" y="131"/>
                </a:lnTo>
                <a:cubicBezTo>
                  <a:pt x="543" y="120"/>
                  <a:pt x="542" y="112"/>
                  <a:pt x="540" y="106"/>
                </a:cubicBezTo>
                <a:cubicBezTo>
                  <a:pt x="538" y="100"/>
                  <a:pt x="535" y="96"/>
                  <a:pt x="529" y="92"/>
                </a:cubicBezTo>
                <a:cubicBezTo>
                  <a:pt x="524" y="89"/>
                  <a:pt x="518" y="87"/>
                  <a:pt x="511" y="87"/>
                </a:cubicBezTo>
                <a:cubicBezTo>
                  <a:pt x="500" y="87"/>
                  <a:pt x="491" y="91"/>
                  <a:pt x="483" y="99"/>
                </a:cubicBezTo>
                <a:cubicBezTo>
                  <a:pt x="475" y="106"/>
                  <a:pt x="471" y="121"/>
                  <a:pt x="471" y="142"/>
                </a:cubicBezTo>
                <a:lnTo>
                  <a:pt x="471" y="232"/>
                </a:lnTo>
                <a:lnTo>
                  <a:pt x="445" y="232"/>
                </a:lnTo>
                <a:close/>
                <a:moveTo>
                  <a:pt x="599" y="182"/>
                </a:moveTo>
                <a:lnTo>
                  <a:pt x="625" y="178"/>
                </a:lnTo>
                <a:cubicBezTo>
                  <a:pt x="626" y="189"/>
                  <a:pt x="630" y="197"/>
                  <a:pt x="637" y="203"/>
                </a:cubicBezTo>
                <a:cubicBezTo>
                  <a:pt x="643" y="209"/>
                  <a:pt x="653" y="212"/>
                  <a:pt x="664" y="212"/>
                </a:cubicBezTo>
                <a:cubicBezTo>
                  <a:pt x="676" y="212"/>
                  <a:pt x="685" y="210"/>
                  <a:pt x="691" y="204"/>
                </a:cubicBezTo>
                <a:cubicBezTo>
                  <a:pt x="697" y="199"/>
                  <a:pt x="700" y="193"/>
                  <a:pt x="700" y="186"/>
                </a:cubicBezTo>
                <a:cubicBezTo>
                  <a:pt x="700" y="180"/>
                  <a:pt x="697" y="175"/>
                  <a:pt x="692" y="171"/>
                </a:cubicBezTo>
                <a:cubicBezTo>
                  <a:pt x="688" y="169"/>
                  <a:pt x="679" y="166"/>
                  <a:pt x="665" y="162"/>
                </a:cubicBezTo>
                <a:cubicBezTo>
                  <a:pt x="646" y="157"/>
                  <a:pt x="633" y="152"/>
                  <a:pt x="626" y="148"/>
                </a:cubicBezTo>
                <a:cubicBezTo>
                  <a:pt x="618" y="145"/>
                  <a:pt x="613" y="139"/>
                  <a:pt x="609" y="133"/>
                </a:cubicBezTo>
                <a:cubicBezTo>
                  <a:pt x="605" y="126"/>
                  <a:pt x="603" y="119"/>
                  <a:pt x="603" y="111"/>
                </a:cubicBezTo>
                <a:cubicBezTo>
                  <a:pt x="603" y="103"/>
                  <a:pt x="605" y="97"/>
                  <a:pt x="608" y="90"/>
                </a:cubicBezTo>
                <a:cubicBezTo>
                  <a:pt x="611" y="84"/>
                  <a:pt x="615" y="79"/>
                  <a:pt x="621" y="75"/>
                </a:cubicBezTo>
                <a:cubicBezTo>
                  <a:pt x="625" y="72"/>
                  <a:pt x="630" y="69"/>
                  <a:pt x="637" y="67"/>
                </a:cubicBezTo>
                <a:cubicBezTo>
                  <a:pt x="644" y="64"/>
                  <a:pt x="652" y="63"/>
                  <a:pt x="660" y="63"/>
                </a:cubicBezTo>
                <a:cubicBezTo>
                  <a:pt x="672" y="63"/>
                  <a:pt x="682" y="65"/>
                  <a:pt x="691" y="69"/>
                </a:cubicBezTo>
                <a:cubicBezTo>
                  <a:pt x="700" y="73"/>
                  <a:pt x="707" y="78"/>
                  <a:pt x="712" y="84"/>
                </a:cubicBezTo>
                <a:cubicBezTo>
                  <a:pt x="716" y="90"/>
                  <a:pt x="719" y="99"/>
                  <a:pt x="720" y="110"/>
                </a:cubicBezTo>
                <a:lnTo>
                  <a:pt x="695" y="113"/>
                </a:lnTo>
                <a:cubicBezTo>
                  <a:pt x="694" y="105"/>
                  <a:pt x="690" y="98"/>
                  <a:pt x="685" y="93"/>
                </a:cubicBezTo>
                <a:cubicBezTo>
                  <a:pt x="679" y="89"/>
                  <a:pt x="672" y="86"/>
                  <a:pt x="662" y="86"/>
                </a:cubicBezTo>
                <a:cubicBezTo>
                  <a:pt x="650" y="86"/>
                  <a:pt x="641" y="88"/>
                  <a:pt x="636" y="92"/>
                </a:cubicBezTo>
                <a:cubicBezTo>
                  <a:pt x="631" y="97"/>
                  <a:pt x="628" y="102"/>
                  <a:pt x="628" y="107"/>
                </a:cubicBezTo>
                <a:cubicBezTo>
                  <a:pt x="628" y="111"/>
                  <a:pt x="629" y="114"/>
                  <a:pt x="632" y="117"/>
                </a:cubicBezTo>
                <a:cubicBezTo>
                  <a:pt x="634" y="120"/>
                  <a:pt x="637" y="123"/>
                  <a:pt x="642" y="125"/>
                </a:cubicBezTo>
                <a:cubicBezTo>
                  <a:pt x="644" y="126"/>
                  <a:pt x="652" y="128"/>
                  <a:pt x="664" y="132"/>
                </a:cubicBezTo>
                <a:cubicBezTo>
                  <a:pt x="683" y="137"/>
                  <a:pt x="696" y="141"/>
                  <a:pt x="703" y="145"/>
                </a:cubicBezTo>
                <a:cubicBezTo>
                  <a:pt x="710" y="148"/>
                  <a:pt x="716" y="153"/>
                  <a:pt x="720" y="159"/>
                </a:cubicBezTo>
                <a:cubicBezTo>
                  <a:pt x="724" y="166"/>
                  <a:pt x="726" y="174"/>
                  <a:pt x="726" y="183"/>
                </a:cubicBezTo>
                <a:cubicBezTo>
                  <a:pt x="726" y="192"/>
                  <a:pt x="724" y="201"/>
                  <a:pt x="719" y="209"/>
                </a:cubicBezTo>
                <a:cubicBezTo>
                  <a:pt x="714" y="217"/>
                  <a:pt x="706" y="224"/>
                  <a:pt x="697" y="228"/>
                </a:cubicBezTo>
                <a:cubicBezTo>
                  <a:pt x="687" y="233"/>
                  <a:pt x="677" y="235"/>
                  <a:pt x="664" y="235"/>
                </a:cubicBezTo>
                <a:cubicBezTo>
                  <a:pt x="645" y="235"/>
                  <a:pt x="629" y="231"/>
                  <a:pt x="619" y="222"/>
                </a:cubicBezTo>
                <a:cubicBezTo>
                  <a:pt x="608" y="213"/>
                  <a:pt x="602" y="200"/>
                  <a:pt x="599" y="182"/>
                </a:cubicBezTo>
                <a:close/>
                <a:moveTo>
                  <a:pt x="763" y="232"/>
                </a:moveTo>
                <a:lnTo>
                  <a:pt x="763" y="88"/>
                </a:lnTo>
                <a:lnTo>
                  <a:pt x="740" y="88"/>
                </a:lnTo>
                <a:lnTo>
                  <a:pt x="740" y="67"/>
                </a:lnTo>
                <a:lnTo>
                  <a:pt x="763" y="67"/>
                </a:lnTo>
                <a:lnTo>
                  <a:pt x="763" y="49"/>
                </a:lnTo>
                <a:cubicBezTo>
                  <a:pt x="763" y="38"/>
                  <a:pt x="764" y="30"/>
                  <a:pt x="766" y="25"/>
                </a:cubicBezTo>
                <a:cubicBezTo>
                  <a:pt x="769" y="18"/>
                  <a:pt x="773" y="12"/>
                  <a:pt x="779" y="7"/>
                </a:cubicBezTo>
                <a:cubicBezTo>
                  <a:pt x="785" y="3"/>
                  <a:pt x="794" y="0"/>
                  <a:pt x="806" y="0"/>
                </a:cubicBezTo>
                <a:cubicBezTo>
                  <a:pt x="813" y="0"/>
                  <a:pt x="821" y="1"/>
                  <a:pt x="830" y="3"/>
                </a:cubicBezTo>
                <a:lnTo>
                  <a:pt x="826" y="28"/>
                </a:lnTo>
                <a:cubicBezTo>
                  <a:pt x="821" y="27"/>
                  <a:pt x="816" y="26"/>
                  <a:pt x="811" y="26"/>
                </a:cubicBezTo>
                <a:cubicBezTo>
                  <a:pt x="803" y="26"/>
                  <a:pt x="797" y="28"/>
                  <a:pt x="794" y="32"/>
                </a:cubicBezTo>
                <a:cubicBezTo>
                  <a:pt x="791" y="35"/>
                  <a:pt x="789" y="42"/>
                  <a:pt x="789" y="52"/>
                </a:cubicBezTo>
                <a:lnTo>
                  <a:pt x="789" y="67"/>
                </a:lnTo>
                <a:lnTo>
                  <a:pt x="819" y="67"/>
                </a:lnTo>
                <a:lnTo>
                  <a:pt x="819" y="88"/>
                </a:lnTo>
                <a:lnTo>
                  <a:pt x="789" y="88"/>
                </a:lnTo>
                <a:lnTo>
                  <a:pt x="789" y="232"/>
                </a:lnTo>
                <a:lnTo>
                  <a:pt x="763" y="232"/>
                </a:lnTo>
                <a:close/>
                <a:moveTo>
                  <a:pt x="822" y="149"/>
                </a:moveTo>
                <a:cubicBezTo>
                  <a:pt x="822" y="119"/>
                  <a:pt x="830" y="96"/>
                  <a:pt x="846" y="82"/>
                </a:cubicBezTo>
                <a:cubicBezTo>
                  <a:pt x="859" y="69"/>
                  <a:pt x="875" y="63"/>
                  <a:pt x="894" y="63"/>
                </a:cubicBezTo>
                <a:cubicBezTo>
                  <a:pt x="915" y="63"/>
                  <a:pt x="932" y="71"/>
                  <a:pt x="946" y="86"/>
                </a:cubicBezTo>
                <a:cubicBezTo>
                  <a:pt x="959" y="100"/>
                  <a:pt x="966" y="121"/>
                  <a:pt x="966" y="147"/>
                </a:cubicBezTo>
                <a:cubicBezTo>
                  <a:pt x="966" y="168"/>
                  <a:pt x="963" y="185"/>
                  <a:pt x="957" y="197"/>
                </a:cubicBezTo>
                <a:cubicBezTo>
                  <a:pt x="951" y="209"/>
                  <a:pt x="942" y="218"/>
                  <a:pt x="931" y="225"/>
                </a:cubicBezTo>
                <a:cubicBezTo>
                  <a:pt x="920" y="232"/>
                  <a:pt x="907" y="235"/>
                  <a:pt x="894" y="235"/>
                </a:cubicBezTo>
                <a:cubicBezTo>
                  <a:pt x="873" y="235"/>
                  <a:pt x="855" y="228"/>
                  <a:pt x="842" y="213"/>
                </a:cubicBezTo>
                <a:cubicBezTo>
                  <a:pt x="829" y="198"/>
                  <a:pt x="822" y="177"/>
                  <a:pt x="822" y="149"/>
                </a:cubicBezTo>
                <a:close/>
                <a:moveTo>
                  <a:pt x="849" y="149"/>
                </a:moveTo>
                <a:cubicBezTo>
                  <a:pt x="849" y="170"/>
                  <a:pt x="853" y="186"/>
                  <a:pt x="862" y="196"/>
                </a:cubicBezTo>
                <a:cubicBezTo>
                  <a:pt x="870" y="207"/>
                  <a:pt x="881" y="212"/>
                  <a:pt x="894" y="212"/>
                </a:cubicBezTo>
                <a:cubicBezTo>
                  <a:pt x="907" y="212"/>
                  <a:pt x="918" y="207"/>
                  <a:pt x="926" y="196"/>
                </a:cubicBezTo>
                <a:cubicBezTo>
                  <a:pt x="935" y="186"/>
                  <a:pt x="939" y="170"/>
                  <a:pt x="939" y="148"/>
                </a:cubicBezTo>
                <a:cubicBezTo>
                  <a:pt x="939" y="128"/>
                  <a:pt x="935" y="113"/>
                  <a:pt x="926" y="102"/>
                </a:cubicBezTo>
                <a:cubicBezTo>
                  <a:pt x="918" y="92"/>
                  <a:pt x="907" y="86"/>
                  <a:pt x="894" y="86"/>
                </a:cubicBezTo>
                <a:cubicBezTo>
                  <a:pt x="881" y="86"/>
                  <a:pt x="870" y="92"/>
                  <a:pt x="862" y="102"/>
                </a:cubicBezTo>
                <a:cubicBezTo>
                  <a:pt x="853" y="112"/>
                  <a:pt x="849" y="128"/>
                  <a:pt x="849" y="149"/>
                </a:cubicBezTo>
                <a:close/>
                <a:moveTo>
                  <a:pt x="996" y="232"/>
                </a:moveTo>
                <a:lnTo>
                  <a:pt x="996" y="67"/>
                </a:lnTo>
                <a:lnTo>
                  <a:pt x="1019" y="67"/>
                </a:lnTo>
                <a:lnTo>
                  <a:pt x="1019" y="92"/>
                </a:lnTo>
                <a:cubicBezTo>
                  <a:pt x="1025" y="80"/>
                  <a:pt x="1031" y="73"/>
                  <a:pt x="1036" y="69"/>
                </a:cubicBezTo>
                <a:cubicBezTo>
                  <a:pt x="1041" y="65"/>
                  <a:pt x="1047" y="63"/>
                  <a:pt x="1053" y="63"/>
                </a:cubicBezTo>
                <a:cubicBezTo>
                  <a:pt x="1062" y="63"/>
                  <a:pt x="1070" y="66"/>
                  <a:pt x="1080" y="72"/>
                </a:cubicBezTo>
                <a:lnTo>
                  <a:pt x="1070" y="98"/>
                </a:lnTo>
                <a:cubicBezTo>
                  <a:pt x="1064" y="94"/>
                  <a:pt x="1058" y="92"/>
                  <a:pt x="1051" y="92"/>
                </a:cubicBezTo>
                <a:cubicBezTo>
                  <a:pt x="1046" y="92"/>
                  <a:pt x="1041" y="94"/>
                  <a:pt x="1036" y="98"/>
                </a:cubicBezTo>
                <a:cubicBezTo>
                  <a:pt x="1032" y="101"/>
                  <a:pt x="1028" y="106"/>
                  <a:pt x="1026" y="113"/>
                </a:cubicBezTo>
                <a:cubicBezTo>
                  <a:pt x="1024" y="123"/>
                  <a:pt x="1022" y="134"/>
                  <a:pt x="1022" y="145"/>
                </a:cubicBezTo>
                <a:lnTo>
                  <a:pt x="1022" y="232"/>
                </a:lnTo>
                <a:lnTo>
                  <a:pt x="996" y="232"/>
                </a:lnTo>
                <a:close/>
                <a:moveTo>
                  <a:pt x="1095" y="232"/>
                </a:moveTo>
                <a:lnTo>
                  <a:pt x="1095" y="67"/>
                </a:lnTo>
                <a:lnTo>
                  <a:pt x="1118" y="67"/>
                </a:lnTo>
                <a:lnTo>
                  <a:pt x="1118" y="90"/>
                </a:lnTo>
                <a:cubicBezTo>
                  <a:pt x="1123" y="82"/>
                  <a:pt x="1129" y="76"/>
                  <a:pt x="1137" y="71"/>
                </a:cubicBezTo>
                <a:cubicBezTo>
                  <a:pt x="1145" y="66"/>
                  <a:pt x="1155" y="63"/>
                  <a:pt x="1165" y="63"/>
                </a:cubicBezTo>
                <a:cubicBezTo>
                  <a:pt x="1176" y="63"/>
                  <a:pt x="1185" y="66"/>
                  <a:pt x="1193" y="71"/>
                </a:cubicBezTo>
                <a:cubicBezTo>
                  <a:pt x="1200" y="76"/>
                  <a:pt x="1205" y="83"/>
                  <a:pt x="1208" y="92"/>
                </a:cubicBezTo>
                <a:cubicBezTo>
                  <a:pt x="1220" y="73"/>
                  <a:pt x="1236" y="63"/>
                  <a:pt x="1256" y="63"/>
                </a:cubicBezTo>
                <a:cubicBezTo>
                  <a:pt x="1271" y="63"/>
                  <a:pt x="1283" y="68"/>
                  <a:pt x="1291" y="77"/>
                </a:cubicBezTo>
                <a:cubicBezTo>
                  <a:pt x="1299" y="86"/>
                  <a:pt x="1303" y="100"/>
                  <a:pt x="1303" y="119"/>
                </a:cubicBezTo>
                <a:lnTo>
                  <a:pt x="1303" y="232"/>
                </a:lnTo>
                <a:lnTo>
                  <a:pt x="1277" y="232"/>
                </a:lnTo>
                <a:lnTo>
                  <a:pt x="1277" y="128"/>
                </a:lnTo>
                <a:cubicBezTo>
                  <a:pt x="1277" y="117"/>
                  <a:pt x="1276" y="109"/>
                  <a:pt x="1275" y="104"/>
                </a:cubicBezTo>
                <a:cubicBezTo>
                  <a:pt x="1273" y="99"/>
                  <a:pt x="1270" y="95"/>
                  <a:pt x="1265" y="92"/>
                </a:cubicBezTo>
                <a:cubicBezTo>
                  <a:pt x="1261" y="89"/>
                  <a:pt x="1256" y="87"/>
                  <a:pt x="1250" y="87"/>
                </a:cubicBezTo>
                <a:cubicBezTo>
                  <a:pt x="1239" y="87"/>
                  <a:pt x="1230" y="91"/>
                  <a:pt x="1223" y="99"/>
                </a:cubicBezTo>
                <a:cubicBezTo>
                  <a:pt x="1216" y="107"/>
                  <a:pt x="1212" y="119"/>
                  <a:pt x="1212" y="136"/>
                </a:cubicBezTo>
                <a:lnTo>
                  <a:pt x="1212" y="232"/>
                </a:lnTo>
                <a:lnTo>
                  <a:pt x="1186" y="232"/>
                </a:lnTo>
                <a:lnTo>
                  <a:pt x="1186" y="125"/>
                </a:lnTo>
                <a:cubicBezTo>
                  <a:pt x="1186" y="112"/>
                  <a:pt x="1184" y="103"/>
                  <a:pt x="1180" y="97"/>
                </a:cubicBezTo>
                <a:cubicBezTo>
                  <a:pt x="1175" y="91"/>
                  <a:pt x="1168" y="87"/>
                  <a:pt x="1159" y="87"/>
                </a:cubicBezTo>
                <a:cubicBezTo>
                  <a:pt x="1152" y="87"/>
                  <a:pt x="1145" y="89"/>
                  <a:pt x="1139" y="94"/>
                </a:cubicBezTo>
                <a:cubicBezTo>
                  <a:pt x="1132" y="98"/>
                  <a:pt x="1128" y="104"/>
                  <a:pt x="1125" y="112"/>
                </a:cubicBezTo>
                <a:cubicBezTo>
                  <a:pt x="1122" y="120"/>
                  <a:pt x="1121" y="131"/>
                  <a:pt x="1121" y="146"/>
                </a:cubicBezTo>
                <a:lnTo>
                  <a:pt x="1121" y="232"/>
                </a:lnTo>
                <a:lnTo>
                  <a:pt x="1095" y="23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8" name="Group 407">
            <a:extLst>
              <a:ext uri="{FF2B5EF4-FFF2-40B4-BE49-F238E27FC236}">
                <a16:creationId xmlns:a16="http://schemas.microsoft.com/office/drawing/2014/main" id="{FD60C641-2B06-4F5C-A228-E2B79EC26C25}"/>
              </a:ext>
            </a:extLst>
          </p:cNvPr>
          <p:cNvGrpSpPr/>
          <p:nvPr/>
        </p:nvGrpSpPr>
        <p:grpSpPr>
          <a:xfrm>
            <a:off x="10347438" y="5472113"/>
            <a:ext cx="577850" cy="576262"/>
            <a:chOff x="10347438" y="5472113"/>
            <a:chExt cx="577850" cy="576262"/>
          </a:xfrm>
          <a:solidFill>
            <a:schemeClr val="accent1"/>
          </a:solidFill>
        </p:grpSpPr>
        <p:sp>
          <p:nvSpPr>
            <p:cNvPr id="44" name="Freeform 243">
              <a:extLst>
                <a:ext uri="{FF2B5EF4-FFF2-40B4-BE49-F238E27FC236}">
                  <a16:creationId xmlns:a16="http://schemas.microsoft.com/office/drawing/2014/main" id="{672F217D-703B-4D50-8A8B-BFF5E5A8B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7601" y="5730875"/>
              <a:ext cx="230188" cy="317500"/>
            </a:xfrm>
            <a:custGeom>
              <a:avLst/>
              <a:gdLst>
                <a:gd name="T0" fmla="*/ 0 w 641"/>
                <a:gd name="T1" fmla="*/ 882 h 882"/>
                <a:gd name="T2" fmla="*/ 0 w 641"/>
                <a:gd name="T3" fmla="*/ 401 h 882"/>
                <a:gd name="T4" fmla="*/ 320 w 641"/>
                <a:gd name="T5" fmla="*/ 0 h 882"/>
                <a:gd name="T6" fmla="*/ 561 w 641"/>
                <a:gd name="T7" fmla="*/ 0 h 882"/>
                <a:gd name="T8" fmla="*/ 561 w 641"/>
                <a:gd name="T9" fmla="*/ 160 h 882"/>
                <a:gd name="T10" fmla="*/ 396 w 641"/>
                <a:gd name="T11" fmla="*/ 160 h 882"/>
                <a:gd name="T12" fmla="*/ 160 w 641"/>
                <a:gd name="T13" fmla="*/ 455 h 882"/>
                <a:gd name="T14" fmla="*/ 160 w 641"/>
                <a:gd name="T15" fmla="*/ 722 h 882"/>
                <a:gd name="T16" fmla="*/ 401 w 641"/>
                <a:gd name="T17" fmla="*/ 722 h 882"/>
                <a:gd name="T18" fmla="*/ 451 w 641"/>
                <a:gd name="T19" fmla="*/ 641 h 882"/>
                <a:gd name="T20" fmla="*/ 641 w 641"/>
                <a:gd name="T21" fmla="*/ 641 h 882"/>
                <a:gd name="T22" fmla="*/ 481 w 641"/>
                <a:gd name="T23" fmla="*/ 882 h 882"/>
                <a:gd name="T24" fmla="*/ 0 w 641"/>
                <a:gd name="T25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1" h="882">
                  <a:moveTo>
                    <a:pt x="0" y="882"/>
                  </a:moveTo>
                  <a:lnTo>
                    <a:pt x="0" y="401"/>
                  </a:lnTo>
                  <a:lnTo>
                    <a:pt x="320" y="0"/>
                  </a:lnTo>
                  <a:lnTo>
                    <a:pt x="561" y="0"/>
                  </a:lnTo>
                  <a:lnTo>
                    <a:pt x="561" y="160"/>
                  </a:lnTo>
                  <a:lnTo>
                    <a:pt x="396" y="160"/>
                  </a:lnTo>
                  <a:lnTo>
                    <a:pt x="160" y="455"/>
                  </a:lnTo>
                  <a:lnTo>
                    <a:pt x="160" y="722"/>
                  </a:lnTo>
                  <a:lnTo>
                    <a:pt x="401" y="722"/>
                  </a:lnTo>
                  <a:lnTo>
                    <a:pt x="451" y="641"/>
                  </a:lnTo>
                  <a:lnTo>
                    <a:pt x="641" y="641"/>
                  </a:lnTo>
                  <a:lnTo>
                    <a:pt x="481" y="882"/>
                  </a:lnTo>
                  <a:lnTo>
                    <a:pt x="0" y="8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5" name="Freeform 244">
              <a:extLst>
                <a:ext uri="{FF2B5EF4-FFF2-40B4-BE49-F238E27FC236}">
                  <a16:creationId xmlns:a16="http://schemas.microsoft.com/office/drawing/2014/main" id="{8F028C65-BC58-4B72-BFFF-1B9C38687A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66526" y="5730875"/>
              <a:ext cx="230188" cy="317500"/>
            </a:xfrm>
            <a:custGeom>
              <a:avLst/>
              <a:gdLst>
                <a:gd name="T0" fmla="*/ 642 w 642"/>
                <a:gd name="T1" fmla="*/ 882 h 882"/>
                <a:gd name="T2" fmla="*/ 642 w 642"/>
                <a:gd name="T3" fmla="*/ 401 h 882"/>
                <a:gd name="T4" fmla="*/ 321 w 642"/>
                <a:gd name="T5" fmla="*/ 0 h 882"/>
                <a:gd name="T6" fmla="*/ 81 w 642"/>
                <a:gd name="T7" fmla="*/ 0 h 882"/>
                <a:gd name="T8" fmla="*/ 81 w 642"/>
                <a:gd name="T9" fmla="*/ 160 h 882"/>
                <a:gd name="T10" fmla="*/ 245 w 642"/>
                <a:gd name="T11" fmla="*/ 160 h 882"/>
                <a:gd name="T12" fmla="*/ 481 w 642"/>
                <a:gd name="T13" fmla="*/ 455 h 882"/>
                <a:gd name="T14" fmla="*/ 481 w 642"/>
                <a:gd name="T15" fmla="*/ 722 h 882"/>
                <a:gd name="T16" fmla="*/ 241 w 642"/>
                <a:gd name="T17" fmla="*/ 722 h 882"/>
                <a:gd name="T18" fmla="*/ 190 w 642"/>
                <a:gd name="T19" fmla="*/ 641 h 882"/>
                <a:gd name="T20" fmla="*/ 0 w 642"/>
                <a:gd name="T21" fmla="*/ 641 h 882"/>
                <a:gd name="T22" fmla="*/ 161 w 642"/>
                <a:gd name="T23" fmla="*/ 882 h 882"/>
                <a:gd name="T24" fmla="*/ 642 w 642"/>
                <a:gd name="T25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2" h="882">
                  <a:moveTo>
                    <a:pt x="642" y="882"/>
                  </a:moveTo>
                  <a:lnTo>
                    <a:pt x="642" y="401"/>
                  </a:lnTo>
                  <a:lnTo>
                    <a:pt x="321" y="0"/>
                  </a:lnTo>
                  <a:lnTo>
                    <a:pt x="81" y="0"/>
                  </a:lnTo>
                  <a:lnTo>
                    <a:pt x="81" y="160"/>
                  </a:lnTo>
                  <a:lnTo>
                    <a:pt x="245" y="160"/>
                  </a:lnTo>
                  <a:lnTo>
                    <a:pt x="481" y="455"/>
                  </a:lnTo>
                  <a:lnTo>
                    <a:pt x="481" y="722"/>
                  </a:lnTo>
                  <a:lnTo>
                    <a:pt x="241" y="722"/>
                  </a:lnTo>
                  <a:lnTo>
                    <a:pt x="190" y="641"/>
                  </a:lnTo>
                  <a:lnTo>
                    <a:pt x="0" y="641"/>
                  </a:lnTo>
                  <a:lnTo>
                    <a:pt x="161" y="882"/>
                  </a:lnTo>
                  <a:lnTo>
                    <a:pt x="642" y="8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6" name="Freeform 245">
              <a:extLst>
                <a:ext uri="{FF2B5EF4-FFF2-40B4-BE49-F238E27FC236}">
                  <a16:creationId xmlns:a16="http://schemas.microsoft.com/office/drawing/2014/main" id="{1DF56D6A-740E-4DCB-9D55-FFC748A0D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7438" y="5472113"/>
              <a:ext cx="577850" cy="317500"/>
            </a:xfrm>
            <a:custGeom>
              <a:avLst/>
              <a:gdLst>
                <a:gd name="T0" fmla="*/ 1444 w 1604"/>
                <a:gd name="T1" fmla="*/ 240 h 881"/>
                <a:gd name="T2" fmla="*/ 1043 w 1604"/>
                <a:gd name="T3" fmla="*/ 240 h 881"/>
                <a:gd name="T4" fmla="*/ 963 w 1604"/>
                <a:gd name="T5" fmla="*/ 320 h 881"/>
                <a:gd name="T6" fmla="*/ 945 w 1604"/>
                <a:gd name="T7" fmla="*/ 247 h 881"/>
                <a:gd name="T8" fmla="*/ 1078 w 1604"/>
                <a:gd name="T9" fmla="*/ 114 h 881"/>
                <a:gd name="T10" fmla="*/ 965 w 1604"/>
                <a:gd name="T11" fmla="*/ 0 h 881"/>
                <a:gd name="T12" fmla="*/ 804 w 1604"/>
                <a:gd name="T13" fmla="*/ 160 h 881"/>
                <a:gd name="T14" fmla="*/ 802 w 1604"/>
                <a:gd name="T15" fmla="*/ 160 h 881"/>
                <a:gd name="T16" fmla="*/ 801 w 1604"/>
                <a:gd name="T17" fmla="*/ 160 h 881"/>
                <a:gd name="T18" fmla="*/ 642 w 1604"/>
                <a:gd name="T19" fmla="*/ 0 h 881"/>
                <a:gd name="T20" fmla="*/ 528 w 1604"/>
                <a:gd name="T21" fmla="*/ 113 h 881"/>
                <a:gd name="T22" fmla="*/ 660 w 1604"/>
                <a:gd name="T23" fmla="*/ 246 h 881"/>
                <a:gd name="T24" fmla="*/ 642 w 1604"/>
                <a:gd name="T25" fmla="*/ 320 h 881"/>
                <a:gd name="T26" fmla="*/ 562 w 1604"/>
                <a:gd name="T27" fmla="*/ 240 h 881"/>
                <a:gd name="T28" fmla="*/ 161 w 1604"/>
                <a:gd name="T29" fmla="*/ 240 h 881"/>
                <a:gd name="T30" fmla="*/ 0 w 1604"/>
                <a:gd name="T31" fmla="*/ 400 h 881"/>
                <a:gd name="T32" fmla="*/ 496 w 1604"/>
                <a:gd name="T33" fmla="*/ 400 h 881"/>
                <a:gd name="T34" fmla="*/ 722 w 1604"/>
                <a:gd name="T35" fmla="*/ 627 h 881"/>
                <a:gd name="T36" fmla="*/ 722 w 1604"/>
                <a:gd name="T37" fmla="*/ 881 h 881"/>
                <a:gd name="T38" fmla="*/ 882 w 1604"/>
                <a:gd name="T39" fmla="*/ 881 h 881"/>
                <a:gd name="T40" fmla="*/ 882 w 1604"/>
                <a:gd name="T41" fmla="*/ 626 h 881"/>
                <a:gd name="T42" fmla="*/ 1108 w 1604"/>
                <a:gd name="T43" fmla="*/ 400 h 881"/>
                <a:gd name="T44" fmla="*/ 1604 w 1604"/>
                <a:gd name="T45" fmla="*/ 400 h 881"/>
                <a:gd name="T46" fmla="*/ 1444 w 1604"/>
                <a:gd name="T47" fmla="*/ 240 h 8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04" h="881">
                  <a:moveTo>
                    <a:pt x="1444" y="240"/>
                  </a:moveTo>
                  <a:lnTo>
                    <a:pt x="1043" y="240"/>
                  </a:lnTo>
                  <a:lnTo>
                    <a:pt x="963" y="320"/>
                  </a:lnTo>
                  <a:cubicBezTo>
                    <a:pt x="963" y="294"/>
                    <a:pt x="956" y="269"/>
                    <a:pt x="945" y="247"/>
                  </a:cubicBezTo>
                  <a:lnTo>
                    <a:pt x="1078" y="114"/>
                  </a:lnTo>
                  <a:lnTo>
                    <a:pt x="965" y="0"/>
                  </a:lnTo>
                  <a:lnTo>
                    <a:pt x="804" y="160"/>
                  </a:lnTo>
                  <a:cubicBezTo>
                    <a:pt x="804" y="160"/>
                    <a:pt x="803" y="160"/>
                    <a:pt x="802" y="160"/>
                  </a:cubicBezTo>
                  <a:cubicBezTo>
                    <a:pt x="802" y="160"/>
                    <a:pt x="801" y="160"/>
                    <a:pt x="801" y="160"/>
                  </a:cubicBezTo>
                  <a:lnTo>
                    <a:pt x="642" y="0"/>
                  </a:lnTo>
                  <a:lnTo>
                    <a:pt x="528" y="113"/>
                  </a:lnTo>
                  <a:lnTo>
                    <a:pt x="660" y="246"/>
                  </a:lnTo>
                  <a:cubicBezTo>
                    <a:pt x="648" y="268"/>
                    <a:pt x="642" y="293"/>
                    <a:pt x="642" y="320"/>
                  </a:cubicBezTo>
                  <a:lnTo>
                    <a:pt x="562" y="240"/>
                  </a:lnTo>
                  <a:lnTo>
                    <a:pt x="161" y="240"/>
                  </a:lnTo>
                  <a:lnTo>
                    <a:pt x="0" y="400"/>
                  </a:lnTo>
                  <a:lnTo>
                    <a:pt x="496" y="400"/>
                  </a:lnTo>
                  <a:lnTo>
                    <a:pt x="722" y="627"/>
                  </a:lnTo>
                  <a:lnTo>
                    <a:pt x="722" y="881"/>
                  </a:lnTo>
                  <a:lnTo>
                    <a:pt x="882" y="881"/>
                  </a:lnTo>
                  <a:lnTo>
                    <a:pt x="882" y="626"/>
                  </a:lnTo>
                  <a:lnTo>
                    <a:pt x="1108" y="400"/>
                  </a:lnTo>
                  <a:lnTo>
                    <a:pt x="1604" y="400"/>
                  </a:lnTo>
                  <a:lnTo>
                    <a:pt x="1444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7" name="Freeform 246">
              <a:extLst>
                <a:ext uri="{FF2B5EF4-FFF2-40B4-BE49-F238E27FC236}">
                  <a16:creationId xmlns:a16="http://schemas.microsoft.com/office/drawing/2014/main" id="{7974C441-9E33-458D-ADF6-8B0AAFFC65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7438" y="5614988"/>
              <a:ext cx="577850" cy="288925"/>
            </a:xfrm>
            <a:custGeom>
              <a:avLst/>
              <a:gdLst>
                <a:gd name="T0" fmla="*/ 1444 w 1604"/>
                <a:gd name="T1" fmla="*/ 0 h 802"/>
                <a:gd name="T2" fmla="*/ 1444 w 1604"/>
                <a:gd name="T3" fmla="*/ 337 h 802"/>
                <a:gd name="T4" fmla="*/ 1443 w 1604"/>
                <a:gd name="T5" fmla="*/ 336 h 802"/>
                <a:gd name="T6" fmla="*/ 1136 w 1604"/>
                <a:gd name="T7" fmla="*/ 642 h 802"/>
                <a:gd name="T8" fmla="*/ 468 w 1604"/>
                <a:gd name="T9" fmla="*/ 642 h 802"/>
                <a:gd name="T10" fmla="*/ 161 w 1604"/>
                <a:gd name="T11" fmla="*/ 336 h 802"/>
                <a:gd name="T12" fmla="*/ 161 w 1604"/>
                <a:gd name="T13" fmla="*/ 337 h 802"/>
                <a:gd name="T14" fmla="*/ 161 w 1604"/>
                <a:gd name="T15" fmla="*/ 0 h 802"/>
                <a:gd name="T16" fmla="*/ 0 w 1604"/>
                <a:gd name="T17" fmla="*/ 0 h 802"/>
                <a:gd name="T18" fmla="*/ 0 w 1604"/>
                <a:gd name="T19" fmla="*/ 401 h 802"/>
                <a:gd name="T20" fmla="*/ 1 w 1604"/>
                <a:gd name="T21" fmla="*/ 401 h 802"/>
                <a:gd name="T22" fmla="*/ 401 w 1604"/>
                <a:gd name="T23" fmla="*/ 801 h 802"/>
                <a:gd name="T24" fmla="*/ 401 w 1604"/>
                <a:gd name="T25" fmla="*/ 802 h 802"/>
                <a:gd name="T26" fmla="*/ 1203 w 1604"/>
                <a:gd name="T27" fmla="*/ 802 h 802"/>
                <a:gd name="T28" fmla="*/ 1203 w 1604"/>
                <a:gd name="T29" fmla="*/ 801 h 802"/>
                <a:gd name="T30" fmla="*/ 1603 w 1604"/>
                <a:gd name="T31" fmla="*/ 401 h 802"/>
                <a:gd name="T32" fmla="*/ 1604 w 1604"/>
                <a:gd name="T33" fmla="*/ 401 h 802"/>
                <a:gd name="T34" fmla="*/ 1604 w 1604"/>
                <a:gd name="T35" fmla="*/ 0 h 802"/>
                <a:gd name="T36" fmla="*/ 1444 w 1604"/>
                <a:gd name="T37" fmla="*/ 0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04" h="802">
                  <a:moveTo>
                    <a:pt x="1444" y="0"/>
                  </a:moveTo>
                  <a:lnTo>
                    <a:pt x="1444" y="337"/>
                  </a:lnTo>
                  <a:lnTo>
                    <a:pt x="1443" y="336"/>
                  </a:lnTo>
                  <a:lnTo>
                    <a:pt x="1136" y="642"/>
                  </a:lnTo>
                  <a:lnTo>
                    <a:pt x="468" y="642"/>
                  </a:lnTo>
                  <a:lnTo>
                    <a:pt x="161" y="336"/>
                  </a:lnTo>
                  <a:lnTo>
                    <a:pt x="161" y="33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01"/>
                  </a:lnTo>
                  <a:lnTo>
                    <a:pt x="1" y="401"/>
                  </a:lnTo>
                  <a:lnTo>
                    <a:pt x="401" y="801"/>
                  </a:lnTo>
                  <a:lnTo>
                    <a:pt x="401" y="802"/>
                  </a:lnTo>
                  <a:lnTo>
                    <a:pt x="1203" y="802"/>
                  </a:lnTo>
                  <a:lnTo>
                    <a:pt x="1203" y="801"/>
                  </a:lnTo>
                  <a:lnTo>
                    <a:pt x="1603" y="401"/>
                  </a:lnTo>
                  <a:lnTo>
                    <a:pt x="1604" y="401"/>
                  </a:lnTo>
                  <a:lnTo>
                    <a:pt x="1604" y="0"/>
                  </a:lnTo>
                  <a:lnTo>
                    <a:pt x="14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8" name="Freeform 247">
              <a:extLst>
                <a:ext uri="{FF2B5EF4-FFF2-40B4-BE49-F238E27FC236}">
                  <a16:creationId xmlns:a16="http://schemas.microsoft.com/office/drawing/2014/main" id="{9264898E-3040-491E-A335-EFDCFDE86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2251" y="5991225"/>
              <a:ext cx="87313" cy="57150"/>
            </a:xfrm>
            <a:custGeom>
              <a:avLst/>
              <a:gdLst>
                <a:gd name="T0" fmla="*/ 0 w 241"/>
                <a:gd name="T1" fmla="*/ 0 h 159"/>
                <a:gd name="T2" fmla="*/ 241 w 241"/>
                <a:gd name="T3" fmla="*/ 0 h 159"/>
                <a:gd name="T4" fmla="*/ 241 w 241"/>
                <a:gd name="T5" fmla="*/ 159 h 159"/>
                <a:gd name="T6" fmla="*/ 102 w 241"/>
                <a:gd name="T7" fmla="*/ 159 h 159"/>
                <a:gd name="T8" fmla="*/ 0 w 241"/>
                <a:gd name="T9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159">
                  <a:moveTo>
                    <a:pt x="0" y="0"/>
                  </a:moveTo>
                  <a:lnTo>
                    <a:pt x="241" y="0"/>
                  </a:lnTo>
                  <a:lnTo>
                    <a:pt x="241" y="159"/>
                  </a:lnTo>
                  <a:lnTo>
                    <a:pt x="102" y="15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9" name="Freeform 248">
              <a:extLst>
                <a:ext uri="{FF2B5EF4-FFF2-40B4-BE49-F238E27FC236}">
                  <a16:creationId xmlns:a16="http://schemas.microsoft.com/office/drawing/2014/main" id="{D64580B1-D0FA-45E7-8FC3-6F9FBEFF02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4751" y="5991225"/>
              <a:ext cx="87313" cy="57150"/>
            </a:xfrm>
            <a:custGeom>
              <a:avLst/>
              <a:gdLst>
                <a:gd name="T0" fmla="*/ 240 w 240"/>
                <a:gd name="T1" fmla="*/ 0 h 159"/>
                <a:gd name="T2" fmla="*/ 0 w 240"/>
                <a:gd name="T3" fmla="*/ 0 h 159"/>
                <a:gd name="T4" fmla="*/ 0 w 240"/>
                <a:gd name="T5" fmla="*/ 159 h 159"/>
                <a:gd name="T6" fmla="*/ 139 w 240"/>
                <a:gd name="T7" fmla="*/ 159 h 159"/>
                <a:gd name="T8" fmla="*/ 240 w 240"/>
                <a:gd name="T9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0" h="159">
                  <a:moveTo>
                    <a:pt x="240" y="0"/>
                  </a:moveTo>
                  <a:lnTo>
                    <a:pt x="0" y="0"/>
                  </a:lnTo>
                  <a:lnTo>
                    <a:pt x="0" y="159"/>
                  </a:lnTo>
                  <a:lnTo>
                    <a:pt x="139" y="159"/>
                  </a:lnTo>
                  <a:lnTo>
                    <a:pt x="24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230" name="Freeform 70">
            <a:extLst>
              <a:ext uri="{FF2B5EF4-FFF2-40B4-BE49-F238E27FC236}">
                <a16:creationId xmlns:a16="http://schemas.microsoft.com/office/drawing/2014/main" id="{41208745-FC08-4475-9817-395DCCB757E7}"/>
              </a:ext>
            </a:extLst>
          </p:cNvPr>
          <p:cNvSpPr>
            <a:spLocks noEditPoints="1"/>
          </p:cNvSpPr>
          <p:nvPr/>
        </p:nvSpPr>
        <p:spPr bwMode="auto">
          <a:xfrm>
            <a:off x="11184107" y="2014538"/>
            <a:ext cx="454025" cy="198438"/>
          </a:xfrm>
          <a:custGeom>
            <a:avLst/>
            <a:gdLst>
              <a:gd name="T0" fmla="*/ 196 w 1263"/>
              <a:gd name="T1" fmla="*/ 200 h 553"/>
              <a:gd name="T2" fmla="*/ 13 w 1263"/>
              <a:gd name="T3" fmla="*/ 180 h 553"/>
              <a:gd name="T4" fmla="*/ 106 w 1263"/>
              <a:gd name="T5" fmla="*/ 0 h 553"/>
              <a:gd name="T6" fmla="*/ 168 w 1263"/>
              <a:gd name="T7" fmla="*/ 75 h 553"/>
              <a:gd name="T8" fmla="*/ 73 w 1263"/>
              <a:gd name="T9" fmla="*/ 32 h 553"/>
              <a:gd name="T10" fmla="*/ 39 w 1263"/>
              <a:gd name="T11" fmla="*/ 168 h 553"/>
              <a:gd name="T12" fmla="*/ 169 w 1263"/>
              <a:gd name="T13" fmla="*/ 185 h 553"/>
              <a:gd name="T14" fmla="*/ 514 w 1263"/>
              <a:gd name="T15" fmla="*/ 477 h 553"/>
              <a:gd name="T16" fmla="*/ 338 w 1263"/>
              <a:gd name="T17" fmla="*/ 495 h 553"/>
              <a:gd name="T18" fmla="*/ 427 w 1263"/>
              <a:gd name="T19" fmla="*/ 318 h 553"/>
              <a:gd name="T20" fmla="*/ 462 w 1263"/>
              <a:gd name="T21" fmla="*/ 355 h 553"/>
              <a:gd name="T22" fmla="*/ 356 w 1263"/>
              <a:gd name="T23" fmla="*/ 434 h 553"/>
              <a:gd name="T24" fmla="*/ 464 w 1263"/>
              <a:gd name="T25" fmla="*/ 513 h 553"/>
              <a:gd name="T26" fmla="*/ 608 w 1263"/>
              <a:gd name="T27" fmla="*/ 381 h 553"/>
              <a:gd name="T28" fmla="*/ 645 w 1263"/>
              <a:gd name="T29" fmla="*/ 542 h 553"/>
              <a:gd name="T30" fmla="*/ 562 w 1263"/>
              <a:gd name="T31" fmla="*/ 467 h 553"/>
              <a:gd name="T32" fmla="*/ 653 w 1263"/>
              <a:gd name="T33" fmla="*/ 466 h 553"/>
              <a:gd name="T34" fmla="*/ 562 w 1263"/>
              <a:gd name="T35" fmla="*/ 467 h 553"/>
              <a:gd name="T36" fmla="*/ 733 w 1263"/>
              <a:gd name="T37" fmla="*/ 410 h 553"/>
              <a:gd name="T38" fmla="*/ 784 w 1263"/>
              <a:gd name="T39" fmla="*/ 415 h 553"/>
              <a:gd name="T40" fmla="*/ 736 w 1263"/>
              <a:gd name="T41" fmla="*/ 463 h 553"/>
              <a:gd name="T42" fmla="*/ 936 w 1263"/>
              <a:gd name="T43" fmla="*/ 500 h 553"/>
              <a:gd name="T44" fmla="*/ 795 w 1263"/>
              <a:gd name="T45" fmla="*/ 468 h 553"/>
              <a:gd name="T46" fmla="*/ 937 w 1263"/>
              <a:gd name="T47" fmla="*/ 466 h 553"/>
              <a:gd name="T48" fmla="*/ 868 w 1263"/>
              <a:gd name="T49" fmla="*/ 530 h 553"/>
              <a:gd name="T50" fmla="*/ 909 w 1263"/>
              <a:gd name="T51" fmla="*/ 451 h 553"/>
              <a:gd name="T52" fmla="*/ 824 w 1263"/>
              <a:gd name="T53" fmla="*/ 451 h 553"/>
              <a:gd name="T54" fmla="*/ 257 w 1263"/>
              <a:gd name="T55" fmla="*/ 92 h 553"/>
              <a:gd name="T56" fmla="*/ 308 w 1263"/>
              <a:gd name="T57" fmla="*/ 98 h 553"/>
              <a:gd name="T58" fmla="*/ 260 w 1263"/>
              <a:gd name="T59" fmla="*/ 145 h 553"/>
              <a:gd name="T60" fmla="*/ 342 w 1263"/>
              <a:gd name="T61" fmla="*/ 82 h 553"/>
              <a:gd name="T62" fmla="*/ 453 w 1263"/>
              <a:gd name="T63" fmla="*/ 197 h 553"/>
              <a:gd name="T64" fmla="*/ 319 w 1263"/>
              <a:gd name="T65" fmla="*/ 149 h 553"/>
              <a:gd name="T66" fmla="*/ 423 w 1263"/>
              <a:gd name="T67" fmla="*/ 196 h 553"/>
              <a:gd name="T68" fmla="*/ 358 w 1263"/>
              <a:gd name="T69" fmla="*/ 102 h 553"/>
              <a:gd name="T70" fmla="*/ 498 w 1263"/>
              <a:gd name="T71" fmla="*/ 67 h 553"/>
              <a:gd name="T72" fmla="*/ 564 w 1263"/>
              <a:gd name="T73" fmla="*/ 67 h 553"/>
              <a:gd name="T74" fmla="*/ 630 w 1263"/>
              <a:gd name="T75" fmla="*/ 162 h 553"/>
              <a:gd name="T76" fmla="*/ 607 w 1263"/>
              <a:gd name="T77" fmla="*/ 232 h 553"/>
              <a:gd name="T78" fmla="*/ 517 w 1263"/>
              <a:gd name="T79" fmla="*/ 232 h 553"/>
              <a:gd name="T80" fmla="*/ 773 w 1263"/>
              <a:gd name="T81" fmla="*/ 4 h 553"/>
              <a:gd name="T82" fmla="*/ 871 w 1263"/>
              <a:gd name="T83" fmla="*/ 232 h 553"/>
              <a:gd name="T84" fmla="*/ 992 w 1263"/>
              <a:gd name="T85" fmla="*/ 4 h 553"/>
              <a:gd name="T86" fmla="*/ 1085 w 1263"/>
              <a:gd name="T87" fmla="*/ 90 h 553"/>
              <a:gd name="T88" fmla="*/ 1065 w 1263"/>
              <a:gd name="T89" fmla="*/ 127 h 553"/>
              <a:gd name="T90" fmla="*/ 997 w 1263"/>
              <a:gd name="T91" fmla="*/ 111 h 553"/>
              <a:gd name="T92" fmla="*/ 1236 w 1263"/>
              <a:gd name="T93" fmla="*/ 178 h 553"/>
              <a:gd name="T94" fmla="*/ 1142 w 1263"/>
              <a:gd name="T95" fmla="*/ 213 h 553"/>
              <a:gd name="T96" fmla="*/ 1244 w 1263"/>
              <a:gd name="T97" fmla="*/ 86 h 553"/>
              <a:gd name="T98" fmla="*/ 1163 w 1263"/>
              <a:gd name="T99" fmla="*/ 198 h 553"/>
              <a:gd name="T100" fmla="*/ 1150 w 1263"/>
              <a:gd name="T101" fmla="*/ 133 h 553"/>
              <a:gd name="T102" fmla="*/ 1164 w 1263"/>
              <a:gd name="T103" fmla="*/ 99 h 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263" h="553">
                <a:moveTo>
                  <a:pt x="106" y="142"/>
                </a:moveTo>
                <a:lnTo>
                  <a:pt x="106" y="116"/>
                </a:lnTo>
                <a:lnTo>
                  <a:pt x="196" y="116"/>
                </a:lnTo>
                <a:lnTo>
                  <a:pt x="196" y="200"/>
                </a:lnTo>
                <a:cubicBezTo>
                  <a:pt x="182" y="212"/>
                  <a:pt x="168" y="221"/>
                  <a:pt x="153" y="226"/>
                </a:cubicBezTo>
                <a:cubicBezTo>
                  <a:pt x="139" y="232"/>
                  <a:pt x="124" y="235"/>
                  <a:pt x="108" y="235"/>
                </a:cubicBezTo>
                <a:cubicBezTo>
                  <a:pt x="88" y="235"/>
                  <a:pt x="69" y="231"/>
                  <a:pt x="52" y="221"/>
                </a:cubicBezTo>
                <a:cubicBezTo>
                  <a:pt x="35" y="211"/>
                  <a:pt x="22" y="198"/>
                  <a:pt x="13" y="180"/>
                </a:cubicBezTo>
                <a:cubicBezTo>
                  <a:pt x="5" y="161"/>
                  <a:pt x="0" y="141"/>
                  <a:pt x="0" y="119"/>
                </a:cubicBezTo>
                <a:cubicBezTo>
                  <a:pt x="0" y="97"/>
                  <a:pt x="5" y="76"/>
                  <a:pt x="13" y="57"/>
                </a:cubicBezTo>
                <a:cubicBezTo>
                  <a:pt x="22" y="38"/>
                  <a:pt x="34" y="24"/>
                  <a:pt x="50" y="14"/>
                </a:cubicBezTo>
                <a:cubicBezTo>
                  <a:pt x="67" y="5"/>
                  <a:pt x="85" y="0"/>
                  <a:pt x="106" y="0"/>
                </a:cubicBezTo>
                <a:cubicBezTo>
                  <a:pt x="122" y="0"/>
                  <a:pt x="135" y="3"/>
                  <a:pt x="148" y="8"/>
                </a:cubicBezTo>
                <a:cubicBezTo>
                  <a:pt x="160" y="14"/>
                  <a:pt x="170" y="21"/>
                  <a:pt x="177" y="31"/>
                </a:cubicBezTo>
                <a:cubicBezTo>
                  <a:pt x="184" y="40"/>
                  <a:pt x="189" y="53"/>
                  <a:pt x="193" y="68"/>
                </a:cubicBezTo>
                <a:lnTo>
                  <a:pt x="168" y="75"/>
                </a:lnTo>
                <a:cubicBezTo>
                  <a:pt x="164" y="64"/>
                  <a:pt x="160" y="55"/>
                  <a:pt x="156" y="48"/>
                </a:cubicBezTo>
                <a:cubicBezTo>
                  <a:pt x="151" y="41"/>
                  <a:pt x="144" y="36"/>
                  <a:pt x="136" y="32"/>
                </a:cubicBezTo>
                <a:cubicBezTo>
                  <a:pt x="127" y="28"/>
                  <a:pt x="117" y="26"/>
                  <a:pt x="106" y="26"/>
                </a:cubicBezTo>
                <a:cubicBezTo>
                  <a:pt x="94" y="26"/>
                  <a:pt x="83" y="28"/>
                  <a:pt x="73" y="32"/>
                </a:cubicBezTo>
                <a:cubicBezTo>
                  <a:pt x="64" y="37"/>
                  <a:pt x="56" y="42"/>
                  <a:pt x="51" y="49"/>
                </a:cubicBezTo>
                <a:cubicBezTo>
                  <a:pt x="45" y="56"/>
                  <a:pt x="41" y="63"/>
                  <a:pt x="37" y="71"/>
                </a:cubicBezTo>
                <a:cubicBezTo>
                  <a:pt x="32" y="86"/>
                  <a:pt x="29" y="101"/>
                  <a:pt x="29" y="117"/>
                </a:cubicBezTo>
                <a:cubicBezTo>
                  <a:pt x="29" y="138"/>
                  <a:pt x="33" y="155"/>
                  <a:pt x="39" y="168"/>
                </a:cubicBezTo>
                <a:cubicBezTo>
                  <a:pt x="45" y="182"/>
                  <a:pt x="55" y="192"/>
                  <a:pt x="67" y="199"/>
                </a:cubicBezTo>
                <a:cubicBezTo>
                  <a:pt x="80" y="205"/>
                  <a:pt x="93" y="209"/>
                  <a:pt x="107" y="209"/>
                </a:cubicBezTo>
                <a:cubicBezTo>
                  <a:pt x="119" y="209"/>
                  <a:pt x="131" y="206"/>
                  <a:pt x="142" y="201"/>
                </a:cubicBezTo>
                <a:cubicBezTo>
                  <a:pt x="154" y="196"/>
                  <a:pt x="163" y="191"/>
                  <a:pt x="169" y="185"/>
                </a:cubicBezTo>
                <a:lnTo>
                  <a:pt x="169" y="142"/>
                </a:lnTo>
                <a:lnTo>
                  <a:pt x="106" y="142"/>
                </a:lnTo>
                <a:close/>
                <a:moveTo>
                  <a:pt x="486" y="469"/>
                </a:moveTo>
                <a:lnTo>
                  <a:pt x="514" y="477"/>
                </a:lnTo>
                <a:cubicBezTo>
                  <a:pt x="508" y="502"/>
                  <a:pt x="498" y="520"/>
                  <a:pt x="482" y="533"/>
                </a:cubicBezTo>
                <a:cubicBezTo>
                  <a:pt x="467" y="546"/>
                  <a:pt x="449" y="553"/>
                  <a:pt x="427" y="553"/>
                </a:cubicBezTo>
                <a:cubicBezTo>
                  <a:pt x="404" y="553"/>
                  <a:pt x="385" y="548"/>
                  <a:pt x="371" y="538"/>
                </a:cubicBezTo>
                <a:cubicBezTo>
                  <a:pt x="357" y="528"/>
                  <a:pt x="346" y="513"/>
                  <a:pt x="338" y="495"/>
                </a:cubicBezTo>
                <a:cubicBezTo>
                  <a:pt x="331" y="476"/>
                  <a:pt x="327" y="455"/>
                  <a:pt x="327" y="434"/>
                </a:cubicBezTo>
                <a:cubicBezTo>
                  <a:pt x="327" y="410"/>
                  <a:pt x="331" y="389"/>
                  <a:pt x="340" y="372"/>
                </a:cubicBezTo>
                <a:cubicBezTo>
                  <a:pt x="348" y="354"/>
                  <a:pt x="360" y="341"/>
                  <a:pt x="376" y="332"/>
                </a:cubicBezTo>
                <a:cubicBezTo>
                  <a:pt x="391" y="322"/>
                  <a:pt x="408" y="318"/>
                  <a:pt x="427" y="318"/>
                </a:cubicBezTo>
                <a:cubicBezTo>
                  <a:pt x="448" y="318"/>
                  <a:pt x="466" y="324"/>
                  <a:pt x="480" y="335"/>
                </a:cubicBezTo>
                <a:cubicBezTo>
                  <a:pt x="495" y="347"/>
                  <a:pt x="505" y="363"/>
                  <a:pt x="511" y="384"/>
                </a:cubicBezTo>
                <a:lnTo>
                  <a:pt x="483" y="391"/>
                </a:lnTo>
                <a:cubicBezTo>
                  <a:pt x="478" y="375"/>
                  <a:pt x="471" y="362"/>
                  <a:pt x="462" y="355"/>
                </a:cubicBezTo>
                <a:cubicBezTo>
                  <a:pt x="452" y="347"/>
                  <a:pt x="441" y="344"/>
                  <a:pt x="426" y="344"/>
                </a:cubicBezTo>
                <a:cubicBezTo>
                  <a:pt x="410" y="344"/>
                  <a:pt x="397" y="348"/>
                  <a:pt x="386" y="356"/>
                </a:cubicBezTo>
                <a:cubicBezTo>
                  <a:pt x="375" y="365"/>
                  <a:pt x="367" y="376"/>
                  <a:pt x="363" y="390"/>
                </a:cubicBezTo>
                <a:cubicBezTo>
                  <a:pt x="358" y="404"/>
                  <a:pt x="356" y="419"/>
                  <a:pt x="356" y="434"/>
                </a:cubicBezTo>
                <a:cubicBezTo>
                  <a:pt x="356" y="453"/>
                  <a:pt x="359" y="470"/>
                  <a:pt x="364" y="484"/>
                </a:cubicBezTo>
                <a:cubicBezTo>
                  <a:pt x="369" y="499"/>
                  <a:pt x="377" y="509"/>
                  <a:pt x="388" y="516"/>
                </a:cubicBezTo>
                <a:cubicBezTo>
                  <a:pt x="399" y="524"/>
                  <a:pt x="411" y="527"/>
                  <a:pt x="424" y="527"/>
                </a:cubicBezTo>
                <a:cubicBezTo>
                  <a:pt x="440" y="527"/>
                  <a:pt x="453" y="522"/>
                  <a:pt x="464" y="513"/>
                </a:cubicBezTo>
                <a:cubicBezTo>
                  <a:pt x="475" y="503"/>
                  <a:pt x="482" y="488"/>
                  <a:pt x="486" y="469"/>
                </a:cubicBezTo>
                <a:close/>
                <a:moveTo>
                  <a:pt x="536" y="467"/>
                </a:moveTo>
                <a:cubicBezTo>
                  <a:pt x="536" y="436"/>
                  <a:pt x="544" y="414"/>
                  <a:pt x="559" y="399"/>
                </a:cubicBezTo>
                <a:cubicBezTo>
                  <a:pt x="573" y="387"/>
                  <a:pt x="589" y="381"/>
                  <a:pt x="608" y="381"/>
                </a:cubicBezTo>
                <a:cubicBezTo>
                  <a:pt x="629" y="381"/>
                  <a:pt x="646" y="388"/>
                  <a:pt x="659" y="403"/>
                </a:cubicBezTo>
                <a:cubicBezTo>
                  <a:pt x="673" y="418"/>
                  <a:pt x="679" y="438"/>
                  <a:pt x="679" y="464"/>
                </a:cubicBezTo>
                <a:cubicBezTo>
                  <a:pt x="679" y="486"/>
                  <a:pt x="677" y="502"/>
                  <a:pt x="671" y="514"/>
                </a:cubicBezTo>
                <a:cubicBezTo>
                  <a:pt x="665" y="526"/>
                  <a:pt x="656" y="536"/>
                  <a:pt x="645" y="542"/>
                </a:cubicBezTo>
                <a:cubicBezTo>
                  <a:pt x="633" y="549"/>
                  <a:pt x="621" y="553"/>
                  <a:pt x="608" y="553"/>
                </a:cubicBezTo>
                <a:cubicBezTo>
                  <a:pt x="586" y="553"/>
                  <a:pt x="569" y="545"/>
                  <a:pt x="556" y="530"/>
                </a:cubicBezTo>
                <a:cubicBezTo>
                  <a:pt x="542" y="516"/>
                  <a:pt x="536" y="494"/>
                  <a:pt x="536" y="467"/>
                </a:cubicBezTo>
                <a:close/>
                <a:moveTo>
                  <a:pt x="562" y="467"/>
                </a:moveTo>
                <a:cubicBezTo>
                  <a:pt x="562" y="488"/>
                  <a:pt x="567" y="504"/>
                  <a:pt x="575" y="514"/>
                </a:cubicBezTo>
                <a:cubicBezTo>
                  <a:pt x="584" y="524"/>
                  <a:pt x="595" y="530"/>
                  <a:pt x="608" y="530"/>
                </a:cubicBezTo>
                <a:cubicBezTo>
                  <a:pt x="621" y="530"/>
                  <a:pt x="631" y="524"/>
                  <a:pt x="640" y="514"/>
                </a:cubicBezTo>
                <a:cubicBezTo>
                  <a:pt x="649" y="503"/>
                  <a:pt x="653" y="487"/>
                  <a:pt x="653" y="466"/>
                </a:cubicBezTo>
                <a:cubicBezTo>
                  <a:pt x="653" y="445"/>
                  <a:pt x="649" y="430"/>
                  <a:pt x="640" y="420"/>
                </a:cubicBezTo>
                <a:cubicBezTo>
                  <a:pt x="631" y="409"/>
                  <a:pt x="620" y="404"/>
                  <a:pt x="608" y="404"/>
                </a:cubicBezTo>
                <a:cubicBezTo>
                  <a:pt x="595" y="404"/>
                  <a:pt x="584" y="409"/>
                  <a:pt x="575" y="420"/>
                </a:cubicBezTo>
                <a:cubicBezTo>
                  <a:pt x="567" y="430"/>
                  <a:pt x="562" y="446"/>
                  <a:pt x="562" y="467"/>
                </a:cubicBezTo>
                <a:close/>
                <a:moveTo>
                  <a:pt x="710" y="549"/>
                </a:moveTo>
                <a:lnTo>
                  <a:pt x="710" y="384"/>
                </a:lnTo>
                <a:lnTo>
                  <a:pt x="733" y="384"/>
                </a:lnTo>
                <a:lnTo>
                  <a:pt x="733" y="410"/>
                </a:lnTo>
                <a:cubicBezTo>
                  <a:pt x="739" y="398"/>
                  <a:pt x="745" y="390"/>
                  <a:pt x="750" y="386"/>
                </a:cubicBezTo>
                <a:cubicBezTo>
                  <a:pt x="755" y="383"/>
                  <a:pt x="760" y="381"/>
                  <a:pt x="766" y="381"/>
                </a:cubicBezTo>
                <a:cubicBezTo>
                  <a:pt x="775" y="381"/>
                  <a:pt x="784" y="384"/>
                  <a:pt x="793" y="390"/>
                </a:cubicBezTo>
                <a:lnTo>
                  <a:pt x="784" y="415"/>
                </a:lnTo>
                <a:cubicBezTo>
                  <a:pt x="778" y="412"/>
                  <a:pt x="771" y="410"/>
                  <a:pt x="765" y="410"/>
                </a:cubicBezTo>
                <a:cubicBezTo>
                  <a:pt x="759" y="410"/>
                  <a:pt x="754" y="412"/>
                  <a:pt x="750" y="415"/>
                </a:cubicBezTo>
                <a:cubicBezTo>
                  <a:pt x="745" y="419"/>
                  <a:pt x="742" y="424"/>
                  <a:pt x="740" y="430"/>
                </a:cubicBezTo>
                <a:cubicBezTo>
                  <a:pt x="737" y="440"/>
                  <a:pt x="736" y="451"/>
                  <a:pt x="736" y="463"/>
                </a:cubicBezTo>
                <a:lnTo>
                  <a:pt x="736" y="549"/>
                </a:lnTo>
                <a:lnTo>
                  <a:pt x="710" y="549"/>
                </a:lnTo>
                <a:close/>
                <a:moveTo>
                  <a:pt x="909" y="496"/>
                </a:moveTo>
                <a:lnTo>
                  <a:pt x="936" y="500"/>
                </a:lnTo>
                <a:cubicBezTo>
                  <a:pt x="931" y="516"/>
                  <a:pt x="924" y="529"/>
                  <a:pt x="912" y="539"/>
                </a:cubicBezTo>
                <a:cubicBezTo>
                  <a:pt x="901" y="548"/>
                  <a:pt x="886" y="553"/>
                  <a:pt x="868" y="553"/>
                </a:cubicBezTo>
                <a:cubicBezTo>
                  <a:pt x="846" y="553"/>
                  <a:pt x="828" y="545"/>
                  <a:pt x="815" y="530"/>
                </a:cubicBezTo>
                <a:cubicBezTo>
                  <a:pt x="802" y="516"/>
                  <a:pt x="795" y="495"/>
                  <a:pt x="795" y="468"/>
                </a:cubicBezTo>
                <a:cubicBezTo>
                  <a:pt x="795" y="440"/>
                  <a:pt x="802" y="419"/>
                  <a:pt x="815" y="404"/>
                </a:cubicBezTo>
                <a:cubicBezTo>
                  <a:pt x="829" y="388"/>
                  <a:pt x="846" y="381"/>
                  <a:pt x="867" y="381"/>
                </a:cubicBezTo>
                <a:cubicBezTo>
                  <a:pt x="887" y="381"/>
                  <a:pt x="904" y="388"/>
                  <a:pt x="917" y="403"/>
                </a:cubicBezTo>
                <a:cubicBezTo>
                  <a:pt x="930" y="418"/>
                  <a:pt x="937" y="439"/>
                  <a:pt x="937" y="466"/>
                </a:cubicBezTo>
                <a:cubicBezTo>
                  <a:pt x="937" y="468"/>
                  <a:pt x="936" y="471"/>
                  <a:pt x="936" y="474"/>
                </a:cubicBezTo>
                <a:lnTo>
                  <a:pt x="822" y="474"/>
                </a:lnTo>
                <a:cubicBezTo>
                  <a:pt x="823" y="492"/>
                  <a:pt x="828" y="506"/>
                  <a:pt x="836" y="515"/>
                </a:cubicBezTo>
                <a:cubicBezTo>
                  <a:pt x="845" y="525"/>
                  <a:pt x="856" y="530"/>
                  <a:pt x="868" y="530"/>
                </a:cubicBezTo>
                <a:cubicBezTo>
                  <a:pt x="878" y="530"/>
                  <a:pt x="886" y="527"/>
                  <a:pt x="893" y="522"/>
                </a:cubicBezTo>
                <a:cubicBezTo>
                  <a:pt x="899" y="516"/>
                  <a:pt x="905" y="508"/>
                  <a:pt x="909" y="496"/>
                </a:cubicBezTo>
                <a:close/>
                <a:moveTo>
                  <a:pt x="824" y="451"/>
                </a:moveTo>
                <a:lnTo>
                  <a:pt x="909" y="451"/>
                </a:lnTo>
                <a:cubicBezTo>
                  <a:pt x="908" y="437"/>
                  <a:pt x="905" y="427"/>
                  <a:pt x="899" y="420"/>
                </a:cubicBezTo>
                <a:cubicBezTo>
                  <a:pt x="891" y="409"/>
                  <a:pt x="880" y="404"/>
                  <a:pt x="867" y="404"/>
                </a:cubicBezTo>
                <a:cubicBezTo>
                  <a:pt x="855" y="404"/>
                  <a:pt x="845" y="408"/>
                  <a:pt x="837" y="416"/>
                </a:cubicBezTo>
                <a:cubicBezTo>
                  <a:pt x="829" y="425"/>
                  <a:pt x="824" y="437"/>
                  <a:pt x="824" y="451"/>
                </a:cubicBezTo>
                <a:close/>
                <a:moveTo>
                  <a:pt x="234" y="232"/>
                </a:moveTo>
                <a:lnTo>
                  <a:pt x="234" y="67"/>
                </a:lnTo>
                <a:lnTo>
                  <a:pt x="257" y="67"/>
                </a:lnTo>
                <a:lnTo>
                  <a:pt x="257" y="92"/>
                </a:lnTo>
                <a:cubicBezTo>
                  <a:pt x="263" y="80"/>
                  <a:pt x="269" y="73"/>
                  <a:pt x="274" y="69"/>
                </a:cubicBezTo>
                <a:cubicBezTo>
                  <a:pt x="279" y="65"/>
                  <a:pt x="284" y="63"/>
                  <a:pt x="291" y="63"/>
                </a:cubicBezTo>
                <a:cubicBezTo>
                  <a:pt x="299" y="63"/>
                  <a:pt x="308" y="66"/>
                  <a:pt x="317" y="72"/>
                </a:cubicBezTo>
                <a:lnTo>
                  <a:pt x="308" y="98"/>
                </a:lnTo>
                <a:cubicBezTo>
                  <a:pt x="302" y="94"/>
                  <a:pt x="295" y="92"/>
                  <a:pt x="289" y="92"/>
                </a:cubicBezTo>
                <a:cubicBezTo>
                  <a:pt x="283" y="92"/>
                  <a:pt x="278" y="94"/>
                  <a:pt x="274" y="98"/>
                </a:cubicBezTo>
                <a:cubicBezTo>
                  <a:pt x="269" y="101"/>
                  <a:pt x="266" y="106"/>
                  <a:pt x="264" y="113"/>
                </a:cubicBezTo>
                <a:cubicBezTo>
                  <a:pt x="261" y="123"/>
                  <a:pt x="260" y="134"/>
                  <a:pt x="260" y="145"/>
                </a:cubicBezTo>
                <a:lnTo>
                  <a:pt x="260" y="232"/>
                </a:lnTo>
                <a:lnTo>
                  <a:pt x="234" y="232"/>
                </a:lnTo>
                <a:close/>
                <a:moveTo>
                  <a:pt x="319" y="149"/>
                </a:moveTo>
                <a:cubicBezTo>
                  <a:pt x="319" y="119"/>
                  <a:pt x="326" y="96"/>
                  <a:pt x="342" y="82"/>
                </a:cubicBezTo>
                <a:cubicBezTo>
                  <a:pt x="355" y="69"/>
                  <a:pt x="372" y="63"/>
                  <a:pt x="390" y="63"/>
                </a:cubicBezTo>
                <a:cubicBezTo>
                  <a:pt x="412" y="63"/>
                  <a:pt x="429" y="71"/>
                  <a:pt x="442" y="86"/>
                </a:cubicBezTo>
                <a:cubicBezTo>
                  <a:pt x="456" y="100"/>
                  <a:pt x="462" y="121"/>
                  <a:pt x="462" y="147"/>
                </a:cubicBezTo>
                <a:cubicBezTo>
                  <a:pt x="462" y="168"/>
                  <a:pt x="459" y="185"/>
                  <a:pt x="453" y="197"/>
                </a:cubicBezTo>
                <a:cubicBezTo>
                  <a:pt x="447" y="209"/>
                  <a:pt x="439" y="218"/>
                  <a:pt x="428" y="225"/>
                </a:cubicBezTo>
                <a:cubicBezTo>
                  <a:pt x="416" y="232"/>
                  <a:pt x="404" y="235"/>
                  <a:pt x="390" y="235"/>
                </a:cubicBezTo>
                <a:cubicBezTo>
                  <a:pt x="369" y="235"/>
                  <a:pt x="352" y="228"/>
                  <a:pt x="338" y="213"/>
                </a:cubicBezTo>
                <a:cubicBezTo>
                  <a:pt x="325" y="198"/>
                  <a:pt x="319" y="177"/>
                  <a:pt x="319" y="149"/>
                </a:cubicBezTo>
                <a:close/>
                <a:moveTo>
                  <a:pt x="345" y="149"/>
                </a:moveTo>
                <a:cubicBezTo>
                  <a:pt x="345" y="170"/>
                  <a:pt x="349" y="186"/>
                  <a:pt x="358" y="196"/>
                </a:cubicBezTo>
                <a:cubicBezTo>
                  <a:pt x="367" y="207"/>
                  <a:pt x="377" y="212"/>
                  <a:pt x="390" y="212"/>
                </a:cubicBezTo>
                <a:cubicBezTo>
                  <a:pt x="403" y="212"/>
                  <a:pt x="414" y="207"/>
                  <a:pt x="423" y="196"/>
                </a:cubicBezTo>
                <a:cubicBezTo>
                  <a:pt x="431" y="186"/>
                  <a:pt x="436" y="170"/>
                  <a:pt x="436" y="148"/>
                </a:cubicBezTo>
                <a:cubicBezTo>
                  <a:pt x="436" y="128"/>
                  <a:pt x="431" y="113"/>
                  <a:pt x="423" y="102"/>
                </a:cubicBezTo>
                <a:cubicBezTo>
                  <a:pt x="414" y="92"/>
                  <a:pt x="403" y="86"/>
                  <a:pt x="390" y="86"/>
                </a:cubicBezTo>
                <a:cubicBezTo>
                  <a:pt x="377" y="86"/>
                  <a:pt x="367" y="92"/>
                  <a:pt x="358" y="102"/>
                </a:cubicBezTo>
                <a:cubicBezTo>
                  <a:pt x="349" y="112"/>
                  <a:pt x="345" y="128"/>
                  <a:pt x="345" y="149"/>
                </a:cubicBezTo>
                <a:close/>
                <a:moveTo>
                  <a:pt x="517" y="232"/>
                </a:moveTo>
                <a:lnTo>
                  <a:pt x="471" y="67"/>
                </a:lnTo>
                <a:lnTo>
                  <a:pt x="498" y="67"/>
                </a:lnTo>
                <a:lnTo>
                  <a:pt x="523" y="162"/>
                </a:lnTo>
                <a:lnTo>
                  <a:pt x="531" y="197"/>
                </a:lnTo>
                <a:cubicBezTo>
                  <a:pt x="532" y="196"/>
                  <a:pt x="534" y="184"/>
                  <a:pt x="539" y="163"/>
                </a:cubicBezTo>
                <a:lnTo>
                  <a:pt x="564" y="67"/>
                </a:lnTo>
                <a:lnTo>
                  <a:pt x="590" y="67"/>
                </a:lnTo>
                <a:lnTo>
                  <a:pt x="613" y="162"/>
                </a:lnTo>
                <a:lnTo>
                  <a:pt x="621" y="194"/>
                </a:lnTo>
                <a:lnTo>
                  <a:pt x="630" y="162"/>
                </a:lnTo>
                <a:lnTo>
                  <a:pt x="656" y="67"/>
                </a:lnTo>
                <a:lnTo>
                  <a:pt x="682" y="67"/>
                </a:lnTo>
                <a:lnTo>
                  <a:pt x="633" y="232"/>
                </a:lnTo>
                <a:lnTo>
                  <a:pt x="607" y="232"/>
                </a:lnTo>
                <a:lnTo>
                  <a:pt x="582" y="133"/>
                </a:lnTo>
                <a:lnTo>
                  <a:pt x="576" y="105"/>
                </a:lnTo>
                <a:lnTo>
                  <a:pt x="545" y="232"/>
                </a:lnTo>
                <a:lnTo>
                  <a:pt x="517" y="232"/>
                </a:lnTo>
                <a:close/>
                <a:moveTo>
                  <a:pt x="843" y="232"/>
                </a:moveTo>
                <a:lnTo>
                  <a:pt x="843" y="31"/>
                </a:lnTo>
                <a:lnTo>
                  <a:pt x="773" y="31"/>
                </a:lnTo>
                <a:lnTo>
                  <a:pt x="773" y="4"/>
                </a:lnTo>
                <a:lnTo>
                  <a:pt x="941" y="4"/>
                </a:lnTo>
                <a:lnTo>
                  <a:pt x="941" y="31"/>
                </a:lnTo>
                <a:lnTo>
                  <a:pt x="871" y="31"/>
                </a:lnTo>
                <a:lnTo>
                  <a:pt x="871" y="232"/>
                </a:lnTo>
                <a:lnTo>
                  <a:pt x="843" y="232"/>
                </a:lnTo>
                <a:close/>
                <a:moveTo>
                  <a:pt x="966" y="232"/>
                </a:moveTo>
                <a:lnTo>
                  <a:pt x="966" y="4"/>
                </a:lnTo>
                <a:lnTo>
                  <a:pt x="992" y="4"/>
                </a:lnTo>
                <a:lnTo>
                  <a:pt x="992" y="86"/>
                </a:lnTo>
                <a:cubicBezTo>
                  <a:pt x="1004" y="71"/>
                  <a:pt x="1020" y="63"/>
                  <a:pt x="1038" y="63"/>
                </a:cubicBezTo>
                <a:cubicBezTo>
                  <a:pt x="1049" y="63"/>
                  <a:pt x="1059" y="66"/>
                  <a:pt x="1068" y="70"/>
                </a:cubicBezTo>
                <a:cubicBezTo>
                  <a:pt x="1076" y="75"/>
                  <a:pt x="1082" y="82"/>
                  <a:pt x="1085" y="90"/>
                </a:cubicBezTo>
                <a:cubicBezTo>
                  <a:pt x="1089" y="99"/>
                  <a:pt x="1091" y="111"/>
                  <a:pt x="1091" y="127"/>
                </a:cubicBezTo>
                <a:lnTo>
                  <a:pt x="1091" y="232"/>
                </a:lnTo>
                <a:lnTo>
                  <a:pt x="1065" y="232"/>
                </a:lnTo>
                <a:lnTo>
                  <a:pt x="1065" y="127"/>
                </a:lnTo>
                <a:cubicBezTo>
                  <a:pt x="1065" y="113"/>
                  <a:pt x="1062" y="103"/>
                  <a:pt x="1056" y="97"/>
                </a:cubicBezTo>
                <a:cubicBezTo>
                  <a:pt x="1051" y="91"/>
                  <a:pt x="1043" y="87"/>
                  <a:pt x="1033" y="87"/>
                </a:cubicBezTo>
                <a:cubicBezTo>
                  <a:pt x="1025" y="87"/>
                  <a:pt x="1018" y="90"/>
                  <a:pt x="1011" y="94"/>
                </a:cubicBezTo>
                <a:cubicBezTo>
                  <a:pt x="1004" y="98"/>
                  <a:pt x="1000" y="104"/>
                  <a:pt x="997" y="111"/>
                </a:cubicBezTo>
                <a:cubicBezTo>
                  <a:pt x="994" y="119"/>
                  <a:pt x="992" y="129"/>
                  <a:pt x="992" y="142"/>
                </a:cubicBezTo>
                <a:lnTo>
                  <a:pt x="992" y="232"/>
                </a:lnTo>
                <a:lnTo>
                  <a:pt x="966" y="232"/>
                </a:lnTo>
                <a:close/>
                <a:moveTo>
                  <a:pt x="1236" y="178"/>
                </a:moveTo>
                <a:lnTo>
                  <a:pt x="1262" y="182"/>
                </a:lnTo>
                <a:cubicBezTo>
                  <a:pt x="1258" y="199"/>
                  <a:pt x="1250" y="212"/>
                  <a:pt x="1239" y="221"/>
                </a:cubicBezTo>
                <a:cubicBezTo>
                  <a:pt x="1228" y="230"/>
                  <a:pt x="1213" y="235"/>
                  <a:pt x="1195" y="235"/>
                </a:cubicBezTo>
                <a:cubicBezTo>
                  <a:pt x="1173" y="235"/>
                  <a:pt x="1155" y="228"/>
                  <a:pt x="1142" y="213"/>
                </a:cubicBezTo>
                <a:cubicBezTo>
                  <a:pt x="1129" y="198"/>
                  <a:pt x="1122" y="177"/>
                  <a:pt x="1122" y="151"/>
                </a:cubicBezTo>
                <a:cubicBezTo>
                  <a:pt x="1122" y="123"/>
                  <a:pt x="1129" y="101"/>
                  <a:pt x="1142" y="86"/>
                </a:cubicBezTo>
                <a:cubicBezTo>
                  <a:pt x="1155" y="71"/>
                  <a:pt x="1173" y="63"/>
                  <a:pt x="1194" y="63"/>
                </a:cubicBezTo>
                <a:cubicBezTo>
                  <a:pt x="1214" y="63"/>
                  <a:pt x="1231" y="71"/>
                  <a:pt x="1244" y="86"/>
                </a:cubicBezTo>
                <a:cubicBezTo>
                  <a:pt x="1257" y="101"/>
                  <a:pt x="1263" y="122"/>
                  <a:pt x="1263" y="149"/>
                </a:cubicBezTo>
                <a:cubicBezTo>
                  <a:pt x="1263" y="151"/>
                  <a:pt x="1263" y="153"/>
                  <a:pt x="1263" y="156"/>
                </a:cubicBezTo>
                <a:lnTo>
                  <a:pt x="1149" y="156"/>
                </a:lnTo>
                <a:cubicBezTo>
                  <a:pt x="1150" y="174"/>
                  <a:pt x="1155" y="188"/>
                  <a:pt x="1163" y="198"/>
                </a:cubicBezTo>
                <a:cubicBezTo>
                  <a:pt x="1172" y="207"/>
                  <a:pt x="1182" y="212"/>
                  <a:pt x="1195" y="212"/>
                </a:cubicBezTo>
                <a:cubicBezTo>
                  <a:pt x="1205" y="212"/>
                  <a:pt x="1213" y="209"/>
                  <a:pt x="1220" y="204"/>
                </a:cubicBezTo>
                <a:cubicBezTo>
                  <a:pt x="1226" y="199"/>
                  <a:pt x="1232" y="190"/>
                  <a:pt x="1236" y="178"/>
                </a:cubicBezTo>
                <a:close/>
                <a:moveTo>
                  <a:pt x="1150" y="133"/>
                </a:moveTo>
                <a:lnTo>
                  <a:pt x="1236" y="133"/>
                </a:lnTo>
                <a:cubicBezTo>
                  <a:pt x="1235" y="120"/>
                  <a:pt x="1231" y="109"/>
                  <a:pt x="1226" y="102"/>
                </a:cubicBezTo>
                <a:cubicBezTo>
                  <a:pt x="1218" y="92"/>
                  <a:pt x="1207" y="86"/>
                  <a:pt x="1194" y="86"/>
                </a:cubicBezTo>
                <a:cubicBezTo>
                  <a:pt x="1182" y="86"/>
                  <a:pt x="1172" y="90"/>
                  <a:pt x="1164" y="99"/>
                </a:cubicBezTo>
                <a:cubicBezTo>
                  <a:pt x="1156" y="108"/>
                  <a:pt x="1151" y="119"/>
                  <a:pt x="1150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74" name="Group 373">
            <a:extLst>
              <a:ext uri="{FF2B5EF4-FFF2-40B4-BE49-F238E27FC236}">
                <a16:creationId xmlns:a16="http://schemas.microsoft.com/office/drawing/2014/main" id="{B5D1614A-0160-4D62-8878-ED08E810658F}"/>
              </a:ext>
            </a:extLst>
          </p:cNvPr>
          <p:cNvGrpSpPr/>
          <p:nvPr/>
        </p:nvGrpSpPr>
        <p:grpSpPr>
          <a:xfrm>
            <a:off x="11115844" y="1403350"/>
            <a:ext cx="577850" cy="576263"/>
            <a:chOff x="11115844" y="1403350"/>
            <a:chExt cx="577850" cy="576263"/>
          </a:xfrm>
          <a:solidFill>
            <a:schemeClr val="accent1"/>
          </a:solidFill>
        </p:grpSpPr>
        <p:sp>
          <p:nvSpPr>
            <p:cNvPr id="50" name="Freeform 249">
              <a:extLst>
                <a:ext uri="{FF2B5EF4-FFF2-40B4-BE49-F238E27FC236}">
                  <a16:creationId xmlns:a16="http://schemas.microsoft.com/office/drawing/2014/main" id="{B51DD195-1B98-4B6B-A885-722E160E47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15844" y="1403350"/>
              <a:ext cx="577850" cy="576263"/>
            </a:xfrm>
            <a:custGeom>
              <a:avLst/>
              <a:gdLst>
                <a:gd name="T0" fmla="*/ 1042 w 1604"/>
                <a:gd name="T1" fmla="*/ 561 h 1603"/>
                <a:gd name="T2" fmla="*/ 803 w 1604"/>
                <a:gd name="T3" fmla="*/ 801 h 1603"/>
                <a:gd name="T4" fmla="*/ 561 w 1604"/>
                <a:gd name="T5" fmla="*/ 559 h 1603"/>
                <a:gd name="T6" fmla="*/ 561 w 1604"/>
                <a:gd name="T7" fmla="*/ 467 h 1603"/>
                <a:gd name="T8" fmla="*/ 802 w 1604"/>
                <a:gd name="T9" fmla="*/ 227 h 1603"/>
                <a:gd name="T10" fmla="*/ 1042 w 1604"/>
                <a:gd name="T11" fmla="*/ 467 h 1603"/>
                <a:gd name="T12" fmla="*/ 1042 w 1604"/>
                <a:gd name="T13" fmla="*/ 561 h 1603"/>
                <a:gd name="T14" fmla="*/ 1443 w 1604"/>
                <a:gd name="T15" fmla="*/ 561 h 1603"/>
                <a:gd name="T16" fmla="*/ 1203 w 1604"/>
                <a:gd name="T17" fmla="*/ 561 h 1603"/>
                <a:gd name="T18" fmla="*/ 1203 w 1604"/>
                <a:gd name="T19" fmla="*/ 401 h 1603"/>
                <a:gd name="T20" fmla="*/ 1203 w 1604"/>
                <a:gd name="T21" fmla="*/ 401 h 1603"/>
                <a:gd name="T22" fmla="*/ 1203 w 1604"/>
                <a:gd name="T23" fmla="*/ 401 h 1603"/>
                <a:gd name="T24" fmla="*/ 1203 w 1604"/>
                <a:gd name="T25" fmla="*/ 400 h 1603"/>
                <a:gd name="T26" fmla="*/ 1202 w 1604"/>
                <a:gd name="T27" fmla="*/ 400 h 1603"/>
                <a:gd name="T28" fmla="*/ 802 w 1604"/>
                <a:gd name="T29" fmla="*/ 0 h 1603"/>
                <a:gd name="T30" fmla="*/ 401 w 1604"/>
                <a:gd name="T31" fmla="*/ 400 h 1603"/>
                <a:gd name="T32" fmla="*/ 401 w 1604"/>
                <a:gd name="T33" fmla="*/ 400 h 1603"/>
                <a:gd name="T34" fmla="*/ 401 w 1604"/>
                <a:gd name="T35" fmla="*/ 561 h 1603"/>
                <a:gd name="T36" fmla="*/ 160 w 1604"/>
                <a:gd name="T37" fmla="*/ 561 h 1603"/>
                <a:gd name="T38" fmla="*/ 0 w 1604"/>
                <a:gd name="T39" fmla="*/ 561 h 1603"/>
                <a:gd name="T40" fmla="*/ 0 w 1604"/>
                <a:gd name="T41" fmla="*/ 996 h 1603"/>
                <a:gd name="T42" fmla="*/ 0 w 1604"/>
                <a:gd name="T43" fmla="*/ 1042 h 1603"/>
                <a:gd name="T44" fmla="*/ 0 w 1604"/>
                <a:gd name="T45" fmla="*/ 1043 h 1603"/>
                <a:gd name="T46" fmla="*/ 401 w 1604"/>
                <a:gd name="T47" fmla="*/ 1602 h 1603"/>
                <a:gd name="T48" fmla="*/ 401 w 1604"/>
                <a:gd name="T49" fmla="*/ 1603 h 1603"/>
                <a:gd name="T50" fmla="*/ 402 w 1604"/>
                <a:gd name="T51" fmla="*/ 1603 h 1603"/>
                <a:gd name="T52" fmla="*/ 538 w 1604"/>
                <a:gd name="T53" fmla="*/ 1603 h 1603"/>
                <a:gd name="T54" fmla="*/ 642 w 1604"/>
                <a:gd name="T55" fmla="*/ 1603 h 1603"/>
                <a:gd name="T56" fmla="*/ 642 w 1604"/>
                <a:gd name="T57" fmla="*/ 1443 h 1603"/>
                <a:gd name="T58" fmla="*/ 484 w 1604"/>
                <a:gd name="T59" fmla="*/ 1443 h 1603"/>
                <a:gd name="T60" fmla="*/ 160 w 1604"/>
                <a:gd name="T61" fmla="*/ 991 h 1603"/>
                <a:gd name="T62" fmla="*/ 160 w 1604"/>
                <a:gd name="T63" fmla="*/ 721 h 1603"/>
                <a:gd name="T64" fmla="*/ 496 w 1604"/>
                <a:gd name="T65" fmla="*/ 721 h 1603"/>
                <a:gd name="T66" fmla="*/ 722 w 1604"/>
                <a:gd name="T67" fmla="*/ 947 h 1603"/>
                <a:gd name="T68" fmla="*/ 722 w 1604"/>
                <a:gd name="T69" fmla="*/ 1603 h 1603"/>
                <a:gd name="T70" fmla="*/ 882 w 1604"/>
                <a:gd name="T71" fmla="*/ 1603 h 1603"/>
                <a:gd name="T72" fmla="*/ 882 w 1604"/>
                <a:gd name="T73" fmla="*/ 948 h 1603"/>
                <a:gd name="T74" fmla="*/ 1109 w 1604"/>
                <a:gd name="T75" fmla="*/ 721 h 1603"/>
                <a:gd name="T76" fmla="*/ 1443 w 1604"/>
                <a:gd name="T77" fmla="*/ 721 h 1603"/>
                <a:gd name="T78" fmla="*/ 1443 w 1604"/>
                <a:gd name="T79" fmla="*/ 992 h 1603"/>
                <a:gd name="T80" fmla="*/ 1120 w 1604"/>
                <a:gd name="T81" fmla="*/ 1443 h 1603"/>
                <a:gd name="T82" fmla="*/ 962 w 1604"/>
                <a:gd name="T83" fmla="*/ 1443 h 1603"/>
                <a:gd name="T84" fmla="*/ 962 w 1604"/>
                <a:gd name="T85" fmla="*/ 1603 h 1603"/>
                <a:gd name="T86" fmla="*/ 1174 w 1604"/>
                <a:gd name="T87" fmla="*/ 1603 h 1603"/>
                <a:gd name="T88" fmla="*/ 1202 w 1604"/>
                <a:gd name="T89" fmla="*/ 1603 h 1603"/>
                <a:gd name="T90" fmla="*/ 1203 w 1604"/>
                <a:gd name="T91" fmla="*/ 1603 h 1603"/>
                <a:gd name="T92" fmla="*/ 1203 w 1604"/>
                <a:gd name="T93" fmla="*/ 1602 h 1603"/>
                <a:gd name="T94" fmla="*/ 1604 w 1604"/>
                <a:gd name="T95" fmla="*/ 1043 h 1603"/>
                <a:gd name="T96" fmla="*/ 1604 w 1604"/>
                <a:gd name="T97" fmla="*/ 1042 h 1603"/>
                <a:gd name="T98" fmla="*/ 1604 w 1604"/>
                <a:gd name="T99" fmla="*/ 919 h 1603"/>
                <a:gd name="T100" fmla="*/ 1604 w 1604"/>
                <a:gd name="T101" fmla="*/ 561 h 1603"/>
                <a:gd name="T102" fmla="*/ 1443 w 1604"/>
                <a:gd name="T103" fmla="*/ 561 h 1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04" h="1603">
                  <a:moveTo>
                    <a:pt x="1042" y="561"/>
                  </a:moveTo>
                  <a:lnTo>
                    <a:pt x="803" y="801"/>
                  </a:lnTo>
                  <a:lnTo>
                    <a:pt x="561" y="559"/>
                  </a:lnTo>
                  <a:lnTo>
                    <a:pt x="561" y="467"/>
                  </a:lnTo>
                  <a:lnTo>
                    <a:pt x="802" y="227"/>
                  </a:lnTo>
                  <a:lnTo>
                    <a:pt x="1042" y="467"/>
                  </a:lnTo>
                  <a:lnTo>
                    <a:pt x="1042" y="561"/>
                  </a:lnTo>
                  <a:close/>
                  <a:moveTo>
                    <a:pt x="1443" y="561"/>
                  </a:moveTo>
                  <a:lnTo>
                    <a:pt x="1203" y="561"/>
                  </a:lnTo>
                  <a:lnTo>
                    <a:pt x="1203" y="401"/>
                  </a:lnTo>
                  <a:lnTo>
                    <a:pt x="1203" y="401"/>
                  </a:lnTo>
                  <a:lnTo>
                    <a:pt x="1203" y="401"/>
                  </a:lnTo>
                  <a:lnTo>
                    <a:pt x="1203" y="400"/>
                  </a:lnTo>
                  <a:lnTo>
                    <a:pt x="1202" y="400"/>
                  </a:lnTo>
                  <a:lnTo>
                    <a:pt x="802" y="0"/>
                  </a:lnTo>
                  <a:lnTo>
                    <a:pt x="401" y="400"/>
                  </a:lnTo>
                  <a:lnTo>
                    <a:pt x="401" y="400"/>
                  </a:lnTo>
                  <a:lnTo>
                    <a:pt x="401" y="561"/>
                  </a:lnTo>
                  <a:lnTo>
                    <a:pt x="160" y="561"/>
                  </a:lnTo>
                  <a:lnTo>
                    <a:pt x="0" y="561"/>
                  </a:lnTo>
                  <a:lnTo>
                    <a:pt x="0" y="996"/>
                  </a:lnTo>
                  <a:lnTo>
                    <a:pt x="0" y="1042"/>
                  </a:lnTo>
                  <a:lnTo>
                    <a:pt x="0" y="1043"/>
                  </a:lnTo>
                  <a:lnTo>
                    <a:pt x="401" y="1602"/>
                  </a:lnTo>
                  <a:lnTo>
                    <a:pt x="401" y="1603"/>
                  </a:lnTo>
                  <a:lnTo>
                    <a:pt x="402" y="1603"/>
                  </a:lnTo>
                  <a:lnTo>
                    <a:pt x="538" y="1603"/>
                  </a:lnTo>
                  <a:lnTo>
                    <a:pt x="642" y="1603"/>
                  </a:lnTo>
                  <a:lnTo>
                    <a:pt x="642" y="1443"/>
                  </a:lnTo>
                  <a:lnTo>
                    <a:pt x="484" y="1443"/>
                  </a:lnTo>
                  <a:lnTo>
                    <a:pt x="160" y="991"/>
                  </a:lnTo>
                  <a:lnTo>
                    <a:pt x="160" y="721"/>
                  </a:lnTo>
                  <a:lnTo>
                    <a:pt x="496" y="721"/>
                  </a:lnTo>
                  <a:lnTo>
                    <a:pt x="722" y="947"/>
                  </a:lnTo>
                  <a:lnTo>
                    <a:pt x="722" y="1603"/>
                  </a:lnTo>
                  <a:lnTo>
                    <a:pt x="882" y="1603"/>
                  </a:lnTo>
                  <a:lnTo>
                    <a:pt x="882" y="948"/>
                  </a:lnTo>
                  <a:lnTo>
                    <a:pt x="1109" y="721"/>
                  </a:lnTo>
                  <a:lnTo>
                    <a:pt x="1443" y="721"/>
                  </a:lnTo>
                  <a:lnTo>
                    <a:pt x="1443" y="992"/>
                  </a:lnTo>
                  <a:lnTo>
                    <a:pt x="1120" y="1443"/>
                  </a:lnTo>
                  <a:lnTo>
                    <a:pt x="962" y="1443"/>
                  </a:lnTo>
                  <a:lnTo>
                    <a:pt x="962" y="1603"/>
                  </a:lnTo>
                  <a:lnTo>
                    <a:pt x="1174" y="1603"/>
                  </a:lnTo>
                  <a:lnTo>
                    <a:pt x="1202" y="1603"/>
                  </a:lnTo>
                  <a:lnTo>
                    <a:pt x="1203" y="1603"/>
                  </a:lnTo>
                  <a:lnTo>
                    <a:pt x="1203" y="1602"/>
                  </a:lnTo>
                  <a:lnTo>
                    <a:pt x="1604" y="1043"/>
                  </a:lnTo>
                  <a:lnTo>
                    <a:pt x="1604" y="1042"/>
                  </a:lnTo>
                  <a:lnTo>
                    <a:pt x="1604" y="919"/>
                  </a:lnTo>
                  <a:lnTo>
                    <a:pt x="1604" y="561"/>
                  </a:lnTo>
                  <a:lnTo>
                    <a:pt x="1443" y="5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1" name="Rectangle 250">
              <a:extLst>
                <a:ext uri="{FF2B5EF4-FFF2-40B4-BE49-F238E27FC236}">
                  <a16:creationId xmlns:a16="http://schemas.microsoft.com/office/drawing/2014/main" id="{48002FF4-71E7-411A-BB90-082A306838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60306" y="1568450"/>
              <a:ext cx="57150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2" name="Rectangle 251">
              <a:extLst>
                <a:ext uri="{FF2B5EF4-FFF2-40B4-BE49-F238E27FC236}">
                  <a16:creationId xmlns:a16="http://schemas.microsoft.com/office/drawing/2014/main" id="{0A0157EB-B8F5-46BA-9F94-2AD2C6EFA8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90494" y="1568450"/>
              <a:ext cx="58738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231" name="Freeform 71">
            <a:extLst>
              <a:ext uri="{FF2B5EF4-FFF2-40B4-BE49-F238E27FC236}">
                <a16:creationId xmlns:a16="http://schemas.microsoft.com/office/drawing/2014/main" id="{8EDC3AB5-C95C-4D5D-A850-0EA20DAD27C4}"/>
              </a:ext>
            </a:extLst>
          </p:cNvPr>
          <p:cNvSpPr>
            <a:spLocks noEditPoints="1"/>
          </p:cNvSpPr>
          <p:nvPr/>
        </p:nvSpPr>
        <p:spPr bwMode="auto">
          <a:xfrm>
            <a:off x="11184107" y="3054350"/>
            <a:ext cx="469900" cy="198438"/>
          </a:xfrm>
          <a:custGeom>
            <a:avLst/>
            <a:gdLst>
              <a:gd name="T0" fmla="*/ 56 w 1306"/>
              <a:gd name="T1" fmla="*/ 202 h 553"/>
              <a:gd name="T2" fmla="*/ 141 w 1306"/>
              <a:gd name="T3" fmla="*/ 170 h 553"/>
              <a:gd name="T4" fmla="*/ 38 w 1306"/>
              <a:gd name="T5" fmla="*/ 113 h 553"/>
              <a:gd name="T6" fmla="*/ 43 w 1306"/>
              <a:gd name="T7" fmla="*/ 8 h 553"/>
              <a:gd name="T8" fmla="*/ 162 w 1306"/>
              <a:gd name="T9" fmla="*/ 68 h 553"/>
              <a:gd name="T10" fmla="*/ 46 w 1306"/>
              <a:gd name="T11" fmla="*/ 37 h 553"/>
              <a:gd name="T12" fmla="*/ 132 w 1306"/>
              <a:gd name="T13" fmla="*/ 112 h 553"/>
              <a:gd name="T14" fmla="*/ 131 w 1306"/>
              <a:gd name="T15" fmla="*/ 226 h 553"/>
              <a:gd name="T16" fmla="*/ 0 w 1306"/>
              <a:gd name="T17" fmla="*/ 159 h 553"/>
              <a:gd name="T18" fmla="*/ 524 w 1306"/>
              <a:gd name="T19" fmla="*/ 500 h 553"/>
              <a:gd name="T20" fmla="*/ 522 w 1306"/>
              <a:gd name="T21" fmla="*/ 549 h 553"/>
              <a:gd name="T22" fmla="*/ 685 w 1306"/>
              <a:gd name="T23" fmla="*/ 496 h 553"/>
              <a:gd name="T24" fmla="*/ 592 w 1306"/>
              <a:gd name="T25" fmla="*/ 530 h 553"/>
              <a:gd name="T26" fmla="*/ 694 w 1306"/>
              <a:gd name="T27" fmla="*/ 403 h 553"/>
              <a:gd name="T28" fmla="*/ 613 w 1306"/>
              <a:gd name="T29" fmla="*/ 515 h 553"/>
              <a:gd name="T30" fmla="*/ 600 w 1306"/>
              <a:gd name="T31" fmla="*/ 451 h 553"/>
              <a:gd name="T32" fmla="*/ 614 w 1306"/>
              <a:gd name="T33" fmla="*/ 416 h 553"/>
              <a:gd name="T34" fmla="*/ 738 w 1306"/>
              <a:gd name="T35" fmla="*/ 384 h 553"/>
              <a:gd name="T36" fmla="*/ 804 w 1306"/>
              <a:gd name="T37" fmla="*/ 384 h 553"/>
              <a:gd name="T38" fmla="*/ 870 w 1306"/>
              <a:gd name="T39" fmla="*/ 480 h 553"/>
              <a:gd name="T40" fmla="*/ 847 w 1306"/>
              <a:gd name="T41" fmla="*/ 549 h 553"/>
              <a:gd name="T42" fmla="*/ 758 w 1306"/>
              <a:gd name="T43" fmla="*/ 549 h 553"/>
              <a:gd name="T44" fmla="*/ 265 w 1306"/>
              <a:gd name="T45" fmla="*/ 235 h 553"/>
              <a:gd name="T46" fmla="*/ 229 w 1306"/>
              <a:gd name="T47" fmla="*/ 73 h 553"/>
              <a:gd name="T48" fmla="*/ 301 w 1306"/>
              <a:gd name="T49" fmla="*/ 119 h 553"/>
              <a:gd name="T50" fmla="*/ 222 w 1306"/>
              <a:gd name="T51" fmla="*/ 149 h 553"/>
              <a:gd name="T52" fmla="*/ 303 w 1306"/>
              <a:gd name="T53" fmla="*/ 171 h 553"/>
              <a:gd name="T54" fmla="*/ 356 w 1306"/>
              <a:gd name="T55" fmla="*/ 222 h 553"/>
              <a:gd name="T56" fmla="*/ 379 w 1306"/>
              <a:gd name="T57" fmla="*/ 141 h 553"/>
              <a:gd name="T58" fmla="*/ 442 w 1306"/>
              <a:gd name="T59" fmla="*/ 96 h 553"/>
              <a:gd name="T60" fmla="*/ 347 w 1306"/>
              <a:gd name="T61" fmla="*/ 114 h 553"/>
              <a:gd name="T62" fmla="*/ 448 w 1306"/>
              <a:gd name="T63" fmla="*/ 68 h 553"/>
              <a:gd name="T64" fmla="*/ 475 w 1306"/>
              <a:gd name="T65" fmla="*/ 162 h 553"/>
              <a:gd name="T66" fmla="*/ 451 w 1306"/>
              <a:gd name="T67" fmla="*/ 211 h 553"/>
              <a:gd name="T68" fmla="*/ 374 w 1306"/>
              <a:gd name="T69" fmla="*/ 174 h 553"/>
              <a:gd name="T70" fmla="*/ 428 w 1306"/>
              <a:gd name="T71" fmla="*/ 206 h 553"/>
              <a:gd name="T72" fmla="*/ 515 w 1306"/>
              <a:gd name="T73" fmla="*/ 232 h 553"/>
              <a:gd name="T74" fmla="*/ 515 w 1306"/>
              <a:gd name="T75" fmla="*/ 232 h 553"/>
              <a:gd name="T76" fmla="*/ 646 w 1306"/>
              <a:gd name="T77" fmla="*/ 235 h 553"/>
              <a:gd name="T78" fmla="*/ 644 w 1306"/>
              <a:gd name="T79" fmla="*/ 63 h 553"/>
              <a:gd name="T80" fmla="*/ 599 w 1306"/>
              <a:gd name="T81" fmla="*/ 156 h 553"/>
              <a:gd name="T82" fmla="*/ 686 w 1306"/>
              <a:gd name="T83" fmla="*/ 178 h 553"/>
              <a:gd name="T84" fmla="*/ 644 w 1306"/>
              <a:gd name="T85" fmla="*/ 86 h 553"/>
              <a:gd name="T86" fmla="*/ 885 w 1306"/>
              <a:gd name="T87" fmla="*/ 31 h 553"/>
              <a:gd name="T88" fmla="*/ 983 w 1306"/>
              <a:gd name="T89" fmla="*/ 31 h 553"/>
              <a:gd name="T90" fmla="*/ 1009 w 1306"/>
              <a:gd name="T91" fmla="*/ 232 h 553"/>
              <a:gd name="T92" fmla="*/ 1080 w 1306"/>
              <a:gd name="T93" fmla="*/ 63 h 553"/>
              <a:gd name="T94" fmla="*/ 1133 w 1306"/>
              <a:gd name="T95" fmla="*/ 232 h 553"/>
              <a:gd name="T96" fmla="*/ 1075 w 1306"/>
              <a:gd name="T97" fmla="*/ 87 h 553"/>
              <a:gd name="T98" fmla="*/ 1035 w 1306"/>
              <a:gd name="T99" fmla="*/ 232 h 553"/>
              <a:gd name="T100" fmla="*/ 1281 w 1306"/>
              <a:gd name="T101" fmla="*/ 221 h 553"/>
              <a:gd name="T102" fmla="*/ 1184 w 1306"/>
              <a:gd name="T103" fmla="*/ 86 h 553"/>
              <a:gd name="T104" fmla="*/ 1305 w 1306"/>
              <a:gd name="T105" fmla="*/ 156 h 553"/>
              <a:gd name="T106" fmla="*/ 1262 w 1306"/>
              <a:gd name="T107" fmla="*/ 204 h 553"/>
              <a:gd name="T108" fmla="*/ 1268 w 1306"/>
              <a:gd name="T109" fmla="*/ 102 h 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306" h="553">
                <a:moveTo>
                  <a:pt x="0" y="159"/>
                </a:moveTo>
                <a:lnTo>
                  <a:pt x="26" y="156"/>
                </a:lnTo>
                <a:cubicBezTo>
                  <a:pt x="27" y="167"/>
                  <a:pt x="30" y="177"/>
                  <a:pt x="35" y="184"/>
                </a:cubicBezTo>
                <a:cubicBezTo>
                  <a:pt x="39" y="191"/>
                  <a:pt x="47" y="197"/>
                  <a:pt x="56" y="202"/>
                </a:cubicBezTo>
                <a:cubicBezTo>
                  <a:pt x="66" y="206"/>
                  <a:pt x="77" y="209"/>
                  <a:pt x="89" y="209"/>
                </a:cubicBezTo>
                <a:cubicBezTo>
                  <a:pt x="99" y="209"/>
                  <a:pt x="109" y="207"/>
                  <a:pt x="117" y="204"/>
                </a:cubicBezTo>
                <a:cubicBezTo>
                  <a:pt x="125" y="200"/>
                  <a:pt x="131" y="195"/>
                  <a:pt x="135" y="189"/>
                </a:cubicBezTo>
                <a:cubicBezTo>
                  <a:pt x="139" y="183"/>
                  <a:pt x="141" y="177"/>
                  <a:pt x="141" y="170"/>
                </a:cubicBezTo>
                <a:cubicBezTo>
                  <a:pt x="141" y="163"/>
                  <a:pt x="139" y="157"/>
                  <a:pt x="135" y="151"/>
                </a:cubicBezTo>
                <a:cubicBezTo>
                  <a:pt x="132" y="146"/>
                  <a:pt x="125" y="142"/>
                  <a:pt x="116" y="138"/>
                </a:cubicBezTo>
                <a:cubicBezTo>
                  <a:pt x="111" y="136"/>
                  <a:pt x="98" y="132"/>
                  <a:pt x="79" y="127"/>
                </a:cubicBezTo>
                <a:cubicBezTo>
                  <a:pt x="59" y="122"/>
                  <a:pt x="46" y="117"/>
                  <a:pt x="38" y="113"/>
                </a:cubicBezTo>
                <a:cubicBezTo>
                  <a:pt x="28" y="107"/>
                  <a:pt x="20" y="100"/>
                  <a:pt x="15" y="91"/>
                </a:cubicBezTo>
                <a:cubicBezTo>
                  <a:pt x="10" y="83"/>
                  <a:pt x="8" y="74"/>
                  <a:pt x="8" y="63"/>
                </a:cubicBezTo>
                <a:cubicBezTo>
                  <a:pt x="8" y="52"/>
                  <a:pt x="11" y="41"/>
                  <a:pt x="17" y="31"/>
                </a:cubicBezTo>
                <a:cubicBezTo>
                  <a:pt x="23" y="21"/>
                  <a:pt x="32" y="13"/>
                  <a:pt x="43" y="8"/>
                </a:cubicBezTo>
                <a:cubicBezTo>
                  <a:pt x="55" y="3"/>
                  <a:pt x="68" y="0"/>
                  <a:pt x="82" y="0"/>
                </a:cubicBezTo>
                <a:cubicBezTo>
                  <a:pt x="98" y="0"/>
                  <a:pt x="112" y="3"/>
                  <a:pt x="124" y="9"/>
                </a:cubicBezTo>
                <a:cubicBezTo>
                  <a:pt x="136" y="14"/>
                  <a:pt x="145" y="22"/>
                  <a:pt x="152" y="33"/>
                </a:cubicBezTo>
                <a:cubicBezTo>
                  <a:pt x="158" y="43"/>
                  <a:pt x="161" y="55"/>
                  <a:pt x="162" y="68"/>
                </a:cubicBezTo>
                <a:lnTo>
                  <a:pt x="135" y="71"/>
                </a:lnTo>
                <a:cubicBezTo>
                  <a:pt x="134" y="56"/>
                  <a:pt x="129" y="45"/>
                  <a:pt x="120" y="38"/>
                </a:cubicBezTo>
                <a:cubicBezTo>
                  <a:pt x="112" y="31"/>
                  <a:pt x="100" y="27"/>
                  <a:pt x="83" y="27"/>
                </a:cubicBezTo>
                <a:cubicBezTo>
                  <a:pt x="66" y="27"/>
                  <a:pt x="54" y="30"/>
                  <a:pt x="46" y="37"/>
                </a:cubicBezTo>
                <a:cubicBezTo>
                  <a:pt x="39" y="44"/>
                  <a:pt x="35" y="52"/>
                  <a:pt x="35" y="61"/>
                </a:cubicBezTo>
                <a:cubicBezTo>
                  <a:pt x="35" y="69"/>
                  <a:pt x="37" y="76"/>
                  <a:pt x="43" y="81"/>
                </a:cubicBezTo>
                <a:cubicBezTo>
                  <a:pt x="48" y="87"/>
                  <a:pt x="62" y="92"/>
                  <a:pt x="85" y="98"/>
                </a:cubicBezTo>
                <a:cubicBezTo>
                  <a:pt x="108" y="103"/>
                  <a:pt x="124" y="108"/>
                  <a:pt x="132" y="112"/>
                </a:cubicBezTo>
                <a:cubicBezTo>
                  <a:pt x="144" y="118"/>
                  <a:pt x="153" y="126"/>
                  <a:pt x="159" y="135"/>
                </a:cubicBezTo>
                <a:cubicBezTo>
                  <a:pt x="165" y="145"/>
                  <a:pt x="168" y="155"/>
                  <a:pt x="168" y="167"/>
                </a:cubicBezTo>
                <a:cubicBezTo>
                  <a:pt x="168" y="180"/>
                  <a:pt x="165" y="191"/>
                  <a:pt x="158" y="202"/>
                </a:cubicBezTo>
                <a:cubicBezTo>
                  <a:pt x="152" y="212"/>
                  <a:pt x="143" y="221"/>
                  <a:pt x="131" y="226"/>
                </a:cubicBezTo>
                <a:cubicBezTo>
                  <a:pt x="119" y="232"/>
                  <a:pt x="105" y="235"/>
                  <a:pt x="90" y="235"/>
                </a:cubicBezTo>
                <a:cubicBezTo>
                  <a:pt x="71" y="235"/>
                  <a:pt x="55" y="232"/>
                  <a:pt x="42" y="226"/>
                </a:cubicBezTo>
                <a:cubicBezTo>
                  <a:pt x="29" y="220"/>
                  <a:pt x="19" y="211"/>
                  <a:pt x="11" y="199"/>
                </a:cubicBezTo>
                <a:cubicBezTo>
                  <a:pt x="4" y="187"/>
                  <a:pt x="0" y="174"/>
                  <a:pt x="0" y="159"/>
                </a:cubicBezTo>
                <a:close/>
                <a:moveTo>
                  <a:pt x="384" y="549"/>
                </a:moveTo>
                <a:lnTo>
                  <a:pt x="384" y="322"/>
                </a:lnTo>
                <a:lnTo>
                  <a:pt x="412" y="322"/>
                </a:lnTo>
                <a:lnTo>
                  <a:pt x="524" y="500"/>
                </a:lnTo>
                <a:lnTo>
                  <a:pt x="524" y="322"/>
                </a:lnTo>
                <a:lnTo>
                  <a:pt x="550" y="322"/>
                </a:lnTo>
                <a:lnTo>
                  <a:pt x="550" y="549"/>
                </a:lnTo>
                <a:lnTo>
                  <a:pt x="522" y="549"/>
                </a:lnTo>
                <a:lnTo>
                  <a:pt x="411" y="371"/>
                </a:lnTo>
                <a:lnTo>
                  <a:pt x="411" y="549"/>
                </a:lnTo>
                <a:lnTo>
                  <a:pt x="384" y="549"/>
                </a:lnTo>
                <a:close/>
                <a:moveTo>
                  <a:pt x="685" y="496"/>
                </a:moveTo>
                <a:lnTo>
                  <a:pt x="712" y="500"/>
                </a:lnTo>
                <a:cubicBezTo>
                  <a:pt x="708" y="516"/>
                  <a:pt x="700" y="529"/>
                  <a:pt x="689" y="539"/>
                </a:cubicBezTo>
                <a:cubicBezTo>
                  <a:pt x="677" y="548"/>
                  <a:pt x="663" y="553"/>
                  <a:pt x="645" y="553"/>
                </a:cubicBezTo>
                <a:cubicBezTo>
                  <a:pt x="623" y="553"/>
                  <a:pt x="605" y="545"/>
                  <a:pt x="592" y="530"/>
                </a:cubicBezTo>
                <a:cubicBezTo>
                  <a:pt x="579" y="516"/>
                  <a:pt x="572" y="495"/>
                  <a:pt x="572" y="468"/>
                </a:cubicBezTo>
                <a:cubicBezTo>
                  <a:pt x="572" y="440"/>
                  <a:pt x="579" y="419"/>
                  <a:pt x="592" y="404"/>
                </a:cubicBezTo>
                <a:cubicBezTo>
                  <a:pt x="605" y="388"/>
                  <a:pt x="622" y="381"/>
                  <a:pt x="644" y="381"/>
                </a:cubicBezTo>
                <a:cubicBezTo>
                  <a:pt x="664" y="381"/>
                  <a:pt x="681" y="388"/>
                  <a:pt x="694" y="403"/>
                </a:cubicBezTo>
                <a:cubicBezTo>
                  <a:pt x="707" y="418"/>
                  <a:pt x="713" y="439"/>
                  <a:pt x="713" y="466"/>
                </a:cubicBezTo>
                <a:cubicBezTo>
                  <a:pt x="713" y="468"/>
                  <a:pt x="713" y="471"/>
                  <a:pt x="713" y="474"/>
                </a:cubicBezTo>
                <a:lnTo>
                  <a:pt x="599" y="474"/>
                </a:lnTo>
                <a:cubicBezTo>
                  <a:pt x="600" y="492"/>
                  <a:pt x="604" y="506"/>
                  <a:pt x="613" y="515"/>
                </a:cubicBezTo>
                <a:cubicBezTo>
                  <a:pt x="621" y="525"/>
                  <a:pt x="632" y="530"/>
                  <a:pt x="645" y="530"/>
                </a:cubicBezTo>
                <a:cubicBezTo>
                  <a:pt x="654" y="530"/>
                  <a:pt x="663" y="527"/>
                  <a:pt x="669" y="522"/>
                </a:cubicBezTo>
                <a:cubicBezTo>
                  <a:pt x="676" y="516"/>
                  <a:pt x="681" y="508"/>
                  <a:pt x="685" y="496"/>
                </a:cubicBezTo>
                <a:close/>
                <a:moveTo>
                  <a:pt x="600" y="451"/>
                </a:moveTo>
                <a:lnTo>
                  <a:pt x="686" y="451"/>
                </a:lnTo>
                <a:cubicBezTo>
                  <a:pt x="684" y="437"/>
                  <a:pt x="681" y="427"/>
                  <a:pt x="676" y="420"/>
                </a:cubicBezTo>
                <a:cubicBezTo>
                  <a:pt x="668" y="409"/>
                  <a:pt x="657" y="404"/>
                  <a:pt x="644" y="404"/>
                </a:cubicBezTo>
                <a:cubicBezTo>
                  <a:pt x="632" y="404"/>
                  <a:pt x="622" y="408"/>
                  <a:pt x="614" y="416"/>
                </a:cubicBezTo>
                <a:cubicBezTo>
                  <a:pt x="606" y="425"/>
                  <a:pt x="601" y="437"/>
                  <a:pt x="600" y="451"/>
                </a:cubicBezTo>
                <a:close/>
                <a:moveTo>
                  <a:pt x="758" y="549"/>
                </a:moveTo>
                <a:lnTo>
                  <a:pt x="711" y="384"/>
                </a:lnTo>
                <a:lnTo>
                  <a:pt x="738" y="384"/>
                </a:lnTo>
                <a:lnTo>
                  <a:pt x="763" y="479"/>
                </a:lnTo>
                <a:lnTo>
                  <a:pt x="772" y="515"/>
                </a:lnTo>
                <a:cubicBezTo>
                  <a:pt x="772" y="513"/>
                  <a:pt x="775" y="502"/>
                  <a:pt x="780" y="481"/>
                </a:cubicBezTo>
                <a:lnTo>
                  <a:pt x="804" y="384"/>
                </a:lnTo>
                <a:lnTo>
                  <a:pt x="830" y="384"/>
                </a:lnTo>
                <a:lnTo>
                  <a:pt x="854" y="480"/>
                </a:lnTo>
                <a:lnTo>
                  <a:pt x="861" y="511"/>
                </a:lnTo>
                <a:lnTo>
                  <a:pt x="870" y="480"/>
                </a:lnTo>
                <a:lnTo>
                  <a:pt x="897" y="384"/>
                </a:lnTo>
                <a:lnTo>
                  <a:pt x="922" y="384"/>
                </a:lnTo>
                <a:lnTo>
                  <a:pt x="874" y="549"/>
                </a:lnTo>
                <a:lnTo>
                  <a:pt x="847" y="549"/>
                </a:lnTo>
                <a:lnTo>
                  <a:pt x="822" y="450"/>
                </a:lnTo>
                <a:lnTo>
                  <a:pt x="816" y="422"/>
                </a:lnTo>
                <a:lnTo>
                  <a:pt x="785" y="549"/>
                </a:lnTo>
                <a:lnTo>
                  <a:pt x="758" y="549"/>
                </a:lnTo>
                <a:close/>
                <a:moveTo>
                  <a:pt x="303" y="171"/>
                </a:moveTo>
                <a:lnTo>
                  <a:pt x="329" y="175"/>
                </a:lnTo>
                <a:cubicBezTo>
                  <a:pt x="326" y="194"/>
                  <a:pt x="319" y="208"/>
                  <a:pt x="307" y="219"/>
                </a:cubicBezTo>
                <a:cubicBezTo>
                  <a:pt x="296" y="230"/>
                  <a:pt x="282" y="235"/>
                  <a:pt x="265" y="235"/>
                </a:cubicBezTo>
                <a:cubicBezTo>
                  <a:pt x="244" y="235"/>
                  <a:pt x="227" y="228"/>
                  <a:pt x="214" y="213"/>
                </a:cubicBezTo>
                <a:cubicBezTo>
                  <a:pt x="202" y="198"/>
                  <a:pt x="195" y="177"/>
                  <a:pt x="195" y="150"/>
                </a:cubicBezTo>
                <a:cubicBezTo>
                  <a:pt x="195" y="132"/>
                  <a:pt x="198" y="117"/>
                  <a:pt x="204" y="103"/>
                </a:cubicBezTo>
                <a:cubicBezTo>
                  <a:pt x="209" y="90"/>
                  <a:pt x="217" y="80"/>
                  <a:pt x="229" y="73"/>
                </a:cubicBezTo>
                <a:cubicBezTo>
                  <a:pt x="240" y="67"/>
                  <a:pt x="252" y="63"/>
                  <a:pt x="265" y="63"/>
                </a:cubicBezTo>
                <a:cubicBezTo>
                  <a:pt x="282" y="63"/>
                  <a:pt x="295" y="68"/>
                  <a:pt x="306" y="77"/>
                </a:cubicBezTo>
                <a:cubicBezTo>
                  <a:pt x="317" y="86"/>
                  <a:pt x="323" y="99"/>
                  <a:pt x="326" y="115"/>
                </a:cubicBezTo>
                <a:lnTo>
                  <a:pt x="301" y="119"/>
                </a:lnTo>
                <a:cubicBezTo>
                  <a:pt x="299" y="108"/>
                  <a:pt x="295" y="100"/>
                  <a:pt x="288" y="95"/>
                </a:cubicBezTo>
                <a:cubicBezTo>
                  <a:pt x="282" y="89"/>
                  <a:pt x="275" y="86"/>
                  <a:pt x="266" y="86"/>
                </a:cubicBezTo>
                <a:cubicBezTo>
                  <a:pt x="253" y="86"/>
                  <a:pt x="242" y="91"/>
                  <a:pt x="234" y="101"/>
                </a:cubicBezTo>
                <a:cubicBezTo>
                  <a:pt x="226" y="111"/>
                  <a:pt x="222" y="127"/>
                  <a:pt x="222" y="149"/>
                </a:cubicBezTo>
                <a:cubicBezTo>
                  <a:pt x="222" y="171"/>
                  <a:pt x="226" y="187"/>
                  <a:pt x="234" y="197"/>
                </a:cubicBezTo>
                <a:cubicBezTo>
                  <a:pt x="242" y="207"/>
                  <a:pt x="252" y="212"/>
                  <a:pt x="265" y="212"/>
                </a:cubicBezTo>
                <a:cubicBezTo>
                  <a:pt x="275" y="212"/>
                  <a:pt x="283" y="209"/>
                  <a:pt x="290" y="202"/>
                </a:cubicBezTo>
                <a:cubicBezTo>
                  <a:pt x="297" y="195"/>
                  <a:pt x="301" y="185"/>
                  <a:pt x="303" y="171"/>
                </a:cubicBezTo>
                <a:close/>
                <a:moveTo>
                  <a:pt x="451" y="211"/>
                </a:moveTo>
                <a:cubicBezTo>
                  <a:pt x="442" y="220"/>
                  <a:pt x="432" y="226"/>
                  <a:pt x="423" y="230"/>
                </a:cubicBezTo>
                <a:cubicBezTo>
                  <a:pt x="414" y="233"/>
                  <a:pt x="405" y="235"/>
                  <a:pt x="395" y="235"/>
                </a:cubicBezTo>
                <a:cubicBezTo>
                  <a:pt x="378" y="235"/>
                  <a:pt x="365" y="231"/>
                  <a:pt x="356" y="222"/>
                </a:cubicBezTo>
                <a:cubicBezTo>
                  <a:pt x="347" y="213"/>
                  <a:pt x="342" y="202"/>
                  <a:pt x="342" y="188"/>
                </a:cubicBezTo>
                <a:cubicBezTo>
                  <a:pt x="342" y="180"/>
                  <a:pt x="344" y="173"/>
                  <a:pt x="347" y="166"/>
                </a:cubicBezTo>
                <a:cubicBezTo>
                  <a:pt x="351" y="159"/>
                  <a:pt x="355" y="154"/>
                  <a:pt x="361" y="150"/>
                </a:cubicBezTo>
                <a:cubicBezTo>
                  <a:pt x="366" y="146"/>
                  <a:pt x="372" y="143"/>
                  <a:pt x="379" y="141"/>
                </a:cubicBezTo>
                <a:cubicBezTo>
                  <a:pt x="385" y="139"/>
                  <a:pt x="392" y="138"/>
                  <a:pt x="403" y="137"/>
                </a:cubicBezTo>
                <a:cubicBezTo>
                  <a:pt x="424" y="134"/>
                  <a:pt x="439" y="131"/>
                  <a:pt x="449" y="127"/>
                </a:cubicBezTo>
                <a:cubicBezTo>
                  <a:pt x="449" y="123"/>
                  <a:pt x="449" y="121"/>
                  <a:pt x="449" y="120"/>
                </a:cubicBezTo>
                <a:cubicBezTo>
                  <a:pt x="449" y="109"/>
                  <a:pt x="447" y="101"/>
                  <a:pt x="442" y="96"/>
                </a:cubicBezTo>
                <a:cubicBezTo>
                  <a:pt x="435" y="90"/>
                  <a:pt x="425" y="86"/>
                  <a:pt x="412" y="86"/>
                </a:cubicBezTo>
                <a:cubicBezTo>
                  <a:pt x="400" y="86"/>
                  <a:pt x="391" y="89"/>
                  <a:pt x="385" y="93"/>
                </a:cubicBezTo>
                <a:cubicBezTo>
                  <a:pt x="379" y="98"/>
                  <a:pt x="375" y="106"/>
                  <a:pt x="372" y="118"/>
                </a:cubicBezTo>
                <a:lnTo>
                  <a:pt x="347" y="114"/>
                </a:lnTo>
                <a:cubicBezTo>
                  <a:pt x="349" y="102"/>
                  <a:pt x="353" y="93"/>
                  <a:pt x="358" y="86"/>
                </a:cubicBezTo>
                <a:cubicBezTo>
                  <a:pt x="363" y="79"/>
                  <a:pt x="371" y="73"/>
                  <a:pt x="381" y="69"/>
                </a:cubicBezTo>
                <a:cubicBezTo>
                  <a:pt x="391" y="65"/>
                  <a:pt x="403" y="63"/>
                  <a:pt x="416" y="63"/>
                </a:cubicBezTo>
                <a:cubicBezTo>
                  <a:pt x="429" y="63"/>
                  <a:pt x="440" y="65"/>
                  <a:pt x="448" y="68"/>
                </a:cubicBezTo>
                <a:cubicBezTo>
                  <a:pt x="456" y="72"/>
                  <a:pt x="462" y="76"/>
                  <a:pt x="466" y="81"/>
                </a:cubicBezTo>
                <a:cubicBezTo>
                  <a:pt x="470" y="86"/>
                  <a:pt x="473" y="92"/>
                  <a:pt x="474" y="100"/>
                </a:cubicBezTo>
                <a:cubicBezTo>
                  <a:pt x="475" y="105"/>
                  <a:pt x="475" y="113"/>
                  <a:pt x="475" y="125"/>
                </a:cubicBezTo>
                <a:lnTo>
                  <a:pt x="475" y="162"/>
                </a:lnTo>
                <a:cubicBezTo>
                  <a:pt x="475" y="188"/>
                  <a:pt x="476" y="205"/>
                  <a:pt x="477" y="212"/>
                </a:cubicBezTo>
                <a:cubicBezTo>
                  <a:pt x="478" y="219"/>
                  <a:pt x="480" y="225"/>
                  <a:pt x="483" y="232"/>
                </a:cubicBezTo>
                <a:lnTo>
                  <a:pt x="456" y="232"/>
                </a:lnTo>
                <a:cubicBezTo>
                  <a:pt x="454" y="226"/>
                  <a:pt x="452" y="219"/>
                  <a:pt x="451" y="211"/>
                </a:cubicBezTo>
                <a:close/>
                <a:moveTo>
                  <a:pt x="449" y="149"/>
                </a:moveTo>
                <a:cubicBezTo>
                  <a:pt x="440" y="153"/>
                  <a:pt x="425" y="157"/>
                  <a:pt x="407" y="159"/>
                </a:cubicBezTo>
                <a:cubicBezTo>
                  <a:pt x="396" y="161"/>
                  <a:pt x="388" y="163"/>
                  <a:pt x="384" y="165"/>
                </a:cubicBezTo>
                <a:cubicBezTo>
                  <a:pt x="379" y="167"/>
                  <a:pt x="376" y="170"/>
                  <a:pt x="374" y="174"/>
                </a:cubicBezTo>
                <a:cubicBezTo>
                  <a:pt x="371" y="178"/>
                  <a:pt x="370" y="182"/>
                  <a:pt x="370" y="187"/>
                </a:cubicBezTo>
                <a:cubicBezTo>
                  <a:pt x="370" y="195"/>
                  <a:pt x="372" y="201"/>
                  <a:pt x="378" y="206"/>
                </a:cubicBezTo>
                <a:cubicBezTo>
                  <a:pt x="383" y="211"/>
                  <a:pt x="391" y="213"/>
                  <a:pt x="401" y="213"/>
                </a:cubicBezTo>
                <a:cubicBezTo>
                  <a:pt x="411" y="213"/>
                  <a:pt x="420" y="211"/>
                  <a:pt x="428" y="206"/>
                </a:cubicBezTo>
                <a:cubicBezTo>
                  <a:pt x="435" y="201"/>
                  <a:pt x="441" y="195"/>
                  <a:pt x="445" y="187"/>
                </a:cubicBezTo>
                <a:cubicBezTo>
                  <a:pt x="448" y="181"/>
                  <a:pt x="449" y="171"/>
                  <a:pt x="449" y="159"/>
                </a:cubicBezTo>
                <a:lnTo>
                  <a:pt x="449" y="149"/>
                </a:lnTo>
                <a:close/>
                <a:moveTo>
                  <a:pt x="515" y="232"/>
                </a:moveTo>
                <a:lnTo>
                  <a:pt x="515" y="4"/>
                </a:lnTo>
                <a:lnTo>
                  <a:pt x="541" y="4"/>
                </a:lnTo>
                <a:lnTo>
                  <a:pt x="541" y="232"/>
                </a:lnTo>
                <a:lnTo>
                  <a:pt x="515" y="232"/>
                </a:lnTo>
                <a:close/>
                <a:moveTo>
                  <a:pt x="686" y="178"/>
                </a:moveTo>
                <a:lnTo>
                  <a:pt x="713" y="182"/>
                </a:lnTo>
                <a:cubicBezTo>
                  <a:pt x="709" y="199"/>
                  <a:pt x="701" y="212"/>
                  <a:pt x="689" y="221"/>
                </a:cubicBezTo>
                <a:cubicBezTo>
                  <a:pt x="678" y="230"/>
                  <a:pt x="663" y="235"/>
                  <a:pt x="646" y="235"/>
                </a:cubicBezTo>
                <a:cubicBezTo>
                  <a:pt x="623" y="235"/>
                  <a:pt x="605" y="228"/>
                  <a:pt x="592" y="213"/>
                </a:cubicBezTo>
                <a:cubicBezTo>
                  <a:pt x="579" y="198"/>
                  <a:pt x="573" y="177"/>
                  <a:pt x="573" y="151"/>
                </a:cubicBezTo>
                <a:cubicBezTo>
                  <a:pt x="573" y="123"/>
                  <a:pt x="579" y="101"/>
                  <a:pt x="592" y="86"/>
                </a:cubicBezTo>
                <a:cubicBezTo>
                  <a:pt x="606" y="71"/>
                  <a:pt x="623" y="63"/>
                  <a:pt x="644" y="63"/>
                </a:cubicBezTo>
                <a:cubicBezTo>
                  <a:pt x="665" y="63"/>
                  <a:pt x="681" y="71"/>
                  <a:pt x="694" y="86"/>
                </a:cubicBezTo>
                <a:cubicBezTo>
                  <a:pt x="707" y="101"/>
                  <a:pt x="714" y="122"/>
                  <a:pt x="714" y="149"/>
                </a:cubicBezTo>
                <a:cubicBezTo>
                  <a:pt x="714" y="151"/>
                  <a:pt x="714" y="153"/>
                  <a:pt x="714" y="156"/>
                </a:cubicBezTo>
                <a:lnTo>
                  <a:pt x="599" y="156"/>
                </a:lnTo>
                <a:cubicBezTo>
                  <a:pt x="600" y="174"/>
                  <a:pt x="605" y="188"/>
                  <a:pt x="614" y="198"/>
                </a:cubicBezTo>
                <a:cubicBezTo>
                  <a:pt x="622" y="207"/>
                  <a:pt x="633" y="212"/>
                  <a:pt x="646" y="212"/>
                </a:cubicBezTo>
                <a:cubicBezTo>
                  <a:pt x="655" y="212"/>
                  <a:pt x="663" y="209"/>
                  <a:pt x="670" y="204"/>
                </a:cubicBezTo>
                <a:cubicBezTo>
                  <a:pt x="677" y="199"/>
                  <a:pt x="682" y="190"/>
                  <a:pt x="686" y="178"/>
                </a:cubicBezTo>
                <a:close/>
                <a:moveTo>
                  <a:pt x="601" y="133"/>
                </a:moveTo>
                <a:lnTo>
                  <a:pt x="686" y="133"/>
                </a:lnTo>
                <a:cubicBezTo>
                  <a:pt x="685" y="120"/>
                  <a:pt x="682" y="109"/>
                  <a:pt x="676" y="102"/>
                </a:cubicBezTo>
                <a:cubicBezTo>
                  <a:pt x="668" y="92"/>
                  <a:pt x="657" y="86"/>
                  <a:pt x="644" y="86"/>
                </a:cubicBezTo>
                <a:cubicBezTo>
                  <a:pt x="632" y="86"/>
                  <a:pt x="622" y="90"/>
                  <a:pt x="614" y="99"/>
                </a:cubicBezTo>
                <a:cubicBezTo>
                  <a:pt x="606" y="108"/>
                  <a:pt x="602" y="119"/>
                  <a:pt x="601" y="133"/>
                </a:cubicBezTo>
                <a:close/>
                <a:moveTo>
                  <a:pt x="885" y="232"/>
                </a:moveTo>
                <a:lnTo>
                  <a:pt x="885" y="31"/>
                </a:lnTo>
                <a:lnTo>
                  <a:pt x="815" y="31"/>
                </a:lnTo>
                <a:lnTo>
                  <a:pt x="815" y="4"/>
                </a:lnTo>
                <a:lnTo>
                  <a:pt x="983" y="4"/>
                </a:lnTo>
                <a:lnTo>
                  <a:pt x="983" y="31"/>
                </a:lnTo>
                <a:lnTo>
                  <a:pt x="913" y="31"/>
                </a:lnTo>
                <a:lnTo>
                  <a:pt x="913" y="232"/>
                </a:lnTo>
                <a:lnTo>
                  <a:pt x="885" y="232"/>
                </a:lnTo>
                <a:close/>
                <a:moveTo>
                  <a:pt x="1009" y="232"/>
                </a:moveTo>
                <a:lnTo>
                  <a:pt x="1009" y="4"/>
                </a:lnTo>
                <a:lnTo>
                  <a:pt x="1035" y="4"/>
                </a:lnTo>
                <a:lnTo>
                  <a:pt x="1035" y="86"/>
                </a:lnTo>
                <a:cubicBezTo>
                  <a:pt x="1047" y="71"/>
                  <a:pt x="1062" y="63"/>
                  <a:pt x="1080" y="63"/>
                </a:cubicBezTo>
                <a:cubicBezTo>
                  <a:pt x="1092" y="63"/>
                  <a:pt x="1101" y="66"/>
                  <a:pt x="1110" y="70"/>
                </a:cubicBezTo>
                <a:cubicBezTo>
                  <a:pt x="1118" y="75"/>
                  <a:pt x="1124" y="82"/>
                  <a:pt x="1128" y="90"/>
                </a:cubicBezTo>
                <a:cubicBezTo>
                  <a:pt x="1131" y="99"/>
                  <a:pt x="1133" y="111"/>
                  <a:pt x="1133" y="127"/>
                </a:cubicBezTo>
                <a:lnTo>
                  <a:pt x="1133" y="232"/>
                </a:lnTo>
                <a:lnTo>
                  <a:pt x="1107" y="232"/>
                </a:lnTo>
                <a:lnTo>
                  <a:pt x="1107" y="127"/>
                </a:lnTo>
                <a:cubicBezTo>
                  <a:pt x="1107" y="113"/>
                  <a:pt x="1104" y="103"/>
                  <a:pt x="1099" y="97"/>
                </a:cubicBezTo>
                <a:cubicBezTo>
                  <a:pt x="1093" y="91"/>
                  <a:pt x="1085" y="87"/>
                  <a:pt x="1075" y="87"/>
                </a:cubicBezTo>
                <a:cubicBezTo>
                  <a:pt x="1067" y="87"/>
                  <a:pt x="1060" y="90"/>
                  <a:pt x="1053" y="94"/>
                </a:cubicBezTo>
                <a:cubicBezTo>
                  <a:pt x="1047" y="98"/>
                  <a:pt x="1042" y="104"/>
                  <a:pt x="1039" y="111"/>
                </a:cubicBezTo>
                <a:cubicBezTo>
                  <a:pt x="1036" y="119"/>
                  <a:pt x="1035" y="129"/>
                  <a:pt x="1035" y="142"/>
                </a:cubicBezTo>
                <a:lnTo>
                  <a:pt x="1035" y="232"/>
                </a:lnTo>
                <a:lnTo>
                  <a:pt x="1009" y="232"/>
                </a:lnTo>
                <a:close/>
                <a:moveTo>
                  <a:pt x="1278" y="178"/>
                </a:moveTo>
                <a:lnTo>
                  <a:pt x="1305" y="182"/>
                </a:lnTo>
                <a:cubicBezTo>
                  <a:pt x="1301" y="199"/>
                  <a:pt x="1293" y="212"/>
                  <a:pt x="1281" y="221"/>
                </a:cubicBezTo>
                <a:cubicBezTo>
                  <a:pt x="1270" y="230"/>
                  <a:pt x="1255" y="235"/>
                  <a:pt x="1237" y="235"/>
                </a:cubicBezTo>
                <a:cubicBezTo>
                  <a:pt x="1215" y="235"/>
                  <a:pt x="1197" y="228"/>
                  <a:pt x="1184" y="213"/>
                </a:cubicBezTo>
                <a:cubicBezTo>
                  <a:pt x="1171" y="198"/>
                  <a:pt x="1165" y="177"/>
                  <a:pt x="1165" y="151"/>
                </a:cubicBezTo>
                <a:cubicBezTo>
                  <a:pt x="1165" y="123"/>
                  <a:pt x="1171" y="101"/>
                  <a:pt x="1184" y="86"/>
                </a:cubicBezTo>
                <a:cubicBezTo>
                  <a:pt x="1198" y="71"/>
                  <a:pt x="1215" y="63"/>
                  <a:pt x="1236" y="63"/>
                </a:cubicBezTo>
                <a:cubicBezTo>
                  <a:pt x="1256" y="63"/>
                  <a:pt x="1273" y="71"/>
                  <a:pt x="1286" y="86"/>
                </a:cubicBezTo>
                <a:cubicBezTo>
                  <a:pt x="1299" y="101"/>
                  <a:pt x="1306" y="122"/>
                  <a:pt x="1306" y="149"/>
                </a:cubicBezTo>
                <a:cubicBezTo>
                  <a:pt x="1306" y="151"/>
                  <a:pt x="1306" y="153"/>
                  <a:pt x="1305" y="156"/>
                </a:cubicBezTo>
                <a:lnTo>
                  <a:pt x="1191" y="156"/>
                </a:lnTo>
                <a:cubicBezTo>
                  <a:pt x="1192" y="174"/>
                  <a:pt x="1197" y="188"/>
                  <a:pt x="1205" y="198"/>
                </a:cubicBezTo>
                <a:cubicBezTo>
                  <a:pt x="1214" y="207"/>
                  <a:pt x="1225" y="212"/>
                  <a:pt x="1237" y="212"/>
                </a:cubicBezTo>
                <a:cubicBezTo>
                  <a:pt x="1247" y="212"/>
                  <a:pt x="1255" y="209"/>
                  <a:pt x="1262" y="204"/>
                </a:cubicBezTo>
                <a:cubicBezTo>
                  <a:pt x="1269" y="199"/>
                  <a:pt x="1274" y="190"/>
                  <a:pt x="1278" y="178"/>
                </a:cubicBezTo>
                <a:close/>
                <a:moveTo>
                  <a:pt x="1193" y="133"/>
                </a:moveTo>
                <a:lnTo>
                  <a:pt x="1278" y="133"/>
                </a:lnTo>
                <a:cubicBezTo>
                  <a:pt x="1277" y="120"/>
                  <a:pt x="1274" y="109"/>
                  <a:pt x="1268" y="102"/>
                </a:cubicBezTo>
                <a:cubicBezTo>
                  <a:pt x="1260" y="92"/>
                  <a:pt x="1249" y="86"/>
                  <a:pt x="1236" y="86"/>
                </a:cubicBezTo>
                <a:cubicBezTo>
                  <a:pt x="1224" y="86"/>
                  <a:pt x="1214" y="90"/>
                  <a:pt x="1206" y="99"/>
                </a:cubicBezTo>
                <a:cubicBezTo>
                  <a:pt x="1198" y="108"/>
                  <a:pt x="1193" y="119"/>
                  <a:pt x="1193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5" name="Group 404">
            <a:extLst>
              <a:ext uri="{FF2B5EF4-FFF2-40B4-BE49-F238E27FC236}">
                <a16:creationId xmlns:a16="http://schemas.microsoft.com/office/drawing/2014/main" id="{52A01D84-7B74-46AD-ACC6-9E0DFE63F7BB}"/>
              </a:ext>
            </a:extLst>
          </p:cNvPr>
          <p:cNvGrpSpPr/>
          <p:nvPr/>
        </p:nvGrpSpPr>
        <p:grpSpPr>
          <a:xfrm>
            <a:off x="11115844" y="2441574"/>
            <a:ext cx="577850" cy="577850"/>
            <a:chOff x="11115844" y="2441574"/>
            <a:chExt cx="577850" cy="577850"/>
          </a:xfrm>
          <a:solidFill>
            <a:schemeClr val="accent1"/>
          </a:solidFill>
        </p:grpSpPr>
        <p:sp>
          <p:nvSpPr>
            <p:cNvPr id="53" name="Freeform 252">
              <a:extLst>
                <a:ext uri="{FF2B5EF4-FFF2-40B4-BE49-F238E27FC236}">
                  <a16:creationId xmlns:a16="http://schemas.microsoft.com/office/drawing/2014/main" id="{8A271C63-7CA8-4D40-965E-5EF9C9931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53944" y="2479674"/>
              <a:ext cx="368300" cy="368300"/>
            </a:xfrm>
            <a:custGeom>
              <a:avLst/>
              <a:gdLst>
                <a:gd name="T0" fmla="*/ 263 w 1023"/>
                <a:gd name="T1" fmla="*/ 906 h 1024"/>
                <a:gd name="T2" fmla="*/ 357 w 1023"/>
                <a:gd name="T3" fmla="*/ 358 h 1024"/>
                <a:gd name="T4" fmla="*/ 905 w 1023"/>
                <a:gd name="T5" fmla="*/ 264 h 1024"/>
                <a:gd name="T6" fmla="*/ 1023 w 1023"/>
                <a:gd name="T7" fmla="*/ 145 h 1024"/>
                <a:gd name="T8" fmla="*/ 244 w 1023"/>
                <a:gd name="T9" fmla="*/ 245 h 1024"/>
                <a:gd name="T10" fmla="*/ 145 w 1023"/>
                <a:gd name="T11" fmla="*/ 1024 h 1024"/>
                <a:gd name="T12" fmla="*/ 263 w 1023"/>
                <a:gd name="T13" fmla="*/ 906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3" h="1024">
                  <a:moveTo>
                    <a:pt x="263" y="906"/>
                  </a:moveTo>
                  <a:cubicBezTo>
                    <a:pt x="178" y="727"/>
                    <a:pt x="209" y="506"/>
                    <a:pt x="357" y="358"/>
                  </a:cubicBezTo>
                  <a:cubicBezTo>
                    <a:pt x="505" y="210"/>
                    <a:pt x="726" y="179"/>
                    <a:pt x="905" y="264"/>
                  </a:cubicBezTo>
                  <a:lnTo>
                    <a:pt x="1023" y="145"/>
                  </a:lnTo>
                  <a:cubicBezTo>
                    <a:pt x="777" y="0"/>
                    <a:pt x="455" y="33"/>
                    <a:pt x="244" y="245"/>
                  </a:cubicBezTo>
                  <a:cubicBezTo>
                    <a:pt x="33" y="456"/>
                    <a:pt x="0" y="778"/>
                    <a:pt x="145" y="1024"/>
                  </a:cubicBezTo>
                  <a:lnTo>
                    <a:pt x="263" y="9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4" name="Freeform 253">
              <a:extLst>
                <a:ext uri="{FF2B5EF4-FFF2-40B4-BE49-F238E27FC236}">
                  <a16:creationId xmlns:a16="http://schemas.microsoft.com/office/drawing/2014/main" id="{716CDF4F-5D79-4618-BE22-C90723AA9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294" y="2613024"/>
              <a:ext cx="368300" cy="369888"/>
            </a:xfrm>
            <a:custGeom>
              <a:avLst/>
              <a:gdLst>
                <a:gd name="T0" fmla="*/ 760 w 1023"/>
                <a:gd name="T1" fmla="*/ 119 h 1024"/>
                <a:gd name="T2" fmla="*/ 666 w 1023"/>
                <a:gd name="T3" fmla="*/ 666 h 1024"/>
                <a:gd name="T4" fmla="*/ 118 w 1023"/>
                <a:gd name="T5" fmla="*/ 760 h 1024"/>
                <a:gd name="T6" fmla="*/ 0 w 1023"/>
                <a:gd name="T7" fmla="*/ 879 h 1024"/>
                <a:gd name="T8" fmla="*/ 779 w 1023"/>
                <a:gd name="T9" fmla="*/ 780 h 1024"/>
                <a:gd name="T10" fmla="*/ 878 w 1023"/>
                <a:gd name="T11" fmla="*/ 0 h 1024"/>
                <a:gd name="T12" fmla="*/ 760 w 1023"/>
                <a:gd name="T13" fmla="*/ 119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3" h="1024">
                  <a:moveTo>
                    <a:pt x="760" y="119"/>
                  </a:moveTo>
                  <a:cubicBezTo>
                    <a:pt x="845" y="298"/>
                    <a:pt x="814" y="518"/>
                    <a:pt x="666" y="666"/>
                  </a:cubicBezTo>
                  <a:cubicBezTo>
                    <a:pt x="518" y="814"/>
                    <a:pt x="297" y="846"/>
                    <a:pt x="118" y="760"/>
                  </a:cubicBezTo>
                  <a:lnTo>
                    <a:pt x="0" y="879"/>
                  </a:lnTo>
                  <a:cubicBezTo>
                    <a:pt x="246" y="1024"/>
                    <a:pt x="568" y="991"/>
                    <a:pt x="779" y="780"/>
                  </a:cubicBezTo>
                  <a:cubicBezTo>
                    <a:pt x="990" y="568"/>
                    <a:pt x="1023" y="246"/>
                    <a:pt x="878" y="0"/>
                  </a:cubicBezTo>
                  <a:lnTo>
                    <a:pt x="76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5" name="Freeform 254">
              <a:extLst>
                <a:ext uri="{FF2B5EF4-FFF2-40B4-BE49-F238E27FC236}">
                  <a16:creationId xmlns:a16="http://schemas.microsoft.com/office/drawing/2014/main" id="{6711DF58-40F5-4422-BD1E-C3E028CBF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14281" y="2640012"/>
              <a:ext cx="100013" cy="169863"/>
            </a:xfrm>
            <a:custGeom>
              <a:avLst/>
              <a:gdLst>
                <a:gd name="T0" fmla="*/ 276 w 276"/>
                <a:gd name="T1" fmla="*/ 14 h 470"/>
                <a:gd name="T2" fmla="*/ 11 w 276"/>
                <a:gd name="T3" fmla="*/ 228 h 470"/>
                <a:gd name="T4" fmla="*/ 147 w 276"/>
                <a:gd name="T5" fmla="*/ 470 h 470"/>
                <a:gd name="T6" fmla="*/ 171 w 276"/>
                <a:gd name="T7" fmla="*/ 245 h 470"/>
                <a:gd name="T8" fmla="*/ 259 w 276"/>
                <a:gd name="T9" fmla="*/ 173 h 470"/>
                <a:gd name="T10" fmla="*/ 276 w 276"/>
                <a:gd name="T11" fmla="*/ 14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6" h="470">
                  <a:moveTo>
                    <a:pt x="276" y="14"/>
                  </a:moveTo>
                  <a:cubicBezTo>
                    <a:pt x="144" y="0"/>
                    <a:pt x="25" y="96"/>
                    <a:pt x="11" y="228"/>
                  </a:cubicBezTo>
                  <a:cubicBezTo>
                    <a:pt x="0" y="332"/>
                    <a:pt x="58" y="428"/>
                    <a:pt x="147" y="470"/>
                  </a:cubicBezTo>
                  <a:lnTo>
                    <a:pt x="171" y="245"/>
                  </a:lnTo>
                  <a:cubicBezTo>
                    <a:pt x="175" y="201"/>
                    <a:pt x="215" y="169"/>
                    <a:pt x="259" y="173"/>
                  </a:cubicBezTo>
                  <a:lnTo>
                    <a:pt x="276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6" name="Freeform 255">
              <a:extLst>
                <a:ext uri="{FF2B5EF4-FFF2-40B4-BE49-F238E27FC236}">
                  <a16:creationId xmlns:a16="http://schemas.microsoft.com/office/drawing/2014/main" id="{4FE7318A-5211-46FA-BB1B-00A16D04C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5244" y="2652712"/>
              <a:ext cx="100013" cy="169863"/>
            </a:xfrm>
            <a:custGeom>
              <a:avLst/>
              <a:gdLst>
                <a:gd name="T0" fmla="*/ 129 w 276"/>
                <a:gd name="T1" fmla="*/ 0 h 470"/>
                <a:gd name="T2" fmla="*/ 105 w 276"/>
                <a:gd name="T3" fmla="*/ 226 h 470"/>
                <a:gd name="T4" fmla="*/ 17 w 276"/>
                <a:gd name="T5" fmla="*/ 297 h 470"/>
                <a:gd name="T6" fmla="*/ 0 w 276"/>
                <a:gd name="T7" fmla="*/ 456 h 470"/>
                <a:gd name="T8" fmla="*/ 265 w 276"/>
                <a:gd name="T9" fmla="*/ 242 h 470"/>
                <a:gd name="T10" fmla="*/ 129 w 276"/>
                <a:gd name="T11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6" h="470">
                  <a:moveTo>
                    <a:pt x="129" y="0"/>
                  </a:moveTo>
                  <a:lnTo>
                    <a:pt x="105" y="226"/>
                  </a:lnTo>
                  <a:cubicBezTo>
                    <a:pt x="101" y="270"/>
                    <a:pt x="61" y="302"/>
                    <a:pt x="17" y="297"/>
                  </a:cubicBezTo>
                  <a:lnTo>
                    <a:pt x="0" y="456"/>
                  </a:lnTo>
                  <a:cubicBezTo>
                    <a:pt x="133" y="470"/>
                    <a:pt x="251" y="374"/>
                    <a:pt x="265" y="242"/>
                  </a:cubicBezTo>
                  <a:cubicBezTo>
                    <a:pt x="276" y="138"/>
                    <a:pt x="218" y="43"/>
                    <a:pt x="1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7" name="Freeform 256">
              <a:extLst>
                <a:ext uri="{FF2B5EF4-FFF2-40B4-BE49-F238E27FC236}">
                  <a16:creationId xmlns:a16="http://schemas.microsoft.com/office/drawing/2014/main" id="{A4C9A3F2-B878-4230-8EE9-BEE253FDB0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41281" y="2441574"/>
              <a:ext cx="252413" cy="252413"/>
            </a:xfrm>
            <a:custGeom>
              <a:avLst/>
              <a:gdLst>
                <a:gd name="T0" fmla="*/ 536 w 698"/>
                <a:gd name="T1" fmla="*/ 161 h 698"/>
                <a:gd name="T2" fmla="*/ 538 w 698"/>
                <a:gd name="T3" fmla="*/ 161 h 698"/>
                <a:gd name="T4" fmla="*/ 538 w 698"/>
                <a:gd name="T5" fmla="*/ 163 h 698"/>
                <a:gd name="T6" fmla="*/ 536 w 698"/>
                <a:gd name="T7" fmla="*/ 161 h 698"/>
                <a:gd name="T8" fmla="*/ 297 w 698"/>
                <a:gd name="T9" fmla="*/ 0 h 698"/>
                <a:gd name="T10" fmla="*/ 297 w 698"/>
                <a:gd name="T11" fmla="*/ 161 h 698"/>
                <a:gd name="T12" fmla="*/ 425 w 698"/>
                <a:gd name="T13" fmla="*/ 161 h 698"/>
                <a:gd name="T14" fmla="*/ 0 w 698"/>
                <a:gd name="T15" fmla="*/ 585 h 698"/>
                <a:gd name="T16" fmla="*/ 114 w 698"/>
                <a:gd name="T17" fmla="*/ 698 h 698"/>
                <a:gd name="T18" fmla="*/ 538 w 698"/>
                <a:gd name="T19" fmla="*/ 274 h 698"/>
                <a:gd name="T20" fmla="*/ 538 w 698"/>
                <a:gd name="T21" fmla="*/ 401 h 698"/>
                <a:gd name="T22" fmla="*/ 698 w 698"/>
                <a:gd name="T23" fmla="*/ 401 h 698"/>
                <a:gd name="T24" fmla="*/ 698 w 698"/>
                <a:gd name="T25" fmla="*/ 0 h 698"/>
                <a:gd name="T26" fmla="*/ 297 w 698"/>
                <a:gd name="T27" fmla="*/ 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98" h="698">
                  <a:moveTo>
                    <a:pt x="536" y="161"/>
                  </a:moveTo>
                  <a:lnTo>
                    <a:pt x="538" y="161"/>
                  </a:lnTo>
                  <a:lnTo>
                    <a:pt x="538" y="163"/>
                  </a:lnTo>
                  <a:lnTo>
                    <a:pt x="536" y="161"/>
                  </a:lnTo>
                  <a:close/>
                  <a:moveTo>
                    <a:pt x="297" y="0"/>
                  </a:moveTo>
                  <a:lnTo>
                    <a:pt x="297" y="161"/>
                  </a:lnTo>
                  <a:lnTo>
                    <a:pt x="425" y="161"/>
                  </a:lnTo>
                  <a:lnTo>
                    <a:pt x="0" y="585"/>
                  </a:lnTo>
                  <a:cubicBezTo>
                    <a:pt x="50" y="609"/>
                    <a:pt x="90" y="649"/>
                    <a:pt x="114" y="698"/>
                  </a:cubicBezTo>
                  <a:lnTo>
                    <a:pt x="538" y="274"/>
                  </a:lnTo>
                  <a:lnTo>
                    <a:pt x="538" y="401"/>
                  </a:lnTo>
                  <a:lnTo>
                    <a:pt x="698" y="401"/>
                  </a:lnTo>
                  <a:lnTo>
                    <a:pt x="698" y="0"/>
                  </a:lnTo>
                  <a:lnTo>
                    <a:pt x="29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8" name="Freeform 257">
              <a:extLst>
                <a:ext uri="{FF2B5EF4-FFF2-40B4-BE49-F238E27FC236}">
                  <a16:creationId xmlns:a16="http://schemas.microsoft.com/office/drawing/2014/main" id="{765C2C71-A912-4C4C-A147-C428773C45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15844" y="2768599"/>
              <a:ext cx="250825" cy="250825"/>
            </a:xfrm>
            <a:custGeom>
              <a:avLst/>
              <a:gdLst>
                <a:gd name="T0" fmla="*/ 160 w 698"/>
                <a:gd name="T1" fmla="*/ 536 h 698"/>
                <a:gd name="T2" fmla="*/ 162 w 698"/>
                <a:gd name="T3" fmla="*/ 538 h 698"/>
                <a:gd name="T4" fmla="*/ 160 w 698"/>
                <a:gd name="T5" fmla="*/ 538 h 698"/>
                <a:gd name="T6" fmla="*/ 160 w 698"/>
                <a:gd name="T7" fmla="*/ 536 h 698"/>
                <a:gd name="T8" fmla="*/ 698 w 698"/>
                <a:gd name="T9" fmla="*/ 113 h 698"/>
                <a:gd name="T10" fmla="*/ 584 w 698"/>
                <a:gd name="T11" fmla="*/ 0 h 698"/>
                <a:gd name="T12" fmla="*/ 160 w 698"/>
                <a:gd name="T13" fmla="*/ 424 h 698"/>
                <a:gd name="T14" fmla="*/ 160 w 698"/>
                <a:gd name="T15" fmla="*/ 297 h 698"/>
                <a:gd name="T16" fmla="*/ 0 w 698"/>
                <a:gd name="T17" fmla="*/ 297 h 698"/>
                <a:gd name="T18" fmla="*/ 0 w 698"/>
                <a:gd name="T19" fmla="*/ 698 h 698"/>
                <a:gd name="T20" fmla="*/ 401 w 698"/>
                <a:gd name="T21" fmla="*/ 698 h 698"/>
                <a:gd name="T22" fmla="*/ 401 w 698"/>
                <a:gd name="T23" fmla="*/ 538 h 698"/>
                <a:gd name="T24" fmla="*/ 274 w 698"/>
                <a:gd name="T25" fmla="*/ 538 h 698"/>
                <a:gd name="T26" fmla="*/ 698 w 698"/>
                <a:gd name="T27" fmla="*/ 113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98" h="698">
                  <a:moveTo>
                    <a:pt x="160" y="536"/>
                  </a:moveTo>
                  <a:lnTo>
                    <a:pt x="162" y="538"/>
                  </a:lnTo>
                  <a:lnTo>
                    <a:pt x="160" y="538"/>
                  </a:lnTo>
                  <a:lnTo>
                    <a:pt x="160" y="536"/>
                  </a:lnTo>
                  <a:close/>
                  <a:moveTo>
                    <a:pt x="698" y="113"/>
                  </a:moveTo>
                  <a:cubicBezTo>
                    <a:pt x="648" y="90"/>
                    <a:pt x="608" y="49"/>
                    <a:pt x="584" y="0"/>
                  </a:cubicBezTo>
                  <a:lnTo>
                    <a:pt x="160" y="424"/>
                  </a:lnTo>
                  <a:lnTo>
                    <a:pt x="160" y="297"/>
                  </a:lnTo>
                  <a:lnTo>
                    <a:pt x="0" y="297"/>
                  </a:lnTo>
                  <a:lnTo>
                    <a:pt x="0" y="698"/>
                  </a:lnTo>
                  <a:lnTo>
                    <a:pt x="401" y="698"/>
                  </a:lnTo>
                  <a:lnTo>
                    <a:pt x="401" y="538"/>
                  </a:lnTo>
                  <a:lnTo>
                    <a:pt x="274" y="538"/>
                  </a:lnTo>
                  <a:lnTo>
                    <a:pt x="69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47" name="Group 446">
            <a:extLst>
              <a:ext uri="{FF2B5EF4-FFF2-40B4-BE49-F238E27FC236}">
                <a16:creationId xmlns:a16="http://schemas.microsoft.com/office/drawing/2014/main" id="{F96619DE-2A3C-4CF7-B077-B58A4836392B}"/>
              </a:ext>
            </a:extLst>
          </p:cNvPr>
          <p:cNvGrpSpPr/>
          <p:nvPr/>
        </p:nvGrpSpPr>
        <p:grpSpPr>
          <a:xfrm>
            <a:off x="438150" y="5470525"/>
            <a:ext cx="549276" cy="577850"/>
            <a:chOff x="438150" y="5470525"/>
            <a:chExt cx="549276" cy="577850"/>
          </a:xfrm>
          <a:solidFill>
            <a:schemeClr val="accent1"/>
          </a:solidFill>
        </p:grpSpPr>
        <p:sp>
          <p:nvSpPr>
            <p:cNvPr id="59" name="Freeform 258">
              <a:extLst>
                <a:ext uri="{FF2B5EF4-FFF2-40B4-BE49-F238E27FC236}">
                  <a16:creationId xmlns:a16="http://schemas.microsoft.com/office/drawing/2014/main" id="{F757A85B-D98F-4225-8C3F-7FAD030FF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150" y="5527675"/>
              <a:ext cx="58738" cy="520700"/>
            </a:xfrm>
            <a:custGeom>
              <a:avLst/>
              <a:gdLst>
                <a:gd name="T0" fmla="*/ 0 w 160"/>
                <a:gd name="T1" fmla="*/ 0 h 1443"/>
                <a:gd name="T2" fmla="*/ 0 w 160"/>
                <a:gd name="T3" fmla="*/ 1443 h 1443"/>
                <a:gd name="T4" fmla="*/ 160 w 160"/>
                <a:gd name="T5" fmla="*/ 1282 h 1443"/>
                <a:gd name="T6" fmla="*/ 160 w 160"/>
                <a:gd name="T7" fmla="*/ 0 h 1443"/>
                <a:gd name="T8" fmla="*/ 0 w 160"/>
                <a:gd name="T9" fmla="*/ 0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443">
                  <a:moveTo>
                    <a:pt x="0" y="0"/>
                  </a:moveTo>
                  <a:lnTo>
                    <a:pt x="0" y="1443"/>
                  </a:lnTo>
                  <a:lnTo>
                    <a:pt x="160" y="1282"/>
                  </a:lnTo>
                  <a:lnTo>
                    <a:pt x="16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0" name="Freeform 259">
              <a:extLst>
                <a:ext uri="{FF2B5EF4-FFF2-40B4-BE49-F238E27FC236}">
                  <a16:creationId xmlns:a16="http://schemas.microsoft.com/office/drawing/2014/main" id="{0815396D-2F13-4A42-B83B-BD4EBF9A4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150" y="5470525"/>
              <a:ext cx="549275" cy="57150"/>
            </a:xfrm>
            <a:custGeom>
              <a:avLst/>
              <a:gdLst>
                <a:gd name="T0" fmla="*/ 0 w 1525"/>
                <a:gd name="T1" fmla="*/ 162 h 162"/>
                <a:gd name="T2" fmla="*/ 1525 w 1525"/>
                <a:gd name="T3" fmla="*/ 162 h 162"/>
                <a:gd name="T4" fmla="*/ 1364 w 1525"/>
                <a:gd name="T5" fmla="*/ 0 h 162"/>
                <a:gd name="T6" fmla="*/ 158 w 1525"/>
                <a:gd name="T7" fmla="*/ 0 h 162"/>
                <a:gd name="T8" fmla="*/ 0 w 1525"/>
                <a:gd name="T9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5" h="162">
                  <a:moveTo>
                    <a:pt x="0" y="162"/>
                  </a:moveTo>
                  <a:lnTo>
                    <a:pt x="1525" y="162"/>
                  </a:lnTo>
                  <a:lnTo>
                    <a:pt x="1364" y="0"/>
                  </a:lnTo>
                  <a:lnTo>
                    <a:pt x="158" y="0"/>
                  </a:lnTo>
                  <a:lnTo>
                    <a:pt x="0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1" name="Freeform 260">
              <a:extLst>
                <a:ext uri="{FF2B5EF4-FFF2-40B4-BE49-F238E27FC236}">
                  <a16:creationId xmlns:a16="http://schemas.microsoft.com/office/drawing/2014/main" id="{EF92CC89-ECC5-43E4-9A56-2D92C0782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13" y="5527675"/>
              <a:ext cx="404813" cy="404813"/>
            </a:xfrm>
            <a:custGeom>
              <a:avLst/>
              <a:gdLst>
                <a:gd name="T0" fmla="*/ 897 w 1124"/>
                <a:gd name="T1" fmla="*/ 0 h 1122"/>
                <a:gd name="T2" fmla="*/ 0 w 1124"/>
                <a:gd name="T3" fmla="*/ 897 h 1122"/>
                <a:gd name="T4" fmla="*/ 0 w 1124"/>
                <a:gd name="T5" fmla="*/ 1122 h 1122"/>
                <a:gd name="T6" fmla="*/ 1124 w 1124"/>
                <a:gd name="T7" fmla="*/ 0 h 1122"/>
                <a:gd name="T8" fmla="*/ 897 w 1124"/>
                <a:gd name="T9" fmla="*/ 0 h 1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4" h="1122">
                  <a:moveTo>
                    <a:pt x="897" y="0"/>
                  </a:moveTo>
                  <a:lnTo>
                    <a:pt x="0" y="897"/>
                  </a:lnTo>
                  <a:lnTo>
                    <a:pt x="0" y="1122"/>
                  </a:lnTo>
                  <a:cubicBezTo>
                    <a:pt x="110" y="1002"/>
                    <a:pt x="1124" y="0"/>
                    <a:pt x="1124" y="0"/>
                  </a:cubicBezTo>
                  <a:lnTo>
                    <a:pt x="89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2" name="Freeform 261">
              <a:extLst>
                <a:ext uri="{FF2B5EF4-FFF2-40B4-BE49-F238E27FC236}">
                  <a16:creationId xmlns:a16="http://schemas.microsoft.com/office/drawing/2014/main" id="{B014CB9B-52F0-4F67-AB5B-7F147CC35B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13" y="5614988"/>
              <a:ext cx="115888" cy="115888"/>
            </a:xfrm>
            <a:custGeom>
              <a:avLst/>
              <a:gdLst>
                <a:gd name="T0" fmla="*/ 0 w 320"/>
                <a:gd name="T1" fmla="*/ 0 h 321"/>
                <a:gd name="T2" fmla="*/ 0 w 320"/>
                <a:gd name="T3" fmla="*/ 321 h 321"/>
                <a:gd name="T4" fmla="*/ 320 w 320"/>
                <a:gd name="T5" fmla="*/ 0 h 321"/>
                <a:gd name="T6" fmla="*/ 0 w 320"/>
                <a:gd name="T7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0" h="321">
                  <a:moveTo>
                    <a:pt x="0" y="0"/>
                  </a:moveTo>
                  <a:lnTo>
                    <a:pt x="0" y="321"/>
                  </a:lnTo>
                  <a:lnTo>
                    <a:pt x="32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3" name="Rectangle 262">
              <a:extLst>
                <a:ext uri="{FF2B5EF4-FFF2-40B4-BE49-F238E27FC236}">
                  <a16:creationId xmlns:a16="http://schemas.microsoft.com/office/drawing/2014/main" id="{4F739771-F3B6-4262-A953-7FD6B0C275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813" y="5527675"/>
              <a:ext cx="5715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4" name="Rectangle 263">
              <a:extLst>
                <a:ext uri="{FF2B5EF4-FFF2-40B4-BE49-F238E27FC236}">
                  <a16:creationId xmlns:a16="http://schemas.microsoft.com/office/drawing/2014/main" id="{CDCA9C04-1BDC-4DDC-B2CF-DD38583C77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" y="5527675"/>
              <a:ext cx="5715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5" name="Rectangle 264">
              <a:extLst>
                <a:ext uri="{FF2B5EF4-FFF2-40B4-BE49-F238E27FC236}">
                  <a16:creationId xmlns:a16="http://schemas.microsoft.com/office/drawing/2014/main" id="{6820B185-09B3-432C-84EA-167D8AD5BA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5527675"/>
              <a:ext cx="5873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6" name="Rectangle 265">
              <a:extLst>
                <a:ext uri="{FF2B5EF4-FFF2-40B4-BE49-F238E27FC236}">
                  <a16:creationId xmlns:a16="http://schemas.microsoft.com/office/drawing/2014/main" id="{1D4C3FBD-6FE6-4CCC-9DFD-8718A45618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463" y="5527675"/>
              <a:ext cx="5715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41" name="Group 440">
            <a:extLst>
              <a:ext uri="{FF2B5EF4-FFF2-40B4-BE49-F238E27FC236}">
                <a16:creationId xmlns:a16="http://schemas.microsoft.com/office/drawing/2014/main" id="{FE1C997E-DF0D-4338-8F26-A0671F262021}"/>
              </a:ext>
            </a:extLst>
          </p:cNvPr>
          <p:cNvGrpSpPr/>
          <p:nvPr/>
        </p:nvGrpSpPr>
        <p:grpSpPr>
          <a:xfrm>
            <a:off x="2020888" y="5470525"/>
            <a:ext cx="461962" cy="577850"/>
            <a:chOff x="2020888" y="5470525"/>
            <a:chExt cx="461962" cy="577850"/>
          </a:xfrm>
          <a:solidFill>
            <a:schemeClr val="accent1"/>
          </a:solidFill>
        </p:grpSpPr>
        <p:sp>
          <p:nvSpPr>
            <p:cNvPr id="67" name="Freeform 266">
              <a:extLst>
                <a:ext uri="{FF2B5EF4-FFF2-40B4-BE49-F238E27FC236}">
                  <a16:creationId xmlns:a16="http://schemas.microsoft.com/office/drawing/2014/main" id="{D3913A80-B6C4-4A9F-8356-F26D7D78C1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888" y="5470525"/>
              <a:ext cx="203200" cy="519113"/>
            </a:xfrm>
            <a:custGeom>
              <a:avLst/>
              <a:gdLst>
                <a:gd name="T0" fmla="*/ 320 w 561"/>
                <a:gd name="T1" fmla="*/ 1443 h 1443"/>
                <a:gd name="T2" fmla="*/ 0 w 561"/>
                <a:gd name="T3" fmla="*/ 1443 h 1443"/>
                <a:gd name="T4" fmla="*/ 0 w 561"/>
                <a:gd name="T5" fmla="*/ 0 h 1443"/>
                <a:gd name="T6" fmla="*/ 561 w 561"/>
                <a:gd name="T7" fmla="*/ 0 h 1443"/>
                <a:gd name="T8" fmla="*/ 561 w 561"/>
                <a:gd name="T9" fmla="*/ 161 h 1443"/>
                <a:gd name="T10" fmla="*/ 160 w 561"/>
                <a:gd name="T11" fmla="*/ 161 h 1443"/>
                <a:gd name="T12" fmla="*/ 160 w 561"/>
                <a:gd name="T13" fmla="*/ 1283 h 1443"/>
                <a:gd name="T14" fmla="*/ 320 w 561"/>
                <a:gd name="T15" fmla="*/ 1443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1" h="1443">
                  <a:moveTo>
                    <a:pt x="320" y="1443"/>
                  </a:moveTo>
                  <a:lnTo>
                    <a:pt x="0" y="1443"/>
                  </a:lnTo>
                  <a:lnTo>
                    <a:pt x="0" y="0"/>
                  </a:lnTo>
                  <a:lnTo>
                    <a:pt x="561" y="0"/>
                  </a:lnTo>
                  <a:lnTo>
                    <a:pt x="561" y="161"/>
                  </a:lnTo>
                  <a:lnTo>
                    <a:pt x="160" y="161"/>
                  </a:lnTo>
                  <a:lnTo>
                    <a:pt x="160" y="1283"/>
                  </a:lnTo>
                  <a:lnTo>
                    <a:pt x="320" y="14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8" name="Freeform 267">
              <a:extLst>
                <a:ext uri="{FF2B5EF4-FFF2-40B4-BE49-F238E27FC236}">
                  <a16:creationId xmlns:a16="http://schemas.microsoft.com/office/drawing/2014/main" id="{4F243B47-E142-44DD-98D3-A0DF9328E9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24088" y="5470525"/>
              <a:ext cx="201613" cy="201613"/>
            </a:xfrm>
            <a:custGeom>
              <a:avLst/>
              <a:gdLst>
                <a:gd name="T0" fmla="*/ 160 w 561"/>
                <a:gd name="T1" fmla="*/ 401 h 561"/>
                <a:gd name="T2" fmla="*/ 160 w 561"/>
                <a:gd name="T3" fmla="*/ 241 h 561"/>
                <a:gd name="T4" fmla="*/ 320 w 561"/>
                <a:gd name="T5" fmla="*/ 401 h 561"/>
                <a:gd name="T6" fmla="*/ 160 w 561"/>
                <a:gd name="T7" fmla="*/ 401 h 561"/>
                <a:gd name="T8" fmla="*/ 160 w 561"/>
                <a:gd name="T9" fmla="*/ 0 h 561"/>
                <a:gd name="T10" fmla="*/ 0 w 561"/>
                <a:gd name="T11" fmla="*/ 0 h 561"/>
                <a:gd name="T12" fmla="*/ 0 w 561"/>
                <a:gd name="T13" fmla="*/ 481 h 561"/>
                <a:gd name="T14" fmla="*/ 80 w 561"/>
                <a:gd name="T15" fmla="*/ 561 h 561"/>
                <a:gd name="T16" fmla="*/ 561 w 561"/>
                <a:gd name="T17" fmla="*/ 561 h 561"/>
                <a:gd name="T18" fmla="*/ 561 w 561"/>
                <a:gd name="T19" fmla="*/ 401 h 561"/>
                <a:gd name="T20" fmla="*/ 160 w 561"/>
                <a:gd name="T21" fmla="*/ 0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1" h="561">
                  <a:moveTo>
                    <a:pt x="160" y="401"/>
                  </a:moveTo>
                  <a:lnTo>
                    <a:pt x="160" y="241"/>
                  </a:lnTo>
                  <a:lnTo>
                    <a:pt x="320" y="401"/>
                  </a:lnTo>
                  <a:lnTo>
                    <a:pt x="160" y="401"/>
                  </a:lnTo>
                  <a:close/>
                  <a:moveTo>
                    <a:pt x="160" y="0"/>
                  </a:moveTo>
                  <a:lnTo>
                    <a:pt x="0" y="0"/>
                  </a:lnTo>
                  <a:lnTo>
                    <a:pt x="0" y="481"/>
                  </a:lnTo>
                  <a:lnTo>
                    <a:pt x="80" y="561"/>
                  </a:lnTo>
                  <a:lnTo>
                    <a:pt x="561" y="561"/>
                  </a:lnTo>
                  <a:lnTo>
                    <a:pt x="561" y="401"/>
                  </a:lnTo>
                  <a:lnTo>
                    <a:pt x="1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9" name="Freeform 268">
              <a:extLst>
                <a:ext uri="{FF2B5EF4-FFF2-40B4-BE49-F238E27FC236}">
                  <a16:creationId xmlns:a16="http://schemas.microsoft.com/office/drawing/2014/main" id="{52BEBDEA-0573-44C4-9EED-96CDBEAFD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8550" y="5672138"/>
              <a:ext cx="57150" cy="58738"/>
            </a:xfrm>
            <a:custGeom>
              <a:avLst/>
              <a:gdLst>
                <a:gd name="T0" fmla="*/ 160 w 160"/>
                <a:gd name="T1" fmla="*/ 161 h 161"/>
                <a:gd name="T2" fmla="*/ 0 w 160"/>
                <a:gd name="T3" fmla="*/ 0 h 161"/>
                <a:gd name="T4" fmla="*/ 160 w 160"/>
                <a:gd name="T5" fmla="*/ 0 h 161"/>
                <a:gd name="T6" fmla="*/ 160 w 160"/>
                <a:gd name="T7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0" h="161">
                  <a:moveTo>
                    <a:pt x="160" y="161"/>
                  </a:moveTo>
                  <a:lnTo>
                    <a:pt x="0" y="0"/>
                  </a:lnTo>
                  <a:lnTo>
                    <a:pt x="160" y="0"/>
                  </a:lnTo>
                  <a:lnTo>
                    <a:pt x="160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0" name="Rectangle 269">
              <a:extLst>
                <a:ext uri="{FF2B5EF4-FFF2-40B4-BE49-F238E27FC236}">
                  <a16:creationId xmlns:a16="http://schemas.microsoft.com/office/drawing/2014/main" id="{833C66DC-915C-44F0-9283-6130446C95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5350" y="5470525"/>
              <a:ext cx="5873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1" name="Freeform 270">
              <a:extLst>
                <a:ext uri="{FF2B5EF4-FFF2-40B4-BE49-F238E27FC236}">
                  <a16:creationId xmlns:a16="http://schemas.microsoft.com/office/drawing/2014/main" id="{1E9472DC-881E-4084-8A42-1711569EC9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6775" y="5702300"/>
              <a:ext cx="346075" cy="346075"/>
            </a:xfrm>
            <a:custGeom>
              <a:avLst/>
              <a:gdLst>
                <a:gd name="T0" fmla="*/ 481 w 962"/>
                <a:gd name="T1" fmla="*/ 801 h 962"/>
                <a:gd name="T2" fmla="*/ 161 w 962"/>
                <a:gd name="T3" fmla="*/ 481 h 962"/>
                <a:gd name="T4" fmla="*/ 481 w 962"/>
                <a:gd name="T5" fmla="*/ 160 h 962"/>
                <a:gd name="T6" fmla="*/ 802 w 962"/>
                <a:gd name="T7" fmla="*/ 481 h 962"/>
                <a:gd name="T8" fmla="*/ 481 w 962"/>
                <a:gd name="T9" fmla="*/ 801 h 962"/>
                <a:gd name="T10" fmla="*/ 481 w 962"/>
                <a:gd name="T11" fmla="*/ 0 h 962"/>
                <a:gd name="T12" fmla="*/ 0 w 962"/>
                <a:gd name="T13" fmla="*/ 481 h 962"/>
                <a:gd name="T14" fmla="*/ 481 w 962"/>
                <a:gd name="T15" fmla="*/ 962 h 962"/>
                <a:gd name="T16" fmla="*/ 962 w 962"/>
                <a:gd name="T17" fmla="*/ 481 h 962"/>
                <a:gd name="T18" fmla="*/ 481 w 962"/>
                <a:gd name="T19" fmla="*/ 0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2" h="962">
                  <a:moveTo>
                    <a:pt x="481" y="801"/>
                  </a:moveTo>
                  <a:cubicBezTo>
                    <a:pt x="304" y="801"/>
                    <a:pt x="161" y="658"/>
                    <a:pt x="161" y="481"/>
                  </a:cubicBezTo>
                  <a:cubicBezTo>
                    <a:pt x="161" y="304"/>
                    <a:pt x="304" y="160"/>
                    <a:pt x="481" y="160"/>
                  </a:cubicBezTo>
                  <a:cubicBezTo>
                    <a:pt x="658" y="160"/>
                    <a:pt x="802" y="304"/>
                    <a:pt x="802" y="481"/>
                  </a:cubicBezTo>
                  <a:cubicBezTo>
                    <a:pt x="802" y="658"/>
                    <a:pt x="658" y="801"/>
                    <a:pt x="481" y="801"/>
                  </a:cubicBezTo>
                  <a:close/>
                  <a:moveTo>
                    <a:pt x="481" y="0"/>
                  </a:moveTo>
                  <a:cubicBezTo>
                    <a:pt x="216" y="0"/>
                    <a:pt x="0" y="215"/>
                    <a:pt x="0" y="481"/>
                  </a:cubicBezTo>
                  <a:cubicBezTo>
                    <a:pt x="0" y="746"/>
                    <a:pt x="216" y="962"/>
                    <a:pt x="481" y="962"/>
                  </a:cubicBezTo>
                  <a:cubicBezTo>
                    <a:pt x="747" y="962"/>
                    <a:pt x="962" y="746"/>
                    <a:pt x="962" y="481"/>
                  </a:cubicBezTo>
                  <a:cubicBezTo>
                    <a:pt x="962" y="215"/>
                    <a:pt x="747" y="0"/>
                    <a:pt x="48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2" name="Freeform 271">
              <a:extLst>
                <a:ext uri="{FF2B5EF4-FFF2-40B4-BE49-F238E27FC236}">
                  <a16:creationId xmlns:a16="http://schemas.microsoft.com/office/drawing/2014/main" id="{9CA28B0E-FA63-494C-A24B-0E64827ED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4088" y="5788025"/>
              <a:ext cx="173038" cy="173038"/>
            </a:xfrm>
            <a:custGeom>
              <a:avLst/>
              <a:gdLst>
                <a:gd name="T0" fmla="*/ 160 w 481"/>
                <a:gd name="T1" fmla="*/ 0 h 481"/>
                <a:gd name="T2" fmla="*/ 320 w 481"/>
                <a:gd name="T3" fmla="*/ 0 h 481"/>
                <a:gd name="T4" fmla="*/ 320 w 481"/>
                <a:gd name="T5" fmla="*/ 160 h 481"/>
                <a:gd name="T6" fmla="*/ 481 w 481"/>
                <a:gd name="T7" fmla="*/ 160 h 481"/>
                <a:gd name="T8" fmla="*/ 481 w 481"/>
                <a:gd name="T9" fmla="*/ 321 h 481"/>
                <a:gd name="T10" fmla="*/ 320 w 481"/>
                <a:gd name="T11" fmla="*/ 321 h 481"/>
                <a:gd name="T12" fmla="*/ 320 w 481"/>
                <a:gd name="T13" fmla="*/ 481 h 481"/>
                <a:gd name="T14" fmla="*/ 160 w 481"/>
                <a:gd name="T15" fmla="*/ 481 h 481"/>
                <a:gd name="T16" fmla="*/ 160 w 481"/>
                <a:gd name="T17" fmla="*/ 321 h 481"/>
                <a:gd name="T18" fmla="*/ 0 w 481"/>
                <a:gd name="T19" fmla="*/ 321 h 481"/>
                <a:gd name="T20" fmla="*/ 0 w 481"/>
                <a:gd name="T21" fmla="*/ 160 h 481"/>
                <a:gd name="T22" fmla="*/ 160 w 481"/>
                <a:gd name="T23" fmla="*/ 160 h 481"/>
                <a:gd name="T24" fmla="*/ 160 w 481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1" h="481">
                  <a:moveTo>
                    <a:pt x="160" y="0"/>
                  </a:moveTo>
                  <a:lnTo>
                    <a:pt x="320" y="0"/>
                  </a:lnTo>
                  <a:lnTo>
                    <a:pt x="320" y="160"/>
                  </a:lnTo>
                  <a:lnTo>
                    <a:pt x="481" y="160"/>
                  </a:lnTo>
                  <a:lnTo>
                    <a:pt x="481" y="321"/>
                  </a:lnTo>
                  <a:lnTo>
                    <a:pt x="320" y="321"/>
                  </a:lnTo>
                  <a:lnTo>
                    <a:pt x="320" y="481"/>
                  </a:lnTo>
                  <a:lnTo>
                    <a:pt x="160" y="481"/>
                  </a:lnTo>
                  <a:lnTo>
                    <a:pt x="160" y="321"/>
                  </a:lnTo>
                  <a:lnTo>
                    <a:pt x="0" y="321"/>
                  </a:lnTo>
                  <a:lnTo>
                    <a:pt x="0" y="160"/>
                  </a:lnTo>
                  <a:lnTo>
                    <a:pt x="160" y="160"/>
                  </a:lnTo>
                  <a:lnTo>
                    <a:pt x="1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45" name="Group 444">
            <a:extLst>
              <a:ext uri="{FF2B5EF4-FFF2-40B4-BE49-F238E27FC236}">
                <a16:creationId xmlns:a16="http://schemas.microsoft.com/office/drawing/2014/main" id="{8C5BA086-4686-4AD5-B595-A0918A652F2D}"/>
              </a:ext>
            </a:extLst>
          </p:cNvPr>
          <p:cNvGrpSpPr/>
          <p:nvPr/>
        </p:nvGrpSpPr>
        <p:grpSpPr>
          <a:xfrm>
            <a:off x="409575" y="3436938"/>
            <a:ext cx="577851" cy="577850"/>
            <a:chOff x="409575" y="3436938"/>
            <a:chExt cx="577851" cy="577850"/>
          </a:xfrm>
          <a:solidFill>
            <a:schemeClr val="accent1"/>
          </a:solidFill>
        </p:grpSpPr>
        <p:sp>
          <p:nvSpPr>
            <p:cNvPr id="73" name="Freeform 272">
              <a:extLst>
                <a:ext uri="{FF2B5EF4-FFF2-40B4-BE49-F238E27FC236}">
                  <a16:creationId xmlns:a16="http://schemas.microsoft.com/office/drawing/2014/main" id="{469DFA2E-DE60-4C96-BD7E-B7EFB64AD7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1188" y="3783013"/>
              <a:ext cx="174625" cy="231775"/>
            </a:xfrm>
            <a:custGeom>
              <a:avLst/>
              <a:gdLst>
                <a:gd name="T0" fmla="*/ 240 w 481"/>
                <a:gd name="T1" fmla="*/ 481 h 641"/>
                <a:gd name="T2" fmla="*/ 160 w 481"/>
                <a:gd name="T3" fmla="*/ 401 h 641"/>
                <a:gd name="T4" fmla="*/ 240 w 481"/>
                <a:gd name="T5" fmla="*/ 321 h 641"/>
                <a:gd name="T6" fmla="*/ 321 w 481"/>
                <a:gd name="T7" fmla="*/ 401 h 641"/>
                <a:gd name="T8" fmla="*/ 240 w 481"/>
                <a:gd name="T9" fmla="*/ 481 h 641"/>
                <a:gd name="T10" fmla="*/ 321 w 481"/>
                <a:gd name="T11" fmla="*/ 174 h 641"/>
                <a:gd name="T12" fmla="*/ 321 w 481"/>
                <a:gd name="T13" fmla="*/ 0 h 641"/>
                <a:gd name="T14" fmla="*/ 160 w 481"/>
                <a:gd name="T15" fmla="*/ 0 h 641"/>
                <a:gd name="T16" fmla="*/ 160 w 481"/>
                <a:gd name="T17" fmla="*/ 174 h 641"/>
                <a:gd name="T18" fmla="*/ 0 w 481"/>
                <a:gd name="T19" fmla="*/ 401 h 641"/>
                <a:gd name="T20" fmla="*/ 240 w 481"/>
                <a:gd name="T21" fmla="*/ 641 h 641"/>
                <a:gd name="T22" fmla="*/ 481 w 481"/>
                <a:gd name="T23" fmla="*/ 401 h 641"/>
                <a:gd name="T24" fmla="*/ 321 w 481"/>
                <a:gd name="T25" fmla="*/ 174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1" h="641">
                  <a:moveTo>
                    <a:pt x="240" y="481"/>
                  </a:moveTo>
                  <a:cubicBezTo>
                    <a:pt x="196" y="481"/>
                    <a:pt x="160" y="445"/>
                    <a:pt x="160" y="401"/>
                  </a:cubicBezTo>
                  <a:cubicBezTo>
                    <a:pt x="160" y="356"/>
                    <a:pt x="196" y="321"/>
                    <a:pt x="240" y="321"/>
                  </a:cubicBezTo>
                  <a:cubicBezTo>
                    <a:pt x="285" y="321"/>
                    <a:pt x="321" y="356"/>
                    <a:pt x="321" y="401"/>
                  </a:cubicBezTo>
                  <a:cubicBezTo>
                    <a:pt x="321" y="445"/>
                    <a:pt x="285" y="481"/>
                    <a:pt x="240" y="481"/>
                  </a:cubicBezTo>
                  <a:close/>
                  <a:moveTo>
                    <a:pt x="321" y="174"/>
                  </a:moveTo>
                  <a:lnTo>
                    <a:pt x="321" y="0"/>
                  </a:lnTo>
                  <a:lnTo>
                    <a:pt x="160" y="0"/>
                  </a:lnTo>
                  <a:lnTo>
                    <a:pt x="160" y="174"/>
                  </a:lnTo>
                  <a:cubicBezTo>
                    <a:pt x="67" y="207"/>
                    <a:pt x="0" y="296"/>
                    <a:pt x="0" y="401"/>
                  </a:cubicBezTo>
                  <a:cubicBezTo>
                    <a:pt x="0" y="534"/>
                    <a:pt x="108" y="641"/>
                    <a:pt x="240" y="641"/>
                  </a:cubicBezTo>
                  <a:cubicBezTo>
                    <a:pt x="373" y="641"/>
                    <a:pt x="481" y="534"/>
                    <a:pt x="481" y="401"/>
                  </a:cubicBezTo>
                  <a:cubicBezTo>
                    <a:pt x="481" y="296"/>
                    <a:pt x="414" y="207"/>
                    <a:pt x="321" y="1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4" name="Freeform 273">
              <a:extLst>
                <a:ext uri="{FF2B5EF4-FFF2-40B4-BE49-F238E27FC236}">
                  <a16:creationId xmlns:a16="http://schemas.microsoft.com/office/drawing/2014/main" id="{0E164DDA-C90A-4BAC-8A8B-862403D20A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1188" y="3436938"/>
              <a:ext cx="174625" cy="173038"/>
            </a:xfrm>
            <a:custGeom>
              <a:avLst/>
              <a:gdLst>
                <a:gd name="T0" fmla="*/ 240 w 481"/>
                <a:gd name="T1" fmla="*/ 320 h 481"/>
                <a:gd name="T2" fmla="*/ 160 w 481"/>
                <a:gd name="T3" fmla="*/ 240 h 481"/>
                <a:gd name="T4" fmla="*/ 240 w 481"/>
                <a:gd name="T5" fmla="*/ 160 h 481"/>
                <a:gd name="T6" fmla="*/ 321 w 481"/>
                <a:gd name="T7" fmla="*/ 240 h 481"/>
                <a:gd name="T8" fmla="*/ 240 w 481"/>
                <a:gd name="T9" fmla="*/ 320 h 481"/>
                <a:gd name="T10" fmla="*/ 240 w 481"/>
                <a:gd name="T11" fmla="*/ 0 h 481"/>
                <a:gd name="T12" fmla="*/ 0 w 481"/>
                <a:gd name="T13" fmla="*/ 240 h 481"/>
                <a:gd name="T14" fmla="*/ 240 w 481"/>
                <a:gd name="T15" fmla="*/ 481 h 481"/>
                <a:gd name="T16" fmla="*/ 481 w 481"/>
                <a:gd name="T17" fmla="*/ 240 h 481"/>
                <a:gd name="T18" fmla="*/ 240 w 481"/>
                <a:gd name="T19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1" h="481">
                  <a:moveTo>
                    <a:pt x="240" y="320"/>
                  </a:moveTo>
                  <a:cubicBezTo>
                    <a:pt x="196" y="320"/>
                    <a:pt x="160" y="285"/>
                    <a:pt x="160" y="240"/>
                  </a:cubicBezTo>
                  <a:cubicBezTo>
                    <a:pt x="160" y="196"/>
                    <a:pt x="196" y="160"/>
                    <a:pt x="240" y="160"/>
                  </a:cubicBezTo>
                  <a:cubicBezTo>
                    <a:pt x="285" y="160"/>
                    <a:pt x="321" y="196"/>
                    <a:pt x="321" y="240"/>
                  </a:cubicBezTo>
                  <a:cubicBezTo>
                    <a:pt x="321" y="285"/>
                    <a:pt x="285" y="320"/>
                    <a:pt x="240" y="320"/>
                  </a:cubicBezTo>
                  <a:close/>
                  <a:moveTo>
                    <a:pt x="240" y="0"/>
                  </a:moveTo>
                  <a:cubicBezTo>
                    <a:pt x="108" y="0"/>
                    <a:pt x="0" y="107"/>
                    <a:pt x="0" y="240"/>
                  </a:cubicBezTo>
                  <a:cubicBezTo>
                    <a:pt x="0" y="373"/>
                    <a:pt x="108" y="481"/>
                    <a:pt x="240" y="481"/>
                  </a:cubicBezTo>
                  <a:cubicBezTo>
                    <a:pt x="373" y="481"/>
                    <a:pt x="481" y="373"/>
                    <a:pt x="481" y="240"/>
                  </a:cubicBezTo>
                  <a:cubicBezTo>
                    <a:pt x="481" y="107"/>
                    <a:pt x="373" y="0"/>
                    <a:pt x="24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5" name="Freeform 274">
              <a:extLst>
                <a:ext uri="{FF2B5EF4-FFF2-40B4-BE49-F238E27FC236}">
                  <a16:creationId xmlns:a16="http://schemas.microsoft.com/office/drawing/2014/main" id="{4A73F37E-4778-489A-B041-4CC5435D1F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4388" y="3638550"/>
              <a:ext cx="173038" cy="173038"/>
            </a:xfrm>
            <a:custGeom>
              <a:avLst/>
              <a:gdLst>
                <a:gd name="T0" fmla="*/ 241 w 481"/>
                <a:gd name="T1" fmla="*/ 321 h 481"/>
                <a:gd name="T2" fmla="*/ 160 w 481"/>
                <a:gd name="T3" fmla="*/ 240 h 481"/>
                <a:gd name="T4" fmla="*/ 241 w 481"/>
                <a:gd name="T5" fmla="*/ 160 h 481"/>
                <a:gd name="T6" fmla="*/ 321 w 481"/>
                <a:gd name="T7" fmla="*/ 240 h 481"/>
                <a:gd name="T8" fmla="*/ 241 w 481"/>
                <a:gd name="T9" fmla="*/ 321 h 481"/>
                <a:gd name="T10" fmla="*/ 241 w 481"/>
                <a:gd name="T11" fmla="*/ 0 h 481"/>
                <a:gd name="T12" fmla="*/ 0 w 481"/>
                <a:gd name="T13" fmla="*/ 240 h 481"/>
                <a:gd name="T14" fmla="*/ 241 w 481"/>
                <a:gd name="T15" fmla="*/ 481 h 481"/>
                <a:gd name="T16" fmla="*/ 481 w 481"/>
                <a:gd name="T17" fmla="*/ 240 h 481"/>
                <a:gd name="T18" fmla="*/ 241 w 481"/>
                <a:gd name="T19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1" h="481">
                  <a:moveTo>
                    <a:pt x="241" y="321"/>
                  </a:moveTo>
                  <a:cubicBezTo>
                    <a:pt x="196" y="321"/>
                    <a:pt x="160" y="285"/>
                    <a:pt x="160" y="240"/>
                  </a:cubicBezTo>
                  <a:cubicBezTo>
                    <a:pt x="160" y="196"/>
                    <a:pt x="196" y="160"/>
                    <a:pt x="241" y="160"/>
                  </a:cubicBezTo>
                  <a:cubicBezTo>
                    <a:pt x="285" y="160"/>
                    <a:pt x="321" y="196"/>
                    <a:pt x="321" y="240"/>
                  </a:cubicBezTo>
                  <a:cubicBezTo>
                    <a:pt x="321" y="285"/>
                    <a:pt x="285" y="321"/>
                    <a:pt x="241" y="321"/>
                  </a:cubicBezTo>
                  <a:close/>
                  <a:moveTo>
                    <a:pt x="241" y="0"/>
                  </a:moveTo>
                  <a:cubicBezTo>
                    <a:pt x="108" y="0"/>
                    <a:pt x="0" y="108"/>
                    <a:pt x="0" y="240"/>
                  </a:cubicBezTo>
                  <a:cubicBezTo>
                    <a:pt x="0" y="373"/>
                    <a:pt x="108" y="481"/>
                    <a:pt x="241" y="481"/>
                  </a:cubicBezTo>
                  <a:cubicBezTo>
                    <a:pt x="373" y="481"/>
                    <a:pt x="481" y="373"/>
                    <a:pt x="481" y="240"/>
                  </a:cubicBezTo>
                  <a:cubicBezTo>
                    <a:pt x="481" y="108"/>
                    <a:pt x="373" y="0"/>
                    <a:pt x="2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6" name="Freeform 275">
              <a:extLst>
                <a:ext uri="{FF2B5EF4-FFF2-40B4-BE49-F238E27FC236}">
                  <a16:creationId xmlns:a16="http://schemas.microsoft.com/office/drawing/2014/main" id="{840B9719-3C8A-4055-83DF-F7C1429828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9575" y="3638550"/>
              <a:ext cx="376238" cy="173038"/>
            </a:xfrm>
            <a:custGeom>
              <a:avLst/>
              <a:gdLst>
                <a:gd name="T0" fmla="*/ 801 w 1042"/>
                <a:gd name="T1" fmla="*/ 321 h 481"/>
                <a:gd name="T2" fmla="*/ 721 w 1042"/>
                <a:gd name="T3" fmla="*/ 240 h 481"/>
                <a:gd name="T4" fmla="*/ 801 w 1042"/>
                <a:gd name="T5" fmla="*/ 160 h 481"/>
                <a:gd name="T6" fmla="*/ 882 w 1042"/>
                <a:gd name="T7" fmla="*/ 240 h 481"/>
                <a:gd name="T8" fmla="*/ 801 w 1042"/>
                <a:gd name="T9" fmla="*/ 321 h 481"/>
                <a:gd name="T10" fmla="*/ 240 w 1042"/>
                <a:gd name="T11" fmla="*/ 321 h 481"/>
                <a:gd name="T12" fmla="*/ 160 w 1042"/>
                <a:gd name="T13" fmla="*/ 240 h 481"/>
                <a:gd name="T14" fmla="*/ 240 w 1042"/>
                <a:gd name="T15" fmla="*/ 160 h 481"/>
                <a:gd name="T16" fmla="*/ 320 w 1042"/>
                <a:gd name="T17" fmla="*/ 240 h 481"/>
                <a:gd name="T18" fmla="*/ 240 w 1042"/>
                <a:gd name="T19" fmla="*/ 321 h 481"/>
                <a:gd name="T20" fmla="*/ 801 w 1042"/>
                <a:gd name="T21" fmla="*/ 0 h 481"/>
                <a:gd name="T22" fmla="*/ 575 w 1042"/>
                <a:gd name="T23" fmla="*/ 160 h 481"/>
                <a:gd name="T24" fmla="*/ 467 w 1042"/>
                <a:gd name="T25" fmla="*/ 160 h 481"/>
                <a:gd name="T26" fmla="*/ 240 w 1042"/>
                <a:gd name="T27" fmla="*/ 0 h 481"/>
                <a:gd name="T28" fmla="*/ 0 w 1042"/>
                <a:gd name="T29" fmla="*/ 240 h 481"/>
                <a:gd name="T30" fmla="*/ 240 w 1042"/>
                <a:gd name="T31" fmla="*/ 481 h 481"/>
                <a:gd name="T32" fmla="*/ 467 w 1042"/>
                <a:gd name="T33" fmla="*/ 321 h 481"/>
                <a:gd name="T34" fmla="*/ 575 w 1042"/>
                <a:gd name="T35" fmla="*/ 321 h 481"/>
                <a:gd name="T36" fmla="*/ 801 w 1042"/>
                <a:gd name="T37" fmla="*/ 481 h 481"/>
                <a:gd name="T38" fmla="*/ 1042 w 1042"/>
                <a:gd name="T39" fmla="*/ 240 h 481"/>
                <a:gd name="T40" fmla="*/ 801 w 1042"/>
                <a:gd name="T4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2" h="481">
                  <a:moveTo>
                    <a:pt x="801" y="321"/>
                  </a:moveTo>
                  <a:cubicBezTo>
                    <a:pt x="757" y="321"/>
                    <a:pt x="721" y="285"/>
                    <a:pt x="721" y="240"/>
                  </a:cubicBezTo>
                  <a:cubicBezTo>
                    <a:pt x="721" y="196"/>
                    <a:pt x="757" y="160"/>
                    <a:pt x="801" y="160"/>
                  </a:cubicBezTo>
                  <a:cubicBezTo>
                    <a:pt x="846" y="160"/>
                    <a:pt x="882" y="196"/>
                    <a:pt x="882" y="240"/>
                  </a:cubicBezTo>
                  <a:cubicBezTo>
                    <a:pt x="882" y="285"/>
                    <a:pt x="846" y="321"/>
                    <a:pt x="801" y="321"/>
                  </a:cubicBezTo>
                  <a:close/>
                  <a:moveTo>
                    <a:pt x="240" y="321"/>
                  </a:moveTo>
                  <a:cubicBezTo>
                    <a:pt x="196" y="321"/>
                    <a:pt x="160" y="285"/>
                    <a:pt x="160" y="240"/>
                  </a:cubicBezTo>
                  <a:cubicBezTo>
                    <a:pt x="160" y="196"/>
                    <a:pt x="196" y="160"/>
                    <a:pt x="240" y="160"/>
                  </a:cubicBezTo>
                  <a:cubicBezTo>
                    <a:pt x="284" y="160"/>
                    <a:pt x="320" y="196"/>
                    <a:pt x="320" y="240"/>
                  </a:cubicBezTo>
                  <a:cubicBezTo>
                    <a:pt x="320" y="285"/>
                    <a:pt x="284" y="321"/>
                    <a:pt x="240" y="321"/>
                  </a:cubicBezTo>
                  <a:close/>
                  <a:moveTo>
                    <a:pt x="801" y="0"/>
                  </a:moveTo>
                  <a:cubicBezTo>
                    <a:pt x="697" y="0"/>
                    <a:pt x="608" y="67"/>
                    <a:pt x="575" y="160"/>
                  </a:cubicBezTo>
                  <a:lnTo>
                    <a:pt x="467" y="160"/>
                  </a:lnTo>
                  <a:cubicBezTo>
                    <a:pt x="434" y="67"/>
                    <a:pt x="345" y="0"/>
                    <a:pt x="240" y="0"/>
                  </a:cubicBezTo>
                  <a:cubicBezTo>
                    <a:pt x="107" y="0"/>
                    <a:pt x="0" y="108"/>
                    <a:pt x="0" y="240"/>
                  </a:cubicBezTo>
                  <a:cubicBezTo>
                    <a:pt x="0" y="373"/>
                    <a:pt x="107" y="481"/>
                    <a:pt x="240" y="481"/>
                  </a:cubicBezTo>
                  <a:cubicBezTo>
                    <a:pt x="345" y="481"/>
                    <a:pt x="434" y="414"/>
                    <a:pt x="467" y="321"/>
                  </a:cubicBezTo>
                  <a:lnTo>
                    <a:pt x="575" y="321"/>
                  </a:lnTo>
                  <a:cubicBezTo>
                    <a:pt x="608" y="414"/>
                    <a:pt x="697" y="481"/>
                    <a:pt x="801" y="481"/>
                  </a:cubicBezTo>
                  <a:cubicBezTo>
                    <a:pt x="934" y="481"/>
                    <a:pt x="1042" y="373"/>
                    <a:pt x="1042" y="240"/>
                  </a:cubicBezTo>
                  <a:cubicBezTo>
                    <a:pt x="1042" y="108"/>
                    <a:pt x="934" y="0"/>
                    <a:pt x="8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236" name="Freeform 76">
            <a:extLst>
              <a:ext uri="{FF2B5EF4-FFF2-40B4-BE49-F238E27FC236}">
                <a16:creationId xmlns:a16="http://schemas.microsoft.com/office/drawing/2014/main" id="{6E4ECF99-6E17-47A8-A109-A68CB6F559DB}"/>
              </a:ext>
            </a:extLst>
          </p:cNvPr>
          <p:cNvSpPr>
            <a:spLocks noEditPoints="1"/>
          </p:cNvSpPr>
          <p:nvPr/>
        </p:nvSpPr>
        <p:spPr bwMode="auto">
          <a:xfrm>
            <a:off x="10401413" y="4046538"/>
            <a:ext cx="469900" cy="222250"/>
          </a:xfrm>
          <a:custGeom>
            <a:avLst/>
            <a:gdLst>
              <a:gd name="T0" fmla="*/ 207 w 1305"/>
              <a:gd name="T1" fmla="*/ 232 h 616"/>
              <a:gd name="T2" fmla="*/ 260 w 1305"/>
              <a:gd name="T3" fmla="*/ 163 h 616"/>
              <a:gd name="T4" fmla="*/ 303 w 1305"/>
              <a:gd name="T5" fmla="*/ 28 h 616"/>
              <a:gd name="T6" fmla="*/ 433 w 1305"/>
              <a:gd name="T7" fmla="*/ 92 h 616"/>
              <a:gd name="T8" fmla="*/ 450 w 1305"/>
              <a:gd name="T9" fmla="*/ 98 h 616"/>
              <a:gd name="T10" fmla="*/ 555 w 1305"/>
              <a:gd name="T11" fmla="*/ 231 h 616"/>
              <a:gd name="T12" fmla="*/ 480 w 1305"/>
              <a:gd name="T13" fmla="*/ 88 h 616"/>
              <a:gd name="T14" fmla="*/ 552 w 1305"/>
              <a:gd name="T15" fmla="*/ 67 h 616"/>
              <a:gd name="T16" fmla="*/ 540 w 1305"/>
              <a:gd name="T17" fmla="*/ 208 h 616"/>
              <a:gd name="T18" fmla="*/ 563 w 1305"/>
              <a:gd name="T19" fmla="*/ 36 h 616"/>
              <a:gd name="T20" fmla="*/ 622 w 1305"/>
              <a:gd name="T21" fmla="*/ 232 h 616"/>
              <a:gd name="T22" fmla="*/ 624 w 1305"/>
              <a:gd name="T23" fmla="*/ 25 h 616"/>
              <a:gd name="T24" fmla="*/ 652 w 1305"/>
              <a:gd name="T25" fmla="*/ 32 h 616"/>
              <a:gd name="T26" fmla="*/ 648 w 1305"/>
              <a:gd name="T27" fmla="*/ 232 h 616"/>
              <a:gd name="T28" fmla="*/ 684 w 1305"/>
              <a:gd name="T29" fmla="*/ 36 h 616"/>
              <a:gd name="T30" fmla="*/ 836 w 1305"/>
              <a:gd name="T31" fmla="*/ 171 h 616"/>
              <a:gd name="T32" fmla="*/ 736 w 1305"/>
              <a:gd name="T33" fmla="*/ 103 h 616"/>
              <a:gd name="T34" fmla="*/ 821 w 1305"/>
              <a:gd name="T35" fmla="*/ 95 h 616"/>
              <a:gd name="T36" fmla="*/ 823 w 1305"/>
              <a:gd name="T37" fmla="*/ 202 h 616"/>
              <a:gd name="T38" fmla="*/ 870 w 1305"/>
              <a:gd name="T39" fmla="*/ 36 h 616"/>
              <a:gd name="T40" fmla="*/ 1022 w 1305"/>
              <a:gd name="T41" fmla="*/ 211 h 616"/>
              <a:gd name="T42" fmla="*/ 932 w 1305"/>
              <a:gd name="T43" fmla="*/ 150 h 616"/>
              <a:gd name="T44" fmla="*/ 983 w 1305"/>
              <a:gd name="T45" fmla="*/ 86 h 616"/>
              <a:gd name="T46" fmla="*/ 987 w 1305"/>
              <a:gd name="T47" fmla="*/ 63 h 616"/>
              <a:gd name="T48" fmla="*/ 1048 w 1305"/>
              <a:gd name="T49" fmla="*/ 212 h 616"/>
              <a:gd name="T50" fmla="*/ 955 w 1305"/>
              <a:gd name="T51" fmla="*/ 165 h 616"/>
              <a:gd name="T52" fmla="*/ 1016 w 1305"/>
              <a:gd name="T53" fmla="*/ 187 h 616"/>
              <a:gd name="T54" fmla="*/ 1098 w 1305"/>
              <a:gd name="T55" fmla="*/ 232 h 616"/>
              <a:gd name="T56" fmla="*/ 132 w 1305"/>
              <a:gd name="T57" fmla="*/ 381 h 616"/>
              <a:gd name="T58" fmla="*/ 159 w 1305"/>
              <a:gd name="T59" fmla="*/ 549 h 616"/>
              <a:gd name="T60" fmla="*/ 86 w 1305"/>
              <a:gd name="T61" fmla="*/ 459 h 616"/>
              <a:gd name="T62" fmla="*/ 230 w 1305"/>
              <a:gd name="T63" fmla="*/ 546 h 616"/>
              <a:gd name="T64" fmla="*/ 216 w 1305"/>
              <a:gd name="T65" fmla="*/ 384 h 616"/>
              <a:gd name="T66" fmla="*/ 242 w 1305"/>
              <a:gd name="T67" fmla="*/ 406 h 616"/>
              <a:gd name="T68" fmla="*/ 384 w 1305"/>
              <a:gd name="T69" fmla="*/ 496 h 616"/>
              <a:gd name="T70" fmla="*/ 291 w 1305"/>
              <a:gd name="T71" fmla="*/ 404 h 616"/>
              <a:gd name="T72" fmla="*/ 312 w 1305"/>
              <a:gd name="T73" fmla="*/ 515 h 616"/>
              <a:gd name="T74" fmla="*/ 375 w 1305"/>
              <a:gd name="T75" fmla="*/ 420 h 616"/>
              <a:gd name="T76" fmla="*/ 456 w 1305"/>
              <a:gd name="T77" fmla="*/ 322 h 616"/>
              <a:gd name="T78" fmla="*/ 508 w 1305"/>
              <a:gd name="T79" fmla="*/ 549 h 616"/>
              <a:gd name="T80" fmla="*/ 534 w 1305"/>
              <a:gd name="T81" fmla="*/ 353 h 616"/>
              <a:gd name="T82" fmla="*/ 581 w 1305"/>
              <a:gd name="T83" fmla="*/ 563 h 616"/>
              <a:gd name="T84" fmla="*/ 685 w 1305"/>
              <a:gd name="T85" fmla="*/ 527 h 616"/>
              <a:gd name="T86" fmla="*/ 642 w 1305"/>
              <a:gd name="T87" fmla="*/ 381 h 616"/>
              <a:gd name="T88" fmla="*/ 681 w 1305"/>
              <a:gd name="T89" fmla="*/ 606 h 616"/>
              <a:gd name="T90" fmla="*/ 645 w 1305"/>
              <a:gd name="T91" fmla="*/ 526 h 616"/>
              <a:gd name="T92" fmla="*/ 603 w 1305"/>
              <a:gd name="T93" fmla="*/ 464 h 616"/>
              <a:gd name="T94" fmla="*/ 728 w 1305"/>
              <a:gd name="T95" fmla="*/ 468 h 616"/>
              <a:gd name="T96" fmla="*/ 755 w 1305"/>
              <a:gd name="T97" fmla="*/ 474 h 616"/>
              <a:gd name="T98" fmla="*/ 842 w 1305"/>
              <a:gd name="T99" fmla="*/ 451 h 616"/>
              <a:gd name="T100" fmla="*/ 888 w 1305"/>
              <a:gd name="T101" fmla="*/ 384 h 616"/>
              <a:gd name="T102" fmla="*/ 1011 w 1305"/>
              <a:gd name="T103" fmla="*/ 421 h 616"/>
              <a:gd name="T104" fmla="*/ 972 w 1305"/>
              <a:gd name="T105" fmla="*/ 410 h 616"/>
              <a:gd name="T106" fmla="*/ 1139 w 1305"/>
              <a:gd name="T107" fmla="*/ 489 h 616"/>
              <a:gd name="T108" fmla="*/ 1039 w 1305"/>
              <a:gd name="T109" fmla="*/ 421 h 616"/>
              <a:gd name="T110" fmla="*/ 1124 w 1305"/>
              <a:gd name="T111" fmla="*/ 412 h 616"/>
              <a:gd name="T112" fmla="*/ 1126 w 1305"/>
              <a:gd name="T113" fmla="*/ 520 h 616"/>
              <a:gd name="T114" fmla="*/ 1183 w 1305"/>
              <a:gd name="T115" fmla="*/ 530 h 616"/>
              <a:gd name="T116" fmla="*/ 1305 w 1305"/>
              <a:gd name="T117" fmla="*/ 474 h 616"/>
              <a:gd name="T118" fmla="*/ 1192 w 1305"/>
              <a:gd name="T119" fmla="*/ 451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05" h="616">
                <a:moveTo>
                  <a:pt x="0" y="549"/>
                </a:moveTo>
                <a:lnTo>
                  <a:pt x="0" y="322"/>
                </a:lnTo>
                <a:lnTo>
                  <a:pt x="28" y="322"/>
                </a:lnTo>
                <a:lnTo>
                  <a:pt x="28" y="549"/>
                </a:lnTo>
                <a:lnTo>
                  <a:pt x="0" y="549"/>
                </a:lnTo>
                <a:close/>
                <a:moveTo>
                  <a:pt x="207" y="232"/>
                </a:moveTo>
                <a:lnTo>
                  <a:pt x="288" y="4"/>
                </a:lnTo>
                <a:lnTo>
                  <a:pt x="319" y="4"/>
                </a:lnTo>
                <a:lnTo>
                  <a:pt x="405" y="232"/>
                </a:lnTo>
                <a:lnTo>
                  <a:pt x="373" y="232"/>
                </a:lnTo>
                <a:lnTo>
                  <a:pt x="349" y="163"/>
                </a:lnTo>
                <a:lnTo>
                  <a:pt x="260" y="163"/>
                </a:lnTo>
                <a:lnTo>
                  <a:pt x="237" y="232"/>
                </a:lnTo>
                <a:lnTo>
                  <a:pt x="207" y="232"/>
                </a:lnTo>
                <a:close/>
                <a:moveTo>
                  <a:pt x="268" y="138"/>
                </a:moveTo>
                <a:lnTo>
                  <a:pt x="340" y="138"/>
                </a:lnTo>
                <a:lnTo>
                  <a:pt x="318" y="75"/>
                </a:lnTo>
                <a:cubicBezTo>
                  <a:pt x="311" y="56"/>
                  <a:pt x="306" y="40"/>
                  <a:pt x="303" y="28"/>
                </a:cubicBezTo>
                <a:cubicBezTo>
                  <a:pt x="300" y="43"/>
                  <a:pt x="296" y="57"/>
                  <a:pt x="291" y="71"/>
                </a:cubicBezTo>
                <a:lnTo>
                  <a:pt x="268" y="138"/>
                </a:lnTo>
                <a:close/>
                <a:moveTo>
                  <a:pt x="410" y="232"/>
                </a:moveTo>
                <a:lnTo>
                  <a:pt x="410" y="67"/>
                </a:lnTo>
                <a:lnTo>
                  <a:pt x="433" y="67"/>
                </a:lnTo>
                <a:lnTo>
                  <a:pt x="433" y="92"/>
                </a:lnTo>
                <a:cubicBezTo>
                  <a:pt x="439" y="80"/>
                  <a:pt x="445" y="73"/>
                  <a:pt x="450" y="69"/>
                </a:cubicBezTo>
                <a:cubicBezTo>
                  <a:pt x="455" y="65"/>
                  <a:pt x="461" y="63"/>
                  <a:pt x="467" y="63"/>
                </a:cubicBezTo>
                <a:cubicBezTo>
                  <a:pt x="475" y="63"/>
                  <a:pt x="484" y="66"/>
                  <a:pt x="493" y="72"/>
                </a:cubicBezTo>
                <a:lnTo>
                  <a:pt x="484" y="98"/>
                </a:lnTo>
                <a:cubicBezTo>
                  <a:pt x="478" y="94"/>
                  <a:pt x="472" y="92"/>
                  <a:pt x="465" y="92"/>
                </a:cubicBezTo>
                <a:cubicBezTo>
                  <a:pt x="460" y="92"/>
                  <a:pt x="455" y="94"/>
                  <a:pt x="450" y="98"/>
                </a:cubicBezTo>
                <a:cubicBezTo>
                  <a:pt x="446" y="101"/>
                  <a:pt x="442" y="106"/>
                  <a:pt x="440" y="113"/>
                </a:cubicBezTo>
                <a:cubicBezTo>
                  <a:pt x="437" y="123"/>
                  <a:pt x="436" y="134"/>
                  <a:pt x="436" y="145"/>
                </a:cubicBezTo>
                <a:lnTo>
                  <a:pt x="436" y="232"/>
                </a:lnTo>
                <a:lnTo>
                  <a:pt x="410" y="232"/>
                </a:lnTo>
                <a:close/>
                <a:moveTo>
                  <a:pt x="552" y="207"/>
                </a:moveTo>
                <a:lnTo>
                  <a:pt x="555" y="231"/>
                </a:lnTo>
                <a:cubicBezTo>
                  <a:pt x="548" y="233"/>
                  <a:pt x="541" y="234"/>
                  <a:pt x="536" y="234"/>
                </a:cubicBezTo>
                <a:cubicBezTo>
                  <a:pt x="526" y="234"/>
                  <a:pt x="519" y="232"/>
                  <a:pt x="514" y="229"/>
                </a:cubicBezTo>
                <a:cubicBezTo>
                  <a:pt x="508" y="226"/>
                  <a:pt x="505" y="222"/>
                  <a:pt x="503" y="216"/>
                </a:cubicBezTo>
                <a:cubicBezTo>
                  <a:pt x="501" y="211"/>
                  <a:pt x="499" y="200"/>
                  <a:pt x="499" y="183"/>
                </a:cubicBezTo>
                <a:lnTo>
                  <a:pt x="499" y="88"/>
                </a:lnTo>
                <a:lnTo>
                  <a:pt x="480" y="88"/>
                </a:lnTo>
                <a:lnTo>
                  <a:pt x="480" y="67"/>
                </a:lnTo>
                <a:lnTo>
                  <a:pt x="499" y="67"/>
                </a:lnTo>
                <a:lnTo>
                  <a:pt x="499" y="26"/>
                </a:lnTo>
                <a:lnTo>
                  <a:pt x="526" y="9"/>
                </a:lnTo>
                <a:lnTo>
                  <a:pt x="526" y="67"/>
                </a:lnTo>
                <a:lnTo>
                  <a:pt x="552" y="67"/>
                </a:lnTo>
                <a:lnTo>
                  <a:pt x="552" y="88"/>
                </a:lnTo>
                <a:lnTo>
                  <a:pt x="526" y="88"/>
                </a:lnTo>
                <a:lnTo>
                  <a:pt x="526" y="185"/>
                </a:lnTo>
                <a:cubicBezTo>
                  <a:pt x="526" y="193"/>
                  <a:pt x="526" y="198"/>
                  <a:pt x="527" y="200"/>
                </a:cubicBezTo>
                <a:cubicBezTo>
                  <a:pt x="528" y="203"/>
                  <a:pt x="529" y="204"/>
                  <a:pt x="531" y="206"/>
                </a:cubicBezTo>
                <a:cubicBezTo>
                  <a:pt x="533" y="207"/>
                  <a:pt x="536" y="208"/>
                  <a:pt x="540" y="208"/>
                </a:cubicBezTo>
                <a:cubicBezTo>
                  <a:pt x="543" y="208"/>
                  <a:pt x="547" y="207"/>
                  <a:pt x="552" y="207"/>
                </a:cubicBezTo>
                <a:close/>
                <a:moveTo>
                  <a:pt x="563" y="36"/>
                </a:moveTo>
                <a:lnTo>
                  <a:pt x="563" y="4"/>
                </a:lnTo>
                <a:lnTo>
                  <a:pt x="589" y="4"/>
                </a:lnTo>
                <a:lnTo>
                  <a:pt x="589" y="36"/>
                </a:lnTo>
                <a:lnTo>
                  <a:pt x="563" y="36"/>
                </a:lnTo>
                <a:close/>
                <a:moveTo>
                  <a:pt x="563" y="232"/>
                </a:moveTo>
                <a:lnTo>
                  <a:pt x="563" y="67"/>
                </a:lnTo>
                <a:lnTo>
                  <a:pt x="589" y="67"/>
                </a:lnTo>
                <a:lnTo>
                  <a:pt x="589" y="232"/>
                </a:lnTo>
                <a:lnTo>
                  <a:pt x="563" y="232"/>
                </a:lnTo>
                <a:close/>
                <a:moveTo>
                  <a:pt x="622" y="232"/>
                </a:moveTo>
                <a:lnTo>
                  <a:pt x="622" y="88"/>
                </a:lnTo>
                <a:lnTo>
                  <a:pt x="599" y="88"/>
                </a:lnTo>
                <a:lnTo>
                  <a:pt x="599" y="67"/>
                </a:lnTo>
                <a:lnTo>
                  <a:pt x="622" y="67"/>
                </a:lnTo>
                <a:lnTo>
                  <a:pt x="622" y="49"/>
                </a:lnTo>
                <a:cubicBezTo>
                  <a:pt x="622" y="38"/>
                  <a:pt x="623" y="30"/>
                  <a:pt x="624" y="25"/>
                </a:cubicBezTo>
                <a:cubicBezTo>
                  <a:pt x="627" y="18"/>
                  <a:pt x="631" y="12"/>
                  <a:pt x="637" y="7"/>
                </a:cubicBezTo>
                <a:cubicBezTo>
                  <a:pt x="644" y="3"/>
                  <a:pt x="653" y="0"/>
                  <a:pt x="664" y="0"/>
                </a:cubicBezTo>
                <a:cubicBezTo>
                  <a:pt x="671" y="0"/>
                  <a:pt x="679" y="1"/>
                  <a:pt x="688" y="3"/>
                </a:cubicBezTo>
                <a:lnTo>
                  <a:pt x="684" y="28"/>
                </a:lnTo>
                <a:cubicBezTo>
                  <a:pt x="679" y="27"/>
                  <a:pt x="674" y="26"/>
                  <a:pt x="669" y="26"/>
                </a:cubicBezTo>
                <a:cubicBezTo>
                  <a:pt x="661" y="26"/>
                  <a:pt x="656" y="28"/>
                  <a:pt x="652" y="32"/>
                </a:cubicBezTo>
                <a:cubicBezTo>
                  <a:pt x="649" y="35"/>
                  <a:pt x="647" y="42"/>
                  <a:pt x="647" y="52"/>
                </a:cubicBezTo>
                <a:lnTo>
                  <a:pt x="647" y="67"/>
                </a:lnTo>
                <a:lnTo>
                  <a:pt x="677" y="67"/>
                </a:lnTo>
                <a:lnTo>
                  <a:pt x="677" y="88"/>
                </a:lnTo>
                <a:lnTo>
                  <a:pt x="648" y="88"/>
                </a:lnTo>
                <a:lnTo>
                  <a:pt x="648" y="232"/>
                </a:lnTo>
                <a:lnTo>
                  <a:pt x="622" y="232"/>
                </a:lnTo>
                <a:close/>
                <a:moveTo>
                  <a:pt x="684" y="36"/>
                </a:moveTo>
                <a:lnTo>
                  <a:pt x="684" y="4"/>
                </a:lnTo>
                <a:lnTo>
                  <a:pt x="710" y="4"/>
                </a:lnTo>
                <a:lnTo>
                  <a:pt x="710" y="36"/>
                </a:lnTo>
                <a:lnTo>
                  <a:pt x="684" y="36"/>
                </a:lnTo>
                <a:close/>
                <a:moveTo>
                  <a:pt x="684" y="232"/>
                </a:moveTo>
                <a:lnTo>
                  <a:pt x="684" y="67"/>
                </a:lnTo>
                <a:lnTo>
                  <a:pt x="710" y="67"/>
                </a:lnTo>
                <a:lnTo>
                  <a:pt x="710" y="232"/>
                </a:lnTo>
                <a:lnTo>
                  <a:pt x="684" y="232"/>
                </a:lnTo>
                <a:close/>
                <a:moveTo>
                  <a:pt x="836" y="171"/>
                </a:moveTo>
                <a:lnTo>
                  <a:pt x="861" y="175"/>
                </a:lnTo>
                <a:cubicBezTo>
                  <a:pt x="859" y="194"/>
                  <a:pt x="852" y="208"/>
                  <a:pt x="840" y="219"/>
                </a:cubicBezTo>
                <a:cubicBezTo>
                  <a:pt x="829" y="230"/>
                  <a:pt x="814" y="235"/>
                  <a:pt x="798" y="235"/>
                </a:cubicBezTo>
                <a:cubicBezTo>
                  <a:pt x="777" y="235"/>
                  <a:pt x="760" y="228"/>
                  <a:pt x="747" y="213"/>
                </a:cubicBezTo>
                <a:cubicBezTo>
                  <a:pt x="734" y="198"/>
                  <a:pt x="728" y="177"/>
                  <a:pt x="728" y="150"/>
                </a:cubicBezTo>
                <a:cubicBezTo>
                  <a:pt x="728" y="132"/>
                  <a:pt x="731" y="117"/>
                  <a:pt x="736" y="103"/>
                </a:cubicBezTo>
                <a:cubicBezTo>
                  <a:pt x="742" y="90"/>
                  <a:pt x="750" y="80"/>
                  <a:pt x="761" y="73"/>
                </a:cubicBezTo>
                <a:cubicBezTo>
                  <a:pt x="773" y="67"/>
                  <a:pt x="785" y="63"/>
                  <a:pt x="798" y="63"/>
                </a:cubicBezTo>
                <a:cubicBezTo>
                  <a:pt x="815" y="63"/>
                  <a:pt x="828" y="68"/>
                  <a:pt x="839" y="77"/>
                </a:cubicBezTo>
                <a:cubicBezTo>
                  <a:pt x="849" y="86"/>
                  <a:pt x="856" y="99"/>
                  <a:pt x="859" y="115"/>
                </a:cubicBezTo>
                <a:lnTo>
                  <a:pt x="834" y="119"/>
                </a:lnTo>
                <a:cubicBezTo>
                  <a:pt x="832" y="108"/>
                  <a:pt x="827" y="100"/>
                  <a:pt x="821" y="95"/>
                </a:cubicBezTo>
                <a:cubicBezTo>
                  <a:pt x="815" y="89"/>
                  <a:pt x="808" y="86"/>
                  <a:pt x="799" y="86"/>
                </a:cubicBezTo>
                <a:cubicBezTo>
                  <a:pt x="786" y="86"/>
                  <a:pt x="775" y="91"/>
                  <a:pt x="767" y="101"/>
                </a:cubicBezTo>
                <a:cubicBezTo>
                  <a:pt x="759" y="111"/>
                  <a:pt x="755" y="127"/>
                  <a:pt x="755" y="149"/>
                </a:cubicBezTo>
                <a:cubicBezTo>
                  <a:pt x="755" y="171"/>
                  <a:pt x="759" y="187"/>
                  <a:pt x="767" y="197"/>
                </a:cubicBezTo>
                <a:cubicBezTo>
                  <a:pt x="774" y="207"/>
                  <a:pt x="785" y="212"/>
                  <a:pt x="797" y="212"/>
                </a:cubicBezTo>
                <a:cubicBezTo>
                  <a:pt x="808" y="212"/>
                  <a:pt x="816" y="209"/>
                  <a:pt x="823" y="202"/>
                </a:cubicBezTo>
                <a:cubicBezTo>
                  <a:pt x="830" y="195"/>
                  <a:pt x="834" y="185"/>
                  <a:pt x="836" y="171"/>
                </a:cubicBezTo>
                <a:close/>
                <a:moveTo>
                  <a:pt x="870" y="36"/>
                </a:moveTo>
                <a:lnTo>
                  <a:pt x="870" y="4"/>
                </a:lnTo>
                <a:lnTo>
                  <a:pt x="896" y="4"/>
                </a:lnTo>
                <a:lnTo>
                  <a:pt x="896" y="36"/>
                </a:lnTo>
                <a:lnTo>
                  <a:pt x="870" y="36"/>
                </a:lnTo>
                <a:close/>
                <a:moveTo>
                  <a:pt x="870" y="232"/>
                </a:moveTo>
                <a:lnTo>
                  <a:pt x="870" y="67"/>
                </a:lnTo>
                <a:lnTo>
                  <a:pt x="896" y="67"/>
                </a:lnTo>
                <a:lnTo>
                  <a:pt x="896" y="232"/>
                </a:lnTo>
                <a:lnTo>
                  <a:pt x="870" y="232"/>
                </a:lnTo>
                <a:close/>
                <a:moveTo>
                  <a:pt x="1022" y="211"/>
                </a:moveTo>
                <a:cubicBezTo>
                  <a:pt x="1012" y="220"/>
                  <a:pt x="1003" y="226"/>
                  <a:pt x="994" y="230"/>
                </a:cubicBezTo>
                <a:cubicBezTo>
                  <a:pt x="985" y="233"/>
                  <a:pt x="976" y="235"/>
                  <a:pt x="965" y="235"/>
                </a:cubicBezTo>
                <a:cubicBezTo>
                  <a:pt x="949" y="235"/>
                  <a:pt x="936" y="231"/>
                  <a:pt x="927" y="222"/>
                </a:cubicBezTo>
                <a:cubicBezTo>
                  <a:pt x="917" y="213"/>
                  <a:pt x="913" y="202"/>
                  <a:pt x="913" y="188"/>
                </a:cubicBezTo>
                <a:cubicBezTo>
                  <a:pt x="913" y="180"/>
                  <a:pt x="915" y="173"/>
                  <a:pt x="918" y="166"/>
                </a:cubicBezTo>
                <a:cubicBezTo>
                  <a:pt x="922" y="159"/>
                  <a:pt x="926" y="154"/>
                  <a:pt x="932" y="150"/>
                </a:cubicBezTo>
                <a:cubicBezTo>
                  <a:pt x="937" y="146"/>
                  <a:pt x="943" y="143"/>
                  <a:pt x="950" y="141"/>
                </a:cubicBezTo>
                <a:cubicBezTo>
                  <a:pt x="955" y="139"/>
                  <a:pt x="963" y="138"/>
                  <a:pt x="973" y="137"/>
                </a:cubicBezTo>
                <a:cubicBezTo>
                  <a:pt x="994" y="134"/>
                  <a:pt x="1010" y="131"/>
                  <a:pt x="1020" y="127"/>
                </a:cubicBezTo>
                <a:cubicBezTo>
                  <a:pt x="1020" y="123"/>
                  <a:pt x="1020" y="121"/>
                  <a:pt x="1020" y="120"/>
                </a:cubicBezTo>
                <a:cubicBezTo>
                  <a:pt x="1020" y="109"/>
                  <a:pt x="1018" y="101"/>
                  <a:pt x="1013" y="96"/>
                </a:cubicBezTo>
                <a:cubicBezTo>
                  <a:pt x="1006" y="90"/>
                  <a:pt x="996" y="86"/>
                  <a:pt x="983" y="86"/>
                </a:cubicBezTo>
                <a:cubicBezTo>
                  <a:pt x="971" y="86"/>
                  <a:pt x="962" y="89"/>
                  <a:pt x="956" y="93"/>
                </a:cubicBezTo>
                <a:cubicBezTo>
                  <a:pt x="950" y="98"/>
                  <a:pt x="946" y="106"/>
                  <a:pt x="943" y="118"/>
                </a:cubicBezTo>
                <a:lnTo>
                  <a:pt x="917" y="114"/>
                </a:lnTo>
                <a:cubicBezTo>
                  <a:pt x="920" y="102"/>
                  <a:pt x="923" y="93"/>
                  <a:pt x="929" y="86"/>
                </a:cubicBezTo>
                <a:cubicBezTo>
                  <a:pt x="934" y="79"/>
                  <a:pt x="942" y="73"/>
                  <a:pt x="952" y="69"/>
                </a:cubicBezTo>
                <a:cubicBezTo>
                  <a:pt x="962" y="65"/>
                  <a:pt x="974" y="63"/>
                  <a:pt x="987" y="63"/>
                </a:cubicBezTo>
                <a:cubicBezTo>
                  <a:pt x="1000" y="63"/>
                  <a:pt x="1011" y="65"/>
                  <a:pt x="1019" y="68"/>
                </a:cubicBezTo>
                <a:cubicBezTo>
                  <a:pt x="1027" y="72"/>
                  <a:pt x="1033" y="76"/>
                  <a:pt x="1037" y="81"/>
                </a:cubicBezTo>
                <a:cubicBezTo>
                  <a:pt x="1041" y="86"/>
                  <a:pt x="1043" y="92"/>
                  <a:pt x="1045" y="100"/>
                </a:cubicBezTo>
                <a:cubicBezTo>
                  <a:pt x="1046" y="105"/>
                  <a:pt x="1046" y="113"/>
                  <a:pt x="1046" y="125"/>
                </a:cubicBezTo>
                <a:lnTo>
                  <a:pt x="1046" y="162"/>
                </a:lnTo>
                <a:cubicBezTo>
                  <a:pt x="1046" y="188"/>
                  <a:pt x="1047" y="205"/>
                  <a:pt x="1048" y="212"/>
                </a:cubicBezTo>
                <a:cubicBezTo>
                  <a:pt x="1049" y="219"/>
                  <a:pt x="1051" y="225"/>
                  <a:pt x="1054" y="232"/>
                </a:cubicBezTo>
                <a:lnTo>
                  <a:pt x="1027" y="232"/>
                </a:lnTo>
                <a:cubicBezTo>
                  <a:pt x="1025" y="226"/>
                  <a:pt x="1023" y="219"/>
                  <a:pt x="1022" y="211"/>
                </a:cubicBezTo>
                <a:close/>
                <a:moveTo>
                  <a:pt x="1020" y="149"/>
                </a:moveTo>
                <a:cubicBezTo>
                  <a:pt x="1011" y="153"/>
                  <a:pt x="996" y="157"/>
                  <a:pt x="977" y="159"/>
                </a:cubicBezTo>
                <a:cubicBezTo>
                  <a:pt x="967" y="161"/>
                  <a:pt x="959" y="163"/>
                  <a:pt x="955" y="165"/>
                </a:cubicBezTo>
                <a:cubicBezTo>
                  <a:pt x="950" y="167"/>
                  <a:pt x="947" y="170"/>
                  <a:pt x="944" y="174"/>
                </a:cubicBezTo>
                <a:cubicBezTo>
                  <a:pt x="942" y="178"/>
                  <a:pt x="941" y="182"/>
                  <a:pt x="941" y="187"/>
                </a:cubicBezTo>
                <a:cubicBezTo>
                  <a:pt x="941" y="195"/>
                  <a:pt x="943" y="201"/>
                  <a:pt x="949" y="206"/>
                </a:cubicBezTo>
                <a:cubicBezTo>
                  <a:pt x="954" y="211"/>
                  <a:pt x="962" y="213"/>
                  <a:pt x="972" y="213"/>
                </a:cubicBezTo>
                <a:cubicBezTo>
                  <a:pt x="982" y="213"/>
                  <a:pt x="991" y="211"/>
                  <a:pt x="998" y="206"/>
                </a:cubicBezTo>
                <a:cubicBezTo>
                  <a:pt x="1006" y="201"/>
                  <a:pt x="1012" y="195"/>
                  <a:pt x="1016" y="187"/>
                </a:cubicBezTo>
                <a:cubicBezTo>
                  <a:pt x="1018" y="181"/>
                  <a:pt x="1020" y="171"/>
                  <a:pt x="1020" y="159"/>
                </a:cubicBezTo>
                <a:lnTo>
                  <a:pt x="1020" y="149"/>
                </a:lnTo>
                <a:close/>
                <a:moveTo>
                  <a:pt x="1072" y="232"/>
                </a:moveTo>
                <a:lnTo>
                  <a:pt x="1072" y="4"/>
                </a:lnTo>
                <a:lnTo>
                  <a:pt x="1098" y="4"/>
                </a:lnTo>
                <a:lnTo>
                  <a:pt x="1098" y="232"/>
                </a:lnTo>
                <a:lnTo>
                  <a:pt x="1072" y="232"/>
                </a:lnTo>
                <a:close/>
                <a:moveTo>
                  <a:pt x="60" y="549"/>
                </a:moveTo>
                <a:lnTo>
                  <a:pt x="60" y="384"/>
                </a:lnTo>
                <a:lnTo>
                  <a:pt x="84" y="384"/>
                </a:lnTo>
                <a:lnTo>
                  <a:pt x="84" y="408"/>
                </a:lnTo>
                <a:cubicBezTo>
                  <a:pt x="95" y="390"/>
                  <a:pt x="111" y="381"/>
                  <a:pt x="132" y="381"/>
                </a:cubicBezTo>
                <a:cubicBezTo>
                  <a:pt x="142" y="381"/>
                  <a:pt x="150" y="383"/>
                  <a:pt x="158" y="386"/>
                </a:cubicBezTo>
                <a:cubicBezTo>
                  <a:pt x="166" y="390"/>
                  <a:pt x="172" y="394"/>
                  <a:pt x="175" y="400"/>
                </a:cubicBezTo>
                <a:cubicBezTo>
                  <a:pt x="179" y="406"/>
                  <a:pt x="182" y="413"/>
                  <a:pt x="183" y="421"/>
                </a:cubicBezTo>
                <a:cubicBezTo>
                  <a:pt x="184" y="426"/>
                  <a:pt x="185" y="435"/>
                  <a:pt x="185" y="448"/>
                </a:cubicBezTo>
                <a:lnTo>
                  <a:pt x="185" y="549"/>
                </a:lnTo>
                <a:lnTo>
                  <a:pt x="159" y="549"/>
                </a:lnTo>
                <a:lnTo>
                  <a:pt x="159" y="449"/>
                </a:lnTo>
                <a:cubicBezTo>
                  <a:pt x="159" y="438"/>
                  <a:pt x="158" y="429"/>
                  <a:pt x="156" y="423"/>
                </a:cubicBezTo>
                <a:cubicBezTo>
                  <a:pt x="154" y="418"/>
                  <a:pt x="150" y="413"/>
                  <a:pt x="145" y="410"/>
                </a:cubicBezTo>
                <a:cubicBezTo>
                  <a:pt x="140" y="407"/>
                  <a:pt x="134" y="405"/>
                  <a:pt x="127" y="405"/>
                </a:cubicBezTo>
                <a:cubicBezTo>
                  <a:pt x="116" y="405"/>
                  <a:pt x="106" y="409"/>
                  <a:pt x="98" y="416"/>
                </a:cubicBezTo>
                <a:cubicBezTo>
                  <a:pt x="90" y="424"/>
                  <a:pt x="86" y="438"/>
                  <a:pt x="86" y="459"/>
                </a:cubicBezTo>
                <a:lnTo>
                  <a:pt x="86" y="549"/>
                </a:lnTo>
                <a:lnTo>
                  <a:pt x="60" y="549"/>
                </a:lnTo>
                <a:close/>
                <a:moveTo>
                  <a:pt x="268" y="524"/>
                </a:moveTo>
                <a:lnTo>
                  <a:pt x="271" y="549"/>
                </a:lnTo>
                <a:cubicBezTo>
                  <a:pt x="264" y="550"/>
                  <a:pt x="257" y="551"/>
                  <a:pt x="252" y="551"/>
                </a:cubicBezTo>
                <a:cubicBezTo>
                  <a:pt x="242" y="551"/>
                  <a:pt x="235" y="550"/>
                  <a:pt x="230" y="546"/>
                </a:cubicBezTo>
                <a:cubicBezTo>
                  <a:pt x="224" y="543"/>
                  <a:pt x="221" y="539"/>
                  <a:pt x="219" y="534"/>
                </a:cubicBezTo>
                <a:cubicBezTo>
                  <a:pt x="217" y="529"/>
                  <a:pt x="216" y="518"/>
                  <a:pt x="216" y="501"/>
                </a:cubicBezTo>
                <a:lnTo>
                  <a:pt x="216" y="406"/>
                </a:lnTo>
                <a:lnTo>
                  <a:pt x="196" y="406"/>
                </a:lnTo>
                <a:lnTo>
                  <a:pt x="196" y="384"/>
                </a:lnTo>
                <a:lnTo>
                  <a:pt x="216" y="384"/>
                </a:lnTo>
                <a:lnTo>
                  <a:pt x="216" y="344"/>
                </a:lnTo>
                <a:lnTo>
                  <a:pt x="242" y="327"/>
                </a:lnTo>
                <a:lnTo>
                  <a:pt x="242" y="384"/>
                </a:lnTo>
                <a:lnTo>
                  <a:pt x="268" y="384"/>
                </a:lnTo>
                <a:lnTo>
                  <a:pt x="268" y="406"/>
                </a:lnTo>
                <a:lnTo>
                  <a:pt x="242" y="406"/>
                </a:lnTo>
                <a:lnTo>
                  <a:pt x="242" y="502"/>
                </a:lnTo>
                <a:cubicBezTo>
                  <a:pt x="242" y="510"/>
                  <a:pt x="242" y="516"/>
                  <a:pt x="243" y="518"/>
                </a:cubicBezTo>
                <a:cubicBezTo>
                  <a:pt x="244" y="520"/>
                  <a:pt x="245" y="522"/>
                  <a:pt x="247" y="523"/>
                </a:cubicBezTo>
                <a:cubicBezTo>
                  <a:pt x="249" y="525"/>
                  <a:pt x="252" y="525"/>
                  <a:pt x="256" y="525"/>
                </a:cubicBezTo>
                <a:cubicBezTo>
                  <a:pt x="259" y="525"/>
                  <a:pt x="263" y="525"/>
                  <a:pt x="268" y="524"/>
                </a:cubicBezTo>
                <a:close/>
                <a:moveTo>
                  <a:pt x="384" y="496"/>
                </a:moveTo>
                <a:lnTo>
                  <a:pt x="411" y="500"/>
                </a:lnTo>
                <a:cubicBezTo>
                  <a:pt x="407" y="516"/>
                  <a:pt x="399" y="529"/>
                  <a:pt x="388" y="539"/>
                </a:cubicBezTo>
                <a:cubicBezTo>
                  <a:pt x="376" y="548"/>
                  <a:pt x="362" y="553"/>
                  <a:pt x="344" y="553"/>
                </a:cubicBezTo>
                <a:cubicBezTo>
                  <a:pt x="321" y="553"/>
                  <a:pt x="304" y="545"/>
                  <a:pt x="291" y="530"/>
                </a:cubicBezTo>
                <a:cubicBezTo>
                  <a:pt x="277" y="516"/>
                  <a:pt x="271" y="495"/>
                  <a:pt x="271" y="468"/>
                </a:cubicBezTo>
                <a:cubicBezTo>
                  <a:pt x="271" y="440"/>
                  <a:pt x="278" y="419"/>
                  <a:pt x="291" y="404"/>
                </a:cubicBezTo>
                <a:cubicBezTo>
                  <a:pt x="304" y="388"/>
                  <a:pt x="321" y="381"/>
                  <a:pt x="342" y="381"/>
                </a:cubicBezTo>
                <a:cubicBezTo>
                  <a:pt x="363" y="381"/>
                  <a:pt x="380" y="388"/>
                  <a:pt x="393" y="403"/>
                </a:cubicBezTo>
                <a:cubicBezTo>
                  <a:pt x="405" y="418"/>
                  <a:pt x="412" y="439"/>
                  <a:pt x="412" y="466"/>
                </a:cubicBezTo>
                <a:cubicBezTo>
                  <a:pt x="412" y="468"/>
                  <a:pt x="412" y="471"/>
                  <a:pt x="412" y="474"/>
                </a:cubicBezTo>
                <a:lnTo>
                  <a:pt x="298" y="474"/>
                </a:lnTo>
                <a:cubicBezTo>
                  <a:pt x="299" y="492"/>
                  <a:pt x="303" y="506"/>
                  <a:pt x="312" y="515"/>
                </a:cubicBezTo>
                <a:cubicBezTo>
                  <a:pt x="320" y="525"/>
                  <a:pt x="331" y="530"/>
                  <a:pt x="344" y="530"/>
                </a:cubicBezTo>
                <a:cubicBezTo>
                  <a:pt x="353" y="530"/>
                  <a:pt x="361" y="527"/>
                  <a:pt x="368" y="522"/>
                </a:cubicBezTo>
                <a:cubicBezTo>
                  <a:pt x="375" y="516"/>
                  <a:pt x="380" y="508"/>
                  <a:pt x="384" y="496"/>
                </a:cubicBezTo>
                <a:close/>
                <a:moveTo>
                  <a:pt x="299" y="451"/>
                </a:moveTo>
                <a:lnTo>
                  <a:pt x="384" y="451"/>
                </a:lnTo>
                <a:cubicBezTo>
                  <a:pt x="383" y="437"/>
                  <a:pt x="380" y="427"/>
                  <a:pt x="375" y="420"/>
                </a:cubicBezTo>
                <a:cubicBezTo>
                  <a:pt x="366" y="409"/>
                  <a:pt x="356" y="404"/>
                  <a:pt x="343" y="404"/>
                </a:cubicBezTo>
                <a:cubicBezTo>
                  <a:pt x="331" y="404"/>
                  <a:pt x="321" y="408"/>
                  <a:pt x="312" y="416"/>
                </a:cubicBezTo>
                <a:cubicBezTo>
                  <a:pt x="304" y="425"/>
                  <a:pt x="300" y="437"/>
                  <a:pt x="299" y="451"/>
                </a:cubicBezTo>
                <a:close/>
                <a:moveTo>
                  <a:pt x="430" y="549"/>
                </a:moveTo>
                <a:lnTo>
                  <a:pt x="430" y="322"/>
                </a:lnTo>
                <a:lnTo>
                  <a:pt x="456" y="322"/>
                </a:lnTo>
                <a:lnTo>
                  <a:pt x="456" y="549"/>
                </a:lnTo>
                <a:lnTo>
                  <a:pt x="430" y="549"/>
                </a:lnTo>
                <a:close/>
                <a:moveTo>
                  <a:pt x="482" y="549"/>
                </a:moveTo>
                <a:lnTo>
                  <a:pt x="482" y="322"/>
                </a:lnTo>
                <a:lnTo>
                  <a:pt x="508" y="322"/>
                </a:lnTo>
                <a:lnTo>
                  <a:pt x="508" y="549"/>
                </a:lnTo>
                <a:lnTo>
                  <a:pt x="482" y="549"/>
                </a:lnTo>
                <a:close/>
                <a:moveTo>
                  <a:pt x="534" y="353"/>
                </a:moveTo>
                <a:lnTo>
                  <a:pt x="534" y="322"/>
                </a:lnTo>
                <a:lnTo>
                  <a:pt x="560" y="322"/>
                </a:lnTo>
                <a:lnTo>
                  <a:pt x="560" y="353"/>
                </a:lnTo>
                <a:lnTo>
                  <a:pt x="534" y="353"/>
                </a:lnTo>
                <a:close/>
                <a:moveTo>
                  <a:pt x="534" y="549"/>
                </a:moveTo>
                <a:lnTo>
                  <a:pt x="534" y="384"/>
                </a:lnTo>
                <a:lnTo>
                  <a:pt x="560" y="384"/>
                </a:lnTo>
                <a:lnTo>
                  <a:pt x="560" y="549"/>
                </a:lnTo>
                <a:lnTo>
                  <a:pt x="534" y="549"/>
                </a:lnTo>
                <a:close/>
                <a:moveTo>
                  <a:pt x="581" y="563"/>
                </a:moveTo>
                <a:lnTo>
                  <a:pt x="606" y="567"/>
                </a:lnTo>
                <a:cubicBezTo>
                  <a:pt x="607" y="575"/>
                  <a:pt x="610" y="581"/>
                  <a:pt x="615" y="585"/>
                </a:cubicBezTo>
                <a:cubicBezTo>
                  <a:pt x="622" y="590"/>
                  <a:pt x="631" y="593"/>
                  <a:pt x="642" y="593"/>
                </a:cubicBezTo>
                <a:cubicBezTo>
                  <a:pt x="654" y="593"/>
                  <a:pt x="663" y="590"/>
                  <a:pt x="670" y="585"/>
                </a:cubicBezTo>
                <a:cubicBezTo>
                  <a:pt x="676" y="580"/>
                  <a:pt x="681" y="572"/>
                  <a:pt x="683" y="563"/>
                </a:cubicBezTo>
                <a:cubicBezTo>
                  <a:pt x="684" y="558"/>
                  <a:pt x="685" y="546"/>
                  <a:pt x="685" y="527"/>
                </a:cubicBezTo>
                <a:cubicBezTo>
                  <a:pt x="673" y="542"/>
                  <a:pt x="659" y="549"/>
                  <a:pt x="642" y="549"/>
                </a:cubicBezTo>
                <a:cubicBezTo>
                  <a:pt x="621" y="549"/>
                  <a:pt x="605" y="541"/>
                  <a:pt x="593" y="525"/>
                </a:cubicBezTo>
                <a:cubicBezTo>
                  <a:pt x="582" y="508"/>
                  <a:pt x="576" y="489"/>
                  <a:pt x="576" y="466"/>
                </a:cubicBezTo>
                <a:cubicBezTo>
                  <a:pt x="576" y="450"/>
                  <a:pt x="579" y="436"/>
                  <a:pt x="584" y="422"/>
                </a:cubicBezTo>
                <a:cubicBezTo>
                  <a:pt x="589" y="409"/>
                  <a:pt x="597" y="399"/>
                  <a:pt x="607" y="392"/>
                </a:cubicBezTo>
                <a:cubicBezTo>
                  <a:pt x="617" y="384"/>
                  <a:pt x="629" y="381"/>
                  <a:pt x="642" y="381"/>
                </a:cubicBezTo>
                <a:cubicBezTo>
                  <a:pt x="660" y="381"/>
                  <a:pt x="675" y="389"/>
                  <a:pt x="687" y="405"/>
                </a:cubicBezTo>
                <a:lnTo>
                  <a:pt x="687" y="384"/>
                </a:lnTo>
                <a:lnTo>
                  <a:pt x="711" y="384"/>
                </a:lnTo>
                <a:lnTo>
                  <a:pt x="711" y="527"/>
                </a:lnTo>
                <a:cubicBezTo>
                  <a:pt x="711" y="552"/>
                  <a:pt x="709" y="570"/>
                  <a:pt x="704" y="581"/>
                </a:cubicBezTo>
                <a:cubicBezTo>
                  <a:pt x="699" y="592"/>
                  <a:pt x="691" y="600"/>
                  <a:pt x="681" y="606"/>
                </a:cubicBezTo>
                <a:cubicBezTo>
                  <a:pt x="670" y="613"/>
                  <a:pt x="657" y="616"/>
                  <a:pt x="642" y="616"/>
                </a:cubicBezTo>
                <a:cubicBezTo>
                  <a:pt x="624" y="616"/>
                  <a:pt x="609" y="611"/>
                  <a:pt x="598" y="603"/>
                </a:cubicBezTo>
                <a:cubicBezTo>
                  <a:pt x="586" y="594"/>
                  <a:pt x="581" y="580"/>
                  <a:pt x="581" y="563"/>
                </a:cubicBezTo>
                <a:close/>
                <a:moveTo>
                  <a:pt x="603" y="464"/>
                </a:moveTo>
                <a:cubicBezTo>
                  <a:pt x="603" y="485"/>
                  <a:pt x="607" y="501"/>
                  <a:pt x="615" y="511"/>
                </a:cubicBezTo>
                <a:cubicBezTo>
                  <a:pt x="623" y="521"/>
                  <a:pt x="633" y="526"/>
                  <a:pt x="645" y="526"/>
                </a:cubicBezTo>
                <a:cubicBezTo>
                  <a:pt x="657" y="526"/>
                  <a:pt x="667" y="521"/>
                  <a:pt x="675" y="511"/>
                </a:cubicBezTo>
                <a:cubicBezTo>
                  <a:pt x="683" y="501"/>
                  <a:pt x="687" y="486"/>
                  <a:pt x="687" y="465"/>
                </a:cubicBezTo>
                <a:cubicBezTo>
                  <a:pt x="687" y="445"/>
                  <a:pt x="683" y="429"/>
                  <a:pt x="674" y="419"/>
                </a:cubicBezTo>
                <a:cubicBezTo>
                  <a:pt x="666" y="409"/>
                  <a:pt x="656" y="404"/>
                  <a:pt x="644" y="404"/>
                </a:cubicBezTo>
                <a:cubicBezTo>
                  <a:pt x="633" y="404"/>
                  <a:pt x="623" y="409"/>
                  <a:pt x="615" y="419"/>
                </a:cubicBezTo>
                <a:cubicBezTo>
                  <a:pt x="607" y="429"/>
                  <a:pt x="603" y="444"/>
                  <a:pt x="603" y="464"/>
                </a:cubicBezTo>
                <a:close/>
                <a:moveTo>
                  <a:pt x="841" y="496"/>
                </a:moveTo>
                <a:lnTo>
                  <a:pt x="868" y="500"/>
                </a:lnTo>
                <a:cubicBezTo>
                  <a:pt x="864" y="516"/>
                  <a:pt x="856" y="529"/>
                  <a:pt x="845" y="539"/>
                </a:cubicBezTo>
                <a:cubicBezTo>
                  <a:pt x="834" y="548"/>
                  <a:pt x="819" y="553"/>
                  <a:pt x="801" y="553"/>
                </a:cubicBezTo>
                <a:cubicBezTo>
                  <a:pt x="779" y="553"/>
                  <a:pt x="761" y="545"/>
                  <a:pt x="748" y="530"/>
                </a:cubicBezTo>
                <a:cubicBezTo>
                  <a:pt x="735" y="516"/>
                  <a:pt x="728" y="495"/>
                  <a:pt x="728" y="468"/>
                </a:cubicBezTo>
                <a:cubicBezTo>
                  <a:pt x="728" y="440"/>
                  <a:pt x="735" y="419"/>
                  <a:pt x="748" y="404"/>
                </a:cubicBezTo>
                <a:cubicBezTo>
                  <a:pt x="761" y="388"/>
                  <a:pt x="779" y="381"/>
                  <a:pt x="800" y="381"/>
                </a:cubicBezTo>
                <a:cubicBezTo>
                  <a:pt x="820" y="381"/>
                  <a:pt x="837" y="388"/>
                  <a:pt x="850" y="403"/>
                </a:cubicBezTo>
                <a:cubicBezTo>
                  <a:pt x="863" y="418"/>
                  <a:pt x="869" y="439"/>
                  <a:pt x="869" y="466"/>
                </a:cubicBezTo>
                <a:cubicBezTo>
                  <a:pt x="869" y="468"/>
                  <a:pt x="869" y="471"/>
                  <a:pt x="869" y="474"/>
                </a:cubicBezTo>
                <a:lnTo>
                  <a:pt x="755" y="474"/>
                </a:lnTo>
                <a:cubicBezTo>
                  <a:pt x="756" y="492"/>
                  <a:pt x="761" y="506"/>
                  <a:pt x="769" y="515"/>
                </a:cubicBezTo>
                <a:cubicBezTo>
                  <a:pt x="778" y="525"/>
                  <a:pt x="788" y="530"/>
                  <a:pt x="801" y="530"/>
                </a:cubicBezTo>
                <a:cubicBezTo>
                  <a:pt x="811" y="530"/>
                  <a:pt x="819" y="527"/>
                  <a:pt x="825" y="522"/>
                </a:cubicBezTo>
                <a:cubicBezTo>
                  <a:pt x="832" y="516"/>
                  <a:pt x="838" y="508"/>
                  <a:pt x="841" y="496"/>
                </a:cubicBezTo>
                <a:close/>
                <a:moveTo>
                  <a:pt x="756" y="451"/>
                </a:moveTo>
                <a:lnTo>
                  <a:pt x="842" y="451"/>
                </a:lnTo>
                <a:cubicBezTo>
                  <a:pt x="841" y="437"/>
                  <a:pt x="837" y="427"/>
                  <a:pt x="832" y="420"/>
                </a:cubicBezTo>
                <a:cubicBezTo>
                  <a:pt x="824" y="409"/>
                  <a:pt x="813" y="404"/>
                  <a:pt x="800" y="404"/>
                </a:cubicBezTo>
                <a:cubicBezTo>
                  <a:pt x="788" y="404"/>
                  <a:pt x="778" y="408"/>
                  <a:pt x="770" y="416"/>
                </a:cubicBezTo>
                <a:cubicBezTo>
                  <a:pt x="762" y="425"/>
                  <a:pt x="757" y="437"/>
                  <a:pt x="756" y="451"/>
                </a:cubicBezTo>
                <a:close/>
                <a:moveTo>
                  <a:pt x="888" y="549"/>
                </a:moveTo>
                <a:lnTo>
                  <a:pt x="888" y="384"/>
                </a:lnTo>
                <a:lnTo>
                  <a:pt x="911" y="384"/>
                </a:lnTo>
                <a:lnTo>
                  <a:pt x="911" y="408"/>
                </a:lnTo>
                <a:cubicBezTo>
                  <a:pt x="922" y="390"/>
                  <a:pt x="938" y="381"/>
                  <a:pt x="960" y="381"/>
                </a:cubicBezTo>
                <a:cubicBezTo>
                  <a:pt x="969" y="381"/>
                  <a:pt x="977" y="383"/>
                  <a:pt x="985" y="386"/>
                </a:cubicBezTo>
                <a:cubicBezTo>
                  <a:pt x="993" y="390"/>
                  <a:pt x="999" y="394"/>
                  <a:pt x="1003" y="400"/>
                </a:cubicBezTo>
                <a:cubicBezTo>
                  <a:pt x="1006" y="406"/>
                  <a:pt x="1009" y="413"/>
                  <a:pt x="1011" y="421"/>
                </a:cubicBezTo>
                <a:cubicBezTo>
                  <a:pt x="1012" y="426"/>
                  <a:pt x="1012" y="435"/>
                  <a:pt x="1012" y="448"/>
                </a:cubicBezTo>
                <a:lnTo>
                  <a:pt x="1012" y="549"/>
                </a:lnTo>
                <a:lnTo>
                  <a:pt x="986" y="549"/>
                </a:lnTo>
                <a:lnTo>
                  <a:pt x="986" y="449"/>
                </a:lnTo>
                <a:cubicBezTo>
                  <a:pt x="986" y="438"/>
                  <a:pt x="985" y="429"/>
                  <a:pt x="983" y="423"/>
                </a:cubicBezTo>
                <a:cubicBezTo>
                  <a:pt x="981" y="418"/>
                  <a:pt x="977" y="413"/>
                  <a:pt x="972" y="410"/>
                </a:cubicBezTo>
                <a:cubicBezTo>
                  <a:pt x="967" y="407"/>
                  <a:pt x="961" y="405"/>
                  <a:pt x="954" y="405"/>
                </a:cubicBezTo>
                <a:cubicBezTo>
                  <a:pt x="943" y="405"/>
                  <a:pt x="934" y="409"/>
                  <a:pt x="926" y="416"/>
                </a:cubicBezTo>
                <a:cubicBezTo>
                  <a:pt x="918" y="424"/>
                  <a:pt x="914" y="438"/>
                  <a:pt x="914" y="459"/>
                </a:cubicBezTo>
                <a:lnTo>
                  <a:pt x="914" y="549"/>
                </a:lnTo>
                <a:lnTo>
                  <a:pt x="888" y="549"/>
                </a:lnTo>
                <a:close/>
                <a:moveTo>
                  <a:pt x="1139" y="489"/>
                </a:moveTo>
                <a:lnTo>
                  <a:pt x="1164" y="493"/>
                </a:lnTo>
                <a:cubicBezTo>
                  <a:pt x="1161" y="511"/>
                  <a:pt x="1154" y="526"/>
                  <a:pt x="1143" y="537"/>
                </a:cubicBezTo>
                <a:cubicBezTo>
                  <a:pt x="1131" y="547"/>
                  <a:pt x="1117" y="553"/>
                  <a:pt x="1100" y="553"/>
                </a:cubicBezTo>
                <a:cubicBezTo>
                  <a:pt x="1079" y="553"/>
                  <a:pt x="1062" y="545"/>
                  <a:pt x="1050" y="530"/>
                </a:cubicBezTo>
                <a:cubicBezTo>
                  <a:pt x="1037" y="516"/>
                  <a:pt x="1031" y="495"/>
                  <a:pt x="1031" y="467"/>
                </a:cubicBezTo>
                <a:cubicBezTo>
                  <a:pt x="1031" y="450"/>
                  <a:pt x="1033" y="434"/>
                  <a:pt x="1039" y="421"/>
                </a:cubicBezTo>
                <a:cubicBezTo>
                  <a:pt x="1044" y="407"/>
                  <a:pt x="1053" y="397"/>
                  <a:pt x="1064" y="391"/>
                </a:cubicBezTo>
                <a:cubicBezTo>
                  <a:pt x="1075" y="384"/>
                  <a:pt x="1087" y="381"/>
                  <a:pt x="1100" y="381"/>
                </a:cubicBezTo>
                <a:cubicBezTo>
                  <a:pt x="1117" y="381"/>
                  <a:pt x="1131" y="385"/>
                  <a:pt x="1141" y="394"/>
                </a:cubicBezTo>
                <a:cubicBezTo>
                  <a:pt x="1152" y="403"/>
                  <a:pt x="1159" y="416"/>
                  <a:pt x="1162" y="433"/>
                </a:cubicBezTo>
                <a:lnTo>
                  <a:pt x="1136" y="437"/>
                </a:lnTo>
                <a:cubicBezTo>
                  <a:pt x="1134" y="426"/>
                  <a:pt x="1130" y="418"/>
                  <a:pt x="1124" y="412"/>
                </a:cubicBezTo>
                <a:cubicBezTo>
                  <a:pt x="1118" y="406"/>
                  <a:pt x="1110" y="404"/>
                  <a:pt x="1101" y="404"/>
                </a:cubicBezTo>
                <a:cubicBezTo>
                  <a:pt x="1088" y="404"/>
                  <a:pt x="1078" y="409"/>
                  <a:pt x="1069" y="419"/>
                </a:cubicBezTo>
                <a:cubicBezTo>
                  <a:pt x="1061" y="429"/>
                  <a:pt x="1057" y="445"/>
                  <a:pt x="1057" y="467"/>
                </a:cubicBezTo>
                <a:cubicBezTo>
                  <a:pt x="1057" y="489"/>
                  <a:pt x="1061" y="505"/>
                  <a:pt x="1069" y="515"/>
                </a:cubicBezTo>
                <a:cubicBezTo>
                  <a:pt x="1077" y="525"/>
                  <a:pt x="1087" y="530"/>
                  <a:pt x="1100" y="530"/>
                </a:cubicBezTo>
                <a:cubicBezTo>
                  <a:pt x="1110" y="530"/>
                  <a:pt x="1119" y="526"/>
                  <a:pt x="1126" y="520"/>
                </a:cubicBezTo>
                <a:cubicBezTo>
                  <a:pt x="1132" y="513"/>
                  <a:pt x="1137" y="503"/>
                  <a:pt x="1139" y="489"/>
                </a:cubicBezTo>
                <a:close/>
                <a:moveTo>
                  <a:pt x="1277" y="496"/>
                </a:moveTo>
                <a:lnTo>
                  <a:pt x="1304" y="500"/>
                </a:lnTo>
                <a:cubicBezTo>
                  <a:pt x="1300" y="516"/>
                  <a:pt x="1292" y="529"/>
                  <a:pt x="1281" y="539"/>
                </a:cubicBezTo>
                <a:cubicBezTo>
                  <a:pt x="1269" y="548"/>
                  <a:pt x="1255" y="553"/>
                  <a:pt x="1237" y="553"/>
                </a:cubicBezTo>
                <a:cubicBezTo>
                  <a:pt x="1214" y="553"/>
                  <a:pt x="1197" y="545"/>
                  <a:pt x="1183" y="530"/>
                </a:cubicBezTo>
                <a:cubicBezTo>
                  <a:pt x="1170" y="516"/>
                  <a:pt x="1164" y="495"/>
                  <a:pt x="1164" y="468"/>
                </a:cubicBezTo>
                <a:cubicBezTo>
                  <a:pt x="1164" y="440"/>
                  <a:pt x="1170" y="419"/>
                  <a:pt x="1184" y="404"/>
                </a:cubicBezTo>
                <a:cubicBezTo>
                  <a:pt x="1197" y="388"/>
                  <a:pt x="1214" y="381"/>
                  <a:pt x="1235" y="381"/>
                </a:cubicBezTo>
                <a:cubicBezTo>
                  <a:pt x="1256" y="381"/>
                  <a:pt x="1272" y="388"/>
                  <a:pt x="1285" y="403"/>
                </a:cubicBezTo>
                <a:cubicBezTo>
                  <a:pt x="1298" y="418"/>
                  <a:pt x="1305" y="439"/>
                  <a:pt x="1305" y="466"/>
                </a:cubicBezTo>
                <a:cubicBezTo>
                  <a:pt x="1305" y="468"/>
                  <a:pt x="1305" y="471"/>
                  <a:pt x="1305" y="474"/>
                </a:cubicBezTo>
                <a:lnTo>
                  <a:pt x="1190" y="474"/>
                </a:lnTo>
                <a:cubicBezTo>
                  <a:pt x="1191" y="492"/>
                  <a:pt x="1196" y="506"/>
                  <a:pt x="1205" y="515"/>
                </a:cubicBezTo>
                <a:cubicBezTo>
                  <a:pt x="1213" y="525"/>
                  <a:pt x="1224" y="530"/>
                  <a:pt x="1237" y="530"/>
                </a:cubicBezTo>
                <a:cubicBezTo>
                  <a:pt x="1246" y="530"/>
                  <a:pt x="1254" y="527"/>
                  <a:pt x="1261" y="522"/>
                </a:cubicBezTo>
                <a:cubicBezTo>
                  <a:pt x="1268" y="516"/>
                  <a:pt x="1273" y="508"/>
                  <a:pt x="1277" y="496"/>
                </a:cubicBezTo>
                <a:close/>
                <a:moveTo>
                  <a:pt x="1192" y="451"/>
                </a:moveTo>
                <a:lnTo>
                  <a:pt x="1277" y="451"/>
                </a:lnTo>
                <a:cubicBezTo>
                  <a:pt x="1276" y="437"/>
                  <a:pt x="1273" y="427"/>
                  <a:pt x="1268" y="420"/>
                </a:cubicBezTo>
                <a:cubicBezTo>
                  <a:pt x="1259" y="409"/>
                  <a:pt x="1249" y="404"/>
                  <a:pt x="1235" y="404"/>
                </a:cubicBezTo>
                <a:cubicBezTo>
                  <a:pt x="1224" y="404"/>
                  <a:pt x="1213" y="408"/>
                  <a:pt x="1205" y="416"/>
                </a:cubicBezTo>
                <a:cubicBezTo>
                  <a:pt x="1197" y="425"/>
                  <a:pt x="1193" y="437"/>
                  <a:pt x="1192" y="45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6" name="Group 405">
            <a:extLst>
              <a:ext uri="{FF2B5EF4-FFF2-40B4-BE49-F238E27FC236}">
                <a16:creationId xmlns:a16="http://schemas.microsoft.com/office/drawing/2014/main" id="{A9DE9B98-DBBB-4481-96C9-DEEFF30E265C}"/>
              </a:ext>
            </a:extLst>
          </p:cNvPr>
          <p:cNvGrpSpPr/>
          <p:nvPr/>
        </p:nvGrpSpPr>
        <p:grpSpPr>
          <a:xfrm>
            <a:off x="10347438" y="3436937"/>
            <a:ext cx="577850" cy="573088"/>
            <a:chOff x="10347438" y="3436937"/>
            <a:chExt cx="577850" cy="573088"/>
          </a:xfrm>
          <a:solidFill>
            <a:schemeClr val="accent1"/>
          </a:solidFill>
        </p:grpSpPr>
        <p:sp>
          <p:nvSpPr>
            <p:cNvPr id="77" name="Freeform 276">
              <a:extLst>
                <a:ext uri="{FF2B5EF4-FFF2-40B4-BE49-F238E27FC236}">
                  <a16:creationId xmlns:a16="http://schemas.microsoft.com/office/drawing/2014/main" id="{90D3DE04-7749-4EB8-BA15-DA55D4AEB1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7438" y="3436937"/>
              <a:ext cx="295275" cy="571500"/>
            </a:xfrm>
            <a:custGeom>
              <a:avLst/>
              <a:gdLst>
                <a:gd name="T0" fmla="*/ 562 w 820"/>
                <a:gd name="T1" fmla="*/ 0 h 1587"/>
                <a:gd name="T2" fmla="*/ 242 w 820"/>
                <a:gd name="T3" fmla="*/ 153 h 1587"/>
                <a:gd name="T4" fmla="*/ 241 w 820"/>
                <a:gd name="T5" fmla="*/ 153 h 1587"/>
                <a:gd name="T6" fmla="*/ 241 w 820"/>
                <a:gd name="T7" fmla="*/ 393 h 1587"/>
                <a:gd name="T8" fmla="*/ 0 w 820"/>
                <a:gd name="T9" fmla="*/ 554 h 1587"/>
                <a:gd name="T10" fmla="*/ 0 w 820"/>
                <a:gd name="T11" fmla="*/ 1035 h 1587"/>
                <a:gd name="T12" fmla="*/ 241 w 820"/>
                <a:gd name="T13" fmla="*/ 1195 h 1587"/>
                <a:gd name="T14" fmla="*/ 241 w 820"/>
                <a:gd name="T15" fmla="*/ 1436 h 1587"/>
                <a:gd name="T16" fmla="*/ 562 w 820"/>
                <a:gd name="T17" fmla="*/ 1587 h 1587"/>
                <a:gd name="T18" fmla="*/ 562 w 820"/>
                <a:gd name="T19" fmla="*/ 1411 h 1587"/>
                <a:gd name="T20" fmla="*/ 401 w 820"/>
                <a:gd name="T21" fmla="*/ 1334 h 1587"/>
                <a:gd name="T22" fmla="*/ 401 w 820"/>
                <a:gd name="T23" fmla="*/ 1173 h 1587"/>
                <a:gd name="T24" fmla="*/ 461 w 820"/>
                <a:gd name="T25" fmla="*/ 1112 h 1587"/>
                <a:gd name="T26" fmla="*/ 481 w 820"/>
                <a:gd name="T27" fmla="*/ 1115 h 1587"/>
                <a:gd name="T28" fmla="*/ 561 w 820"/>
                <a:gd name="T29" fmla="*/ 1035 h 1587"/>
                <a:gd name="T30" fmla="*/ 481 w 820"/>
                <a:gd name="T31" fmla="*/ 955 h 1587"/>
                <a:gd name="T32" fmla="*/ 401 w 820"/>
                <a:gd name="T33" fmla="*/ 1035 h 1587"/>
                <a:gd name="T34" fmla="*/ 404 w 820"/>
                <a:gd name="T35" fmla="*/ 1056 h 1587"/>
                <a:gd name="T36" fmla="*/ 372 w 820"/>
                <a:gd name="T37" fmla="*/ 1088 h 1587"/>
                <a:gd name="T38" fmla="*/ 160 w 820"/>
                <a:gd name="T39" fmla="*/ 948 h 1587"/>
                <a:gd name="T40" fmla="*/ 160 w 820"/>
                <a:gd name="T41" fmla="*/ 640 h 1587"/>
                <a:gd name="T42" fmla="*/ 371 w 820"/>
                <a:gd name="T43" fmla="*/ 501 h 1587"/>
                <a:gd name="T44" fmla="*/ 403 w 820"/>
                <a:gd name="T45" fmla="*/ 534 h 1587"/>
                <a:gd name="T46" fmla="*/ 401 w 820"/>
                <a:gd name="T47" fmla="*/ 554 h 1587"/>
                <a:gd name="T48" fmla="*/ 481 w 820"/>
                <a:gd name="T49" fmla="*/ 634 h 1587"/>
                <a:gd name="T50" fmla="*/ 561 w 820"/>
                <a:gd name="T51" fmla="*/ 554 h 1587"/>
                <a:gd name="T52" fmla="*/ 481 w 820"/>
                <a:gd name="T53" fmla="*/ 473 h 1587"/>
                <a:gd name="T54" fmla="*/ 460 w 820"/>
                <a:gd name="T55" fmla="*/ 476 h 1587"/>
                <a:gd name="T56" fmla="*/ 401 w 820"/>
                <a:gd name="T57" fmla="*/ 418 h 1587"/>
                <a:gd name="T58" fmla="*/ 401 w 820"/>
                <a:gd name="T59" fmla="*/ 254 h 1587"/>
                <a:gd name="T60" fmla="*/ 562 w 820"/>
                <a:gd name="T61" fmla="*/ 179 h 1587"/>
                <a:gd name="T62" fmla="*/ 751 w 820"/>
                <a:gd name="T63" fmla="*/ 268 h 1587"/>
                <a:gd name="T64" fmla="*/ 820 w 820"/>
                <a:gd name="T65" fmla="*/ 123 h 1587"/>
                <a:gd name="T66" fmla="*/ 562 w 820"/>
                <a:gd name="T67" fmla="*/ 0 h 1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20" h="1587">
                  <a:moveTo>
                    <a:pt x="562" y="0"/>
                  </a:moveTo>
                  <a:lnTo>
                    <a:pt x="242" y="153"/>
                  </a:lnTo>
                  <a:lnTo>
                    <a:pt x="241" y="153"/>
                  </a:lnTo>
                  <a:lnTo>
                    <a:pt x="241" y="393"/>
                  </a:lnTo>
                  <a:lnTo>
                    <a:pt x="0" y="554"/>
                  </a:lnTo>
                  <a:lnTo>
                    <a:pt x="0" y="1035"/>
                  </a:lnTo>
                  <a:lnTo>
                    <a:pt x="241" y="1195"/>
                  </a:lnTo>
                  <a:lnTo>
                    <a:pt x="241" y="1436"/>
                  </a:lnTo>
                  <a:lnTo>
                    <a:pt x="562" y="1587"/>
                  </a:lnTo>
                  <a:lnTo>
                    <a:pt x="562" y="1411"/>
                  </a:lnTo>
                  <a:lnTo>
                    <a:pt x="401" y="1334"/>
                  </a:lnTo>
                  <a:lnTo>
                    <a:pt x="401" y="1173"/>
                  </a:lnTo>
                  <a:lnTo>
                    <a:pt x="461" y="1112"/>
                  </a:lnTo>
                  <a:cubicBezTo>
                    <a:pt x="467" y="1114"/>
                    <a:pt x="474" y="1115"/>
                    <a:pt x="481" y="1115"/>
                  </a:cubicBezTo>
                  <a:cubicBezTo>
                    <a:pt x="525" y="1115"/>
                    <a:pt x="561" y="1079"/>
                    <a:pt x="561" y="1035"/>
                  </a:cubicBezTo>
                  <a:cubicBezTo>
                    <a:pt x="561" y="990"/>
                    <a:pt x="525" y="955"/>
                    <a:pt x="481" y="955"/>
                  </a:cubicBezTo>
                  <a:cubicBezTo>
                    <a:pt x="437" y="955"/>
                    <a:pt x="401" y="990"/>
                    <a:pt x="401" y="1035"/>
                  </a:cubicBezTo>
                  <a:cubicBezTo>
                    <a:pt x="401" y="1042"/>
                    <a:pt x="402" y="1049"/>
                    <a:pt x="404" y="1056"/>
                  </a:cubicBezTo>
                  <a:lnTo>
                    <a:pt x="372" y="1088"/>
                  </a:lnTo>
                  <a:lnTo>
                    <a:pt x="160" y="948"/>
                  </a:lnTo>
                  <a:lnTo>
                    <a:pt x="160" y="640"/>
                  </a:lnTo>
                  <a:lnTo>
                    <a:pt x="371" y="501"/>
                  </a:lnTo>
                  <a:lnTo>
                    <a:pt x="403" y="534"/>
                  </a:lnTo>
                  <a:cubicBezTo>
                    <a:pt x="402" y="540"/>
                    <a:pt x="401" y="547"/>
                    <a:pt x="401" y="554"/>
                  </a:cubicBezTo>
                  <a:cubicBezTo>
                    <a:pt x="401" y="598"/>
                    <a:pt x="437" y="634"/>
                    <a:pt x="481" y="634"/>
                  </a:cubicBezTo>
                  <a:cubicBezTo>
                    <a:pt x="525" y="634"/>
                    <a:pt x="561" y="598"/>
                    <a:pt x="561" y="554"/>
                  </a:cubicBezTo>
                  <a:cubicBezTo>
                    <a:pt x="561" y="509"/>
                    <a:pt x="525" y="473"/>
                    <a:pt x="481" y="473"/>
                  </a:cubicBezTo>
                  <a:cubicBezTo>
                    <a:pt x="474" y="473"/>
                    <a:pt x="467" y="475"/>
                    <a:pt x="460" y="476"/>
                  </a:cubicBezTo>
                  <a:lnTo>
                    <a:pt x="401" y="418"/>
                  </a:lnTo>
                  <a:lnTo>
                    <a:pt x="401" y="254"/>
                  </a:lnTo>
                  <a:lnTo>
                    <a:pt x="562" y="179"/>
                  </a:lnTo>
                  <a:lnTo>
                    <a:pt x="751" y="268"/>
                  </a:lnTo>
                  <a:lnTo>
                    <a:pt x="820" y="123"/>
                  </a:lnTo>
                  <a:lnTo>
                    <a:pt x="5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8" name="Freeform 277">
              <a:extLst>
                <a:ext uri="{FF2B5EF4-FFF2-40B4-BE49-F238E27FC236}">
                  <a16:creationId xmlns:a16="http://schemas.microsoft.com/office/drawing/2014/main" id="{2C630468-E4DD-46EF-A431-4B4D7B611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0475" y="3436937"/>
              <a:ext cx="404813" cy="573088"/>
            </a:xfrm>
            <a:custGeom>
              <a:avLst/>
              <a:gdLst>
                <a:gd name="T0" fmla="*/ 882 w 1123"/>
                <a:gd name="T1" fmla="*/ 385 h 1588"/>
                <a:gd name="T2" fmla="*/ 882 w 1123"/>
                <a:gd name="T3" fmla="*/ 153 h 1588"/>
                <a:gd name="T4" fmla="*/ 562 w 1123"/>
                <a:gd name="T5" fmla="*/ 0 h 1588"/>
                <a:gd name="T6" fmla="*/ 241 w 1123"/>
                <a:gd name="T7" fmla="*/ 153 h 1588"/>
                <a:gd name="T8" fmla="*/ 241 w 1123"/>
                <a:gd name="T9" fmla="*/ 754 h 1588"/>
                <a:gd name="T10" fmla="*/ 150 w 1123"/>
                <a:gd name="T11" fmla="*/ 754 h 1588"/>
                <a:gd name="T12" fmla="*/ 80 w 1123"/>
                <a:gd name="T13" fmla="*/ 714 h 1588"/>
                <a:gd name="T14" fmla="*/ 0 w 1123"/>
                <a:gd name="T15" fmla="*/ 794 h 1588"/>
                <a:gd name="T16" fmla="*/ 80 w 1123"/>
                <a:gd name="T17" fmla="*/ 874 h 1588"/>
                <a:gd name="T18" fmla="*/ 150 w 1123"/>
                <a:gd name="T19" fmla="*/ 834 h 1588"/>
                <a:gd name="T20" fmla="*/ 241 w 1123"/>
                <a:gd name="T21" fmla="*/ 834 h 1588"/>
                <a:gd name="T22" fmla="*/ 241 w 1123"/>
                <a:gd name="T23" fmla="*/ 1334 h 1588"/>
                <a:gd name="T24" fmla="*/ 79 w 1123"/>
                <a:gd name="T25" fmla="*/ 1411 h 1588"/>
                <a:gd name="T26" fmla="*/ 80 w 1123"/>
                <a:gd name="T27" fmla="*/ 1588 h 1588"/>
                <a:gd name="T28" fmla="*/ 401 w 1123"/>
                <a:gd name="T29" fmla="*/ 1436 h 1588"/>
                <a:gd name="T30" fmla="*/ 401 w 1123"/>
                <a:gd name="T31" fmla="*/ 834 h 1588"/>
                <a:gd name="T32" fmla="*/ 492 w 1123"/>
                <a:gd name="T33" fmla="*/ 834 h 1588"/>
                <a:gd name="T34" fmla="*/ 561 w 1123"/>
                <a:gd name="T35" fmla="*/ 874 h 1588"/>
                <a:gd name="T36" fmla="*/ 641 w 1123"/>
                <a:gd name="T37" fmla="*/ 794 h 1588"/>
                <a:gd name="T38" fmla="*/ 561 w 1123"/>
                <a:gd name="T39" fmla="*/ 714 h 1588"/>
                <a:gd name="T40" fmla="*/ 492 w 1123"/>
                <a:gd name="T41" fmla="*/ 754 h 1588"/>
                <a:gd name="T42" fmla="*/ 401 w 1123"/>
                <a:gd name="T43" fmla="*/ 754 h 1588"/>
                <a:gd name="T44" fmla="*/ 401 w 1123"/>
                <a:gd name="T45" fmla="*/ 254 h 1588"/>
                <a:gd name="T46" fmla="*/ 562 w 1123"/>
                <a:gd name="T47" fmla="*/ 177 h 1588"/>
                <a:gd name="T48" fmla="*/ 722 w 1123"/>
                <a:gd name="T49" fmla="*/ 254 h 1588"/>
                <a:gd name="T50" fmla="*/ 722 w 1123"/>
                <a:gd name="T51" fmla="*/ 393 h 1588"/>
                <a:gd name="T52" fmla="*/ 722 w 1123"/>
                <a:gd name="T53" fmla="*/ 419 h 1588"/>
                <a:gd name="T54" fmla="*/ 664 w 1123"/>
                <a:gd name="T55" fmla="*/ 477 h 1588"/>
                <a:gd name="T56" fmla="*/ 641 w 1123"/>
                <a:gd name="T57" fmla="*/ 473 h 1588"/>
                <a:gd name="T58" fmla="*/ 561 w 1123"/>
                <a:gd name="T59" fmla="*/ 554 h 1588"/>
                <a:gd name="T60" fmla="*/ 641 w 1123"/>
                <a:gd name="T61" fmla="*/ 634 h 1588"/>
                <a:gd name="T62" fmla="*/ 722 w 1123"/>
                <a:gd name="T63" fmla="*/ 554 h 1588"/>
                <a:gd name="T64" fmla="*/ 719 w 1123"/>
                <a:gd name="T65" fmla="*/ 535 h 1588"/>
                <a:gd name="T66" fmla="*/ 758 w 1123"/>
                <a:gd name="T67" fmla="*/ 497 h 1588"/>
                <a:gd name="T68" fmla="*/ 962 w 1123"/>
                <a:gd name="T69" fmla="*/ 632 h 1588"/>
                <a:gd name="T70" fmla="*/ 962 w 1123"/>
                <a:gd name="T71" fmla="*/ 940 h 1588"/>
                <a:gd name="T72" fmla="*/ 746 w 1123"/>
                <a:gd name="T73" fmla="*/ 1083 h 1588"/>
                <a:gd name="T74" fmla="*/ 719 w 1123"/>
                <a:gd name="T75" fmla="*/ 1056 h 1588"/>
                <a:gd name="T76" fmla="*/ 722 w 1123"/>
                <a:gd name="T77" fmla="*/ 1035 h 1588"/>
                <a:gd name="T78" fmla="*/ 641 w 1123"/>
                <a:gd name="T79" fmla="*/ 955 h 1588"/>
                <a:gd name="T80" fmla="*/ 561 w 1123"/>
                <a:gd name="T81" fmla="*/ 1035 h 1588"/>
                <a:gd name="T82" fmla="*/ 641 w 1123"/>
                <a:gd name="T83" fmla="*/ 1115 h 1588"/>
                <a:gd name="T84" fmla="*/ 662 w 1123"/>
                <a:gd name="T85" fmla="*/ 1112 h 1588"/>
                <a:gd name="T86" fmla="*/ 722 w 1123"/>
                <a:gd name="T87" fmla="*/ 1172 h 1588"/>
                <a:gd name="T88" fmla="*/ 722 w 1123"/>
                <a:gd name="T89" fmla="*/ 1326 h 1588"/>
                <a:gd name="T90" fmla="*/ 561 w 1123"/>
                <a:gd name="T91" fmla="*/ 1403 h 1588"/>
                <a:gd name="T92" fmla="*/ 560 w 1123"/>
                <a:gd name="T93" fmla="*/ 1579 h 1588"/>
                <a:gd name="T94" fmla="*/ 882 w 1123"/>
                <a:gd name="T95" fmla="*/ 1428 h 1588"/>
                <a:gd name="T96" fmla="*/ 882 w 1123"/>
                <a:gd name="T97" fmla="*/ 1187 h 1588"/>
                <a:gd name="T98" fmla="*/ 1123 w 1123"/>
                <a:gd name="T99" fmla="*/ 1027 h 1588"/>
                <a:gd name="T100" fmla="*/ 1123 w 1123"/>
                <a:gd name="T101" fmla="*/ 546 h 1588"/>
                <a:gd name="T102" fmla="*/ 882 w 1123"/>
                <a:gd name="T103" fmla="*/ 385 h 1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23" h="1588">
                  <a:moveTo>
                    <a:pt x="882" y="385"/>
                  </a:moveTo>
                  <a:lnTo>
                    <a:pt x="882" y="153"/>
                  </a:lnTo>
                  <a:lnTo>
                    <a:pt x="562" y="0"/>
                  </a:lnTo>
                  <a:lnTo>
                    <a:pt x="241" y="153"/>
                  </a:lnTo>
                  <a:lnTo>
                    <a:pt x="241" y="754"/>
                  </a:lnTo>
                  <a:lnTo>
                    <a:pt x="150" y="754"/>
                  </a:lnTo>
                  <a:cubicBezTo>
                    <a:pt x="136" y="730"/>
                    <a:pt x="110" y="714"/>
                    <a:pt x="80" y="714"/>
                  </a:cubicBezTo>
                  <a:cubicBezTo>
                    <a:pt x="36" y="714"/>
                    <a:pt x="0" y="750"/>
                    <a:pt x="0" y="794"/>
                  </a:cubicBezTo>
                  <a:cubicBezTo>
                    <a:pt x="0" y="838"/>
                    <a:pt x="36" y="874"/>
                    <a:pt x="80" y="874"/>
                  </a:cubicBezTo>
                  <a:cubicBezTo>
                    <a:pt x="110" y="874"/>
                    <a:pt x="136" y="858"/>
                    <a:pt x="150" y="834"/>
                  </a:cubicBezTo>
                  <a:lnTo>
                    <a:pt x="241" y="834"/>
                  </a:lnTo>
                  <a:lnTo>
                    <a:pt x="241" y="1334"/>
                  </a:lnTo>
                  <a:lnTo>
                    <a:pt x="79" y="1411"/>
                  </a:lnTo>
                  <a:lnTo>
                    <a:pt x="80" y="1588"/>
                  </a:lnTo>
                  <a:lnTo>
                    <a:pt x="401" y="1436"/>
                  </a:lnTo>
                  <a:lnTo>
                    <a:pt x="401" y="834"/>
                  </a:lnTo>
                  <a:lnTo>
                    <a:pt x="492" y="834"/>
                  </a:lnTo>
                  <a:cubicBezTo>
                    <a:pt x="506" y="858"/>
                    <a:pt x="532" y="874"/>
                    <a:pt x="561" y="874"/>
                  </a:cubicBezTo>
                  <a:cubicBezTo>
                    <a:pt x="606" y="874"/>
                    <a:pt x="641" y="838"/>
                    <a:pt x="641" y="794"/>
                  </a:cubicBezTo>
                  <a:cubicBezTo>
                    <a:pt x="641" y="750"/>
                    <a:pt x="606" y="714"/>
                    <a:pt x="561" y="714"/>
                  </a:cubicBezTo>
                  <a:cubicBezTo>
                    <a:pt x="532" y="714"/>
                    <a:pt x="506" y="730"/>
                    <a:pt x="492" y="754"/>
                  </a:cubicBezTo>
                  <a:lnTo>
                    <a:pt x="401" y="754"/>
                  </a:lnTo>
                  <a:lnTo>
                    <a:pt x="401" y="254"/>
                  </a:lnTo>
                  <a:lnTo>
                    <a:pt x="562" y="177"/>
                  </a:lnTo>
                  <a:lnTo>
                    <a:pt x="722" y="254"/>
                  </a:lnTo>
                  <a:lnTo>
                    <a:pt x="722" y="393"/>
                  </a:lnTo>
                  <a:lnTo>
                    <a:pt x="722" y="419"/>
                  </a:lnTo>
                  <a:lnTo>
                    <a:pt x="664" y="477"/>
                  </a:lnTo>
                  <a:cubicBezTo>
                    <a:pt x="657" y="475"/>
                    <a:pt x="649" y="473"/>
                    <a:pt x="641" y="473"/>
                  </a:cubicBezTo>
                  <a:cubicBezTo>
                    <a:pt x="597" y="473"/>
                    <a:pt x="561" y="509"/>
                    <a:pt x="561" y="554"/>
                  </a:cubicBezTo>
                  <a:cubicBezTo>
                    <a:pt x="561" y="598"/>
                    <a:pt x="597" y="634"/>
                    <a:pt x="641" y="634"/>
                  </a:cubicBezTo>
                  <a:cubicBezTo>
                    <a:pt x="686" y="634"/>
                    <a:pt x="722" y="598"/>
                    <a:pt x="722" y="554"/>
                  </a:cubicBezTo>
                  <a:cubicBezTo>
                    <a:pt x="722" y="547"/>
                    <a:pt x="721" y="541"/>
                    <a:pt x="719" y="535"/>
                  </a:cubicBezTo>
                  <a:lnTo>
                    <a:pt x="758" y="497"/>
                  </a:lnTo>
                  <a:lnTo>
                    <a:pt x="962" y="632"/>
                  </a:lnTo>
                  <a:lnTo>
                    <a:pt x="962" y="940"/>
                  </a:lnTo>
                  <a:lnTo>
                    <a:pt x="746" y="1083"/>
                  </a:lnTo>
                  <a:lnTo>
                    <a:pt x="719" y="1056"/>
                  </a:lnTo>
                  <a:cubicBezTo>
                    <a:pt x="721" y="1049"/>
                    <a:pt x="722" y="1042"/>
                    <a:pt x="722" y="1035"/>
                  </a:cubicBezTo>
                  <a:cubicBezTo>
                    <a:pt x="722" y="990"/>
                    <a:pt x="686" y="955"/>
                    <a:pt x="641" y="955"/>
                  </a:cubicBezTo>
                  <a:cubicBezTo>
                    <a:pt x="597" y="955"/>
                    <a:pt x="561" y="990"/>
                    <a:pt x="561" y="1035"/>
                  </a:cubicBezTo>
                  <a:cubicBezTo>
                    <a:pt x="561" y="1079"/>
                    <a:pt x="597" y="1115"/>
                    <a:pt x="641" y="1115"/>
                  </a:cubicBezTo>
                  <a:cubicBezTo>
                    <a:pt x="648" y="1115"/>
                    <a:pt x="655" y="1114"/>
                    <a:pt x="662" y="1112"/>
                  </a:cubicBezTo>
                  <a:lnTo>
                    <a:pt x="722" y="1172"/>
                  </a:lnTo>
                  <a:lnTo>
                    <a:pt x="722" y="1326"/>
                  </a:lnTo>
                  <a:lnTo>
                    <a:pt x="561" y="1403"/>
                  </a:lnTo>
                  <a:lnTo>
                    <a:pt x="560" y="1579"/>
                  </a:lnTo>
                  <a:lnTo>
                    <a:pt x="882" y="1428"/>
                  </a:lnTo>
                  <a:lnTo>
                    <a:pt x="882" y="1187"/>
                  </a:lnTo>
                  <a:lnTo>
                    <a:pt x="1123" y="1027"/>
                  </a:lnTo>
                  <a:lnTo>
                    <a:pt x="1123" y="546"/>
                  </a:lnTo>
                  <a:lnTo>
                    <a:pt x="882" y="3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2" name="Group 421">
            <a:extLst>
              <a:ext uri="{FF2B5EF4-FFF2-40B4-BE49-F238E27FC236}">
                <a16:creationId xmlns:a16="http://schemas.microsoft.com/office/drawing/2014/main" id="{B1E095AB-581E-4F83-8EB2-9F7AFB0B4A4C}"/>
              </a:ext>
            </a:extLst>
          </p:cNvPr>
          <p:cNvGrpSpPr/>
          <p:nvPr/>
        </p:nvGrpSpPr>
        <p:grpSpPr>
          <a:xfrm>
            <a:off x="6523038" y="4465638"/>
            <a:ext cx="550863" cy="552450"/>
            <a:chOff x="6523038" y="4465638"/>
            <a:chExt cx="550863" cy="552450"/>
          </a:xfrm>
          <a:solidFill>
            <a:schemeClr val="accent1"/>
          </a:solidFill>
        </p:grpSpPr>
        <p:sp>
          <p:nvSpPr>
            <p:cNvPr id="79" name="Freeform 278">
              <a:extLst>
                <a:ext uri="{FF2B5EF4-FFF2-40B4-BE49-F238E27FC236}">
                  <a16:creationId xmlns:a16="http://schemas.microsoft.com/office/drawing/2014/main" id="{887ADE1B-C991-4528-8920-A2E8787BE6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3038" y="4629150"/>
              <a:ext cx="366713" cy="388938"/>
            </a:xfrm>
            <a:custGeom>
              <a:avLst/>
              <a:gdLst>
                <a:gd name="T0" fmla="*/ 454 w 1021"/>
                <a:gd name="T1" fmla="*/ 964 h 1077"/>
                <a:gd name="T2" fmla="*/ 114 w 1021"/>
                <a:gd name="T3" fmla="*/ 624 h 1077"/>
                <a:gd name="T4" fmla="*/ 624 w 1021"/>
                <a:gd name="T5" fmla="*/ 113 h 1077"/>
                <a:gd name="T6" fmla="*/ 907 w 1021"/>
                <a:gd name="T7" fmla="*/ 397 h 1077"/>
                <a:gd name="T8" fmla="*/ 1021 w 1021"/>
                <a:gd name="T9" fmla="*/ 283 h 1077"/>
                <a:gd name="T10" fmla="*/ 737 w 1021"/>
                <a:gd name="T11" fmla="*/ 0 h 1077"/>
                <a:gd name="T12" fmla="*/ 511 w 1021"/>
                <a:gd name="T13" fmla="*/ 0 h 1077"/>
                <a:gd name="T14" fmla="*/ 0 w 1021"/>
                <a:gd name="T15" fmla="*/ 510 h 1077"/>
                <a:gd name="T16" fmla="*/ 0 w 1021"/>
                <a:gd name="T17" fmla="*/ 737 h 1077"/>
                <a:gd name="T18" fmla="*/ 341 w 1021"/>
                <a:gd name="T19" fmla="*/ 1077 h 1077"/>
                <a:gd name="T20" fmla="*/ 567 w 1021"/>
                <a:gd name="T21" fmla="*/ 1077 h 1077"/>
                <a:gd name="T22" fmla="*/ 851 w 1021"/>
                <a:gd name="T23" fmla="*/ 794 h 1077"/>
                <a:gd name="T24" fmla="*/ 737 w 1021"/>
                <a:gd name="T25" fmla="*/ 680 h 1077"/>
                <a:gd name="T26" fmla="*/ 454 w 1021"/>
                <a:gd name="T27" fmla="*/ 964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1" h="1077">
                  <a:moveTo>
                    <a:pt x="454" y="964"/>
                  </a:moveTo>
                  <a:lnTo>
                    <a:pt x="114" y="624"/>
                  </a:lnTo>
                  <a:lnTo>
                    <a:pt x="624" y="113"/>
                  </a:lnTo>
                  <a:lnTo>
                    <a:pt x="907" y="397"/>
                  </a:lnTo>
                  <a:lnTo>
                    <a:pt x="1021" y="283"/>
                  </a:lnTo>
                  <a:lnTo>
                    <a:pt x="737" y="0"/>
                  </a:lnTo>
                  <a:lnTo>
                    <a:pt x="511" y="0"/>
                  </a:lnTo>
                  <a:lnTo>
                    <a:pt x="0" y="510"/>
                  </a:lnTo>
                  <a:lnTo>
                    <a:pt x="0" y="737"/>
                  </a:lnTo>
                  <a:lnTo>
                    <a:pt x="341" y="1077"/>
                  </a:lnTo>
                  <a:lnTo>
                    <a:pt x="567" y="1077"/>
                  </a:lnTo>
                  <a:lnTo>
                    <a:pt x="851" y="794"/>
                  </a:lnTo>
                  <a:lnTo>
                    <a:pt x="737" y="680"/>
                  </a:lnTo>
                  <a:lnTo>
                    <a:pt x="454" y="9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0" name="Freeform 279">
              <a:extLst>
                <a:ext uri="{FF2B5EF4-FFF2-40B4-BE49-F238E27FC236}">
                  <a16:creationId xmlns:a16="http://schemas.microsoft.com/office/drawing/2014/main" id="{977A1415-C49A-41A4-B101-A1849F8639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7188" y="4465638"/>
              <a:ext cx="366713" cy="388938"/>
            </a:xfrm>
            <a:custGeom>
              <a:avLst/>
              <a:gdLst>
                <a:gd name="T0" fmla="*/ 567 w 1020"/>
                <a:gd name="T1" fmla="*/ 114 h 1078"/>
                <a:gd name="T2" fmla="*/ 907 w 1020"/>
                <a:gd name="T3" fmla="*/ 454 h 1078"/>
                <a:gd name="T4" fmla="*/ 396 w 1020"/>
                <a:gd name="T5" fmla="*/ 964 h 1078"/>
                <a:gd name="T6" fmla="*/ 113 w 1020"/>
                <a:gd name="T7" fmla="*/ 681 h 1078"/>
                <a:gd name="T8" fmla="*/ 0 w 1020"/>
                <a:gd name="T9" fmla="*/ 794 h 1078"/>
                <a:gd name="T10" fmla="*/ 283 w 1020"/>
                <a:gd name="T11" fmla="*/ 1078 h 1078"/>
                <a:gd name="T12" fmla="*/ 510 w 1020"/>
                <a:gd name="T13" fmla="*/ 1078 h 1078"/>
                <a:gd name="T14" fmla="*/ 1020 w 1020"/>
                <a:gd name="T15" fmla="*/ 567 h 1078"/>
                <a:gd name="T16" fmla="*/ 1020 w 1020"/>
                <a:gd name="T17" fmla="*/ 341 h 1078"/>
                <a:gd name="T18" fmla="*/ 680 w 1020"/>
                <a:gd name="T19" fmla="*/ 0 h 1078"/>
                <a:gd name="T20" fmla="*/ 453 w 1020"/>
                <a:gd name="T21" fmla="*/ 0 h 1078"/>
                <a:gd name="T22" fmla="*/ 170 w 1020"/>
                <a:gd name="T23" fmla="*/ 284 h 1078"/>
                <a:gd name="T24" fmla="*/ 283 w 1020"/>
                <a:gd name="T25" fmla="*/ 397 h 1078"/>
                <a:gd name="T26" fmla="*/ 567 w 1020"/>
                <a:gd name="T27" fmla="*/ 114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0" h="1078">
                  <a:moveTo>
                    <a:pt x="567" y="114"/>
                  </a:moveTo>
                  <a:lnTo>
                    <a:pt x="907" y="454"/>
                  </a:lnTo>
                  <a:lnTo>
                    <a:pt x="396" y="964"/>
                  </a:lnTo>
                  <a:lnTo>
                    <a:pt x="113" y="681"/>
                  </a:lnTo>
                  <a:lnTo>
                    <a:pt x="0" y="794"/>
                  </a:lnTo>
                  <a:lnTo>
                    <a:pt x="283" y="1078"/>
                  </a:lnTo>
                  <a:lnTo>
                    <a:pt x="510" y="1078"/>
                  </a:lnTo>
                  <a:lnTo>
                    <a:pt x="1020" y="567"/>
                  </a:lnTo>
                  <a:lnTo>
                    <a:pt x="1020" y="341"/>
                  </a:lnTo>
                  <a:lnTo>
                    <a:pt x="680" y="0"/>
                  </a:lnTo>
                  <a:lnTo>
                    <a:pt x="453" y="0"/>
                  </a:lnTo>
                  <a:lnTo>
                    <a:pt x="170" y="284"/>
                  </a:lnTo>
                  <a:lnTo>
                    <a:pt x="283" y="397"/>
                  </a:lnTo>
                  <a:lnTo>
                    <a:pt x="567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1" name="Freeform 280">
              <a:extLst>
                <a:ext uri="{FF2B5EF4-FFF2-40B4-BE49-F238E27FC236}">
                  <a16:creationId xmlns:a16="http://schemas.microsoft.com/office/drawing/2014/main" id="{2CD9087E-D09B-40DE-8BB4-A3218E9722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2300" y="4527550"/>
              <a:ext cx="101600" cy="101600"/>
            </a:xfrm>
            <a:custGeom>
              <a:avLst/>
              <a:gdLst>
                <a:gd name="T0" fmla="*/ 113 w 283"/>
                <a:gd name="T1" fmla="*/ 0 h 284"/>
                <a:gd name="T2" fmla="*/ 283 w 283"/>
                <a:gd name="T3" fmla="*/ 171 h 284"/>
                <a:gd name="T4" fmla="*/ 170 w 283"/>
                <a:gd name="T5" fmla="*/ 284 h 284"/>
                <a:gd name="T6" fmla="*/ 0 w 283"/>
                <a:gd name="T7" fmla="*/ 114 h 284"/>
                <a:gd name="T8" fmla="*/ 113 w 283"/>
                <a:gd name="T9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284">
                  <a:moveTo>
                    <a:pt x="113" y="0"/>
                  </a:moveTo>
                  <a:lnTo>
                    <a:pt x="283" y="171"/>
                  </a:lnTo>
                  <a:lnTo>
                    <a:pt x="170" y="284"/>
                  </a:lnTo>
                  <a:lnTo>
                    <a:pt x="0" y="114"/>
                  </a:lnTo>
                  <a:lnTo>
                    <a:pt x="11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2" name="Freeform 281">
              <a:extLst>
                <a:ext uri="{FF2B5EF4-FFF2-40B4-BE49-F238E27FC236}">
                  <a16:creationId xmlns:a16="http://schemas.microsoft.com/office/drawing/2014/main" id="{4EBC8CD8-4C0B-4179-B810-B7406B744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3038" y="4854575"/>
              <a:ext cx="101600" cy="101600"/>
            </a:xfrm>
            <a:custGeom>
              <a:avLst/>
              <a:gdLst>
                <a:gd name="T0" fmla="*/ 170 w 284"/>
                <a:gd name="T1" fmla="*/ 283 h 283"/>
                <a:gd name="T2" fmla="*/ 0 w 284"/>
                <a:gd name="T3" fmla="*/ 113 h 283"/>
                <a:gd name="T4" fmla="*/ 114 w 284"/>
                <a:gd name="T5" fmla="*/ 0 h 283"/>
                <a:gd name="T6" fmla="*/ 284 w 284"/>
                <a:gd name="T7" fmla="*/ 170 h 283"/>
                <a:gd name="T8" fmla="*/ 170 w 284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4" h="283">
                  <a:moveTo>
                    <a:pt x="170" y="283"/>
                  </a:moveTo>
                  <a:lnTo>
                    <a:pt x="0" y="113"/>
                  </a:lnTo>
                  <a:lnTo>
                    <a:pt x="114" y="0"/>
                  </a:lnTo>
                  <a:lnTo>
                    <a:pt x="284" y="170"/>
                  </a:lnTo>
                  <a:lnTo>
                    <a:pt x="170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1" name="Group 420">
            <a:extLst>
              <a:ext uri="{FF2B5EF4-FFF2-40B4-BE49-F238E27FC236}">
                <a16:creationId xmlns:a16="http://schemas.microsoft.com/office/drawing/2014/main" id="{2F9DC4E3-2FAD-417B-B4DB-5C40784B32A5}"/>
              </a:ext>
            </a:extLst>
          </p:cNvPr>
          <p:cNvGrpSpPr/>
          <p:nvPr/>
        </p:nvGrpSpPr>
        <p:grpSpPr>
          <a:xfrm>
            <a:off x="6508750" y="3536950"/>
            <a:ext cx="577851" cy="376238"/>
            <a:chOff x="6508750" y="3536950"/>
            <a:chExt cx="577851" cy="376238"/>
          </a:xfrm>
          <a:solidFill>
            <a:schemeClr val="accent1"/>
          </a:solidFill>
        </p:grpSpPr>
        <p:sp>
          <p:nvSpPr>
            <p:cNvPr id="83" name="Freeform 282">
              <a:extLst>
                <a:ext uri="{FF2B5EF4-FFF2-40B4-BE49-F238E27FC236}">
                  <a16:creationId xmlns:a16="http://schemas.microsoft.com/office/drawing/2014/main" id="{C590511D-20E9-491A-A7DD-F848D4E82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5438" y="3819525"/>
              <a:ext cx="7938" cy="6350"/>
            </a:xfrm>
            <a:custGeom>
              <a:avLst/>
              <a:gdLst>
                <a:gd name="T0" fmla="*/ 0 w 22"/>
                <a:gd name="T1" fmla="*/ 18 h 18"/>
                <a:gd name="T2" fmla="*/ 22 w 22"/>
                <a:gd name="T3" fmla="*/ 18 h 18"/>
                <a:gd name="T4" fmla="*/ 9 w 22"/>
                <a:gd name="T5" fmla="*/ 0 h 18"/>
                <a:gd name="T6" fmla="*/ 0 w 2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8">
                  <a:moveTo>
                    <a:pt x="0" y="18"/>
                  </a:moveTo>
                  <a:lnTo>
                    <a:pt x="22" y="18"/>
                  </a:lnTo>
                  <a:cubicBezTo>
                    <a:pt x="18" y="12"/>
                    <a:pt x="14" y="6"/>
                    <a:pt x="9" y="0"/>
                  </a:cubicBezTo>
                  <a:cubicBezTo>
                    <a:pt x="7" y="6"/>
                    <a:pt x="4" y="12"/>
                    <a:pt x="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4" name="Freeform 283">
              <a:extLst>
                <a:ext uri="{FF2B5EF4-FFF2-40B4-BE49-F238E27FC236}">
                  <a16:creationId xmlns:a16="http://schemas.microsoft.com/office/drawing/2014/main" id="{40BC5E07-9A42-4305-9842-C2CD0CDF2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8750" y="3536950"/>
              <a:ext cx="577850" cy="376238"/>
            </a:xfrm>
            <a:custGeom>
              <a:avLst/>
              <a:gdLst>
                <a:gd name="T0" fmla="*/ 802 w 1604"/>
                <a:gd name="T1" fmla="*/ 0 h 1043"/>
                <a:gd name="T2" fmla="*/ 0 w 1604"/>
                <a:gd name="T3" fmla="*/ 722 h 1043"/>
                <a:gd name="T4" fmla="*/ 321 w 1604"/>
                <a:gd name="T5" fmla="*/ 882 h 1043"/>
                <a:gd name="T6" fmla="*/ 241 w 1604"/>
                <a:gd name="T7" fmla="*/ 583 h 1043"/>
                <a:gd name="T8" fmla="*/ 269 w 1604"/>
                <a:gd name="T9" fmla="*/ 570 h 1043"/>
                <a:gd name="T10" fmla="*/ 279 w 1604"/>
                <a:gd name="T11" fmla="*/ 567 h 1043"/>
                <a:gd name="T12" fmla="*/ 301 w 1604"/>
                <a:gd name="T13" fmla="*/ 563 h 1043"/>
                <a:gd name="T14" fmla="*/ 311 w 1604"/>
                <a:gd name="T15" fmla="*/ 562 h 1043"/>
                <a:gd name="T16" fmla="*/ 402 w 1604"/>
                <a:gd name="T17" fmla="*/ 583 h 1043"/>
                <a:gd name="T18" fmla="*/ 401 w 1604"/>
                <a:gd name="T19" fmla="*/ 542 h 1043"/>
                <a:gd name="T20" fmla="*/ 403 w 1604"/>
                <a:gd name="T21" fmla="*/ 523 h 1043"/>
                <a:gd name="T22" fmla="*/ 405 w 1604"/>
                <a:gd name="T23" fmla="*/ 504 h 1043"/>
                <a:gd name="T24" fmla="*/ 408 w 1604"/>
                <a:gd name="T25" fmla="*/ 486 h 1043"/>
                <a:gd name="T26" fmla="*/ 412 w 1604"/>
                <a:gd name="T27" fmla="*/ 468 h 1043"/>
                <a:gd name="T28" fmla="*/ 416 w 1604"/>
                <a:gd name="T29" fmla="*/ 451 h 1043"/>
                <a:gd name="T30" fmla="*/ 422 w 1604"/>
                <a:gd name="T31" fmla="*/ 434 h 1043"/>
                <a:gd name="T32" fmla="*/ 802 w 1604"/>
                <a:gd name="T33" fmla="*/ 161 h 1043"/>
                <a:gd name="T34" fmla="*/ 1139 w 1604"/>
                <a:gd name="T35" fmla="*/ 345 h 1043"/>
                <a:gd name="T36" fmla="*/ 1171 w 1604"/>
                <a:gd name="T37" fmla="*/ 405 h 1043"/>
                <a:gd name="T38" fmla="*/ 1178 w 1604"/>
                <a:gd name="T39" fmla="*/ 423 h 1043"/>
                <a:gd name="T40" fmla="*/ 1184 w 1604"/>
                <a:gd name="T41" fmla="*/ 442 h 1043"/>
                <a:gd name="T42" fmla="*/ 1190 w 1604"/>
                <a:gd name="T43" fmla="*/ 462 h 1043"/>
                <a:gd name="T44" fmla="*/ 1196 w 1604"/>
                <a:gd name="T45" fmla="*/ 487 h 1043"/>
                <a:gd name="T46" fmla="*/ 1252 w 1604"/>
                <a:gd name="T47" fmla="*/ 482 h 1043"/>
                <a:gd name="T48" fmla="*/ 1262 w 1604"/>
                <a:gd name="T49" fmla="*/ 482 h 1043"/>
                <a:gd name="T50" fmla="*/ 1271 w 1604"/>
                <a:gd name="T51" fmla="*/ 483 h 1043"/>
                <a:gd name="T52" fmla="*/ 1282 w 1604"/>
                <a:gd name="T53" fmla="*/ 485 h 1043"/>
                <a:gd name="T54" fmla="*/ 1292 w 1604"/>
                <a:gd name="T55" fmla="*/ 487 h 1043"/>
                <a:gd name="T56" fmla="*/ 1300 w 1604"/>
                <a:gd name="T57" fmla="*/ 490 h 1043"/>
                <a:gd name="T58" fmla="*/ 1309 w 1604"/>
                <a:gd name="T59" fmla="*/ 493 h 1043"/>
                <a:gd name="T60" fmla="*/ 1317 w 1604"/>
                <a:gd name="T61" fmla="*/ 496 h 1043"/>
                <a:gd name="T62" fmla="*/ 1328 w 1604"/>
                <a:gd name="T63" fmla="*/ 501 h 1043"/>
                <a:gd name="T64" fmla="*/ 1336 w 1604"/>
                <a:gd name="T65" fmla="*/ 505 h 1043"/>
                <a:gd name="T66" fmla="*/ 1344 w 1604"/>
                <a:gd name="T67" fmla="*/ 509 h 1043"/>
                <a:gd name="T68" fmla="*/ 1350 w 1604"/>
                <a:gd name="T69" fmla="*/ 513 h 1043"/>
                <a:gd name="T70" fmla="*/ 1443 w 1604"/>
                <a:gd name="T71" fmla="*/ 682 h 1043"/>
                <a:gd name="T72" fmla="*/ 1601 w 1604"/>
                <a:gd name="T73" fmla="*/ 722 h 1043"/>
                <a:gd name="T74" fmla="*/ 1312 w 1604"/>
                <a:gd name="T75" fmla="*/ 328 h 10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04" h="1043">
                  <a:moveTo>
                    <a:pt x="1312" y="328"/>
                  </a:moveTo>
                  <a:cubicBezTo>
                    <a:pt x="1223" y="135"/>
                    <a:pt x="1028" y="0"/>
                    <a:pt x="802" y="0"/>
                  </a:cubicBezTo>
                  <a:cubicBezTo>
                    <a:pt x="546" y="0"/>
                    <a:pt x="329" y="172"/>
                    <a:pt x="262" y="407"/>
                  </a:cubicBezTo>
                  <a:cubicBezTo>
                    <a:pt x="113" y="434"/>
                    <a:pt x="0" y="565"/>
                    <a:pt x="0" y="722"/>
                  </a:cubicBezTo>
                  <a:cubicBezTo>
                    <a:pt x="0" y="899"/>
                    <a:pt x="144" y="1043"/>
                    <a:pt x="321" y="1043"/>
                  </a:cubicBezTo>
                  <a:lnTo>
                    <a:pt x="321" y="882"/>
                  </a:lnTo>
                  <a:cubicBezTo>
                    <a:pt x="232" y="882"/>
                    <a:pt x="160" y="810"/>
                    <a:pt x="160" y="722"/>
                  </a:cubicBezTo>
                  <a:cubicBezTo>
                    <a:pt x="160" y="662"/>
                    <a:pt x="193" y="611"/>
                    <a:pt x="241" y="583"/>
                  </a:cubicBezTo>
                  <a:cubicBezTo>
                    <a:pt x="250" y="578"/>
                    <a:pt x="259" y="574"/>
                    <a:pt x="268" y="570"/>
                  </a:cubicBezTo>
                  <a:cubicBezTo>
                    <a:pt x="269" y="570"/>
                    <a:pt x="269" y="570"/>
                    <a:pt x="269" y="570"/>
                  </a:cubicBezTo>
                  <a:cubicBezTo>
                    <a:pt x="272" y="569"/>
                    <a:pt x="275" y="568"/>
                    <a:pt x="278" y="567"/>
                  </a:cubicBezTo>
                  <a:cubicBezTo>
                    <a:pt x="278" y="567"/>
                    <a:pt x="279" y="567"/>
                    <a:pt x="279" y="567"/>
                  </a:cubicBezTo>
                  <a:cubicBezTo>
                    <a:pt x="285" y="565"/>
                    <a:pt x="292" y="564"/>
                    <a:pt x="298" y="563"/>
                  </a:cubicBezTo>
                  <a:cubicBezTo>
                    <a:pt x="299" y="563"/>
                    <a:pt x="300" y="563"/>
                    <a:pt x="301" y="563"/>
                  </a:cubicBezTo>
                  <a:cubicBezTo>
                    <a:pt x="303" y="563"/>
                    <a:pt x="306" y="562"/>
                    <a:pt x="308" y="562"/>
                  </a:cubicBezTo>
                  <a:cubicBezTo>
                    <a:pt x="309" y="562"/>
                    <a:pt x="310" y="562"/>
                    <a:pt x="311" y="562"/>
                  </a:cubicBezTo>
                  <a:cubicBezTo>
                    <a:pt x="314" y="562"/>
                    <a:pt x="317" y="562"/>
                    <a:pt x="321" y="562"/>
                  </a:cubicBezTo>
                  <a:cubicBezTo>
                    <a:pt x="350" y="562"/>
                    <a:pt x="378" y="570"/>
                    <a:pt x="402" y="583"/>
                  </a:cubicBezTo>
                  <a:cubicBezTo>
                    <a:pt x="401" y="576"/>
                    <a:pt x="401" y="569"/>
                    <a:pt x="401" y="562"/>
                  </a:cubicBezTo>
                  <a:cubicBezTo>
                    <a:pt x="401" y="555"/>
                    <a:pt x="401" y="548"/>
                    <a:pt x="401" y="542"/>
                  </a:cubicBezTo>
                  <a:cubicBezTo>
                    <a:pt x="402" y="539"/>
                    <a:pt x="402" y="537"/>
                    <a:pt x="402" y="534"/>
                  </a:cubicBezTo>
                  <a:cubicBezTo>
                    <a:pt x="402" y="530"/>
                    <a:pt x="402" y="527"/>
                    <a:pt x="403" y="523"/>
                  </a:cubicBezTo>
                  <a:cubicBezTo>
                    <a:pt x="403" y="519"/>
                    <a:pt x="404" y="516"/>
                    <a:pt x="404" y="513"/>
                  </a:cubicBezTo>
                  <a:cubicBezTo>
                    <a:pt x="404" y="510"/>
                    <a:pt x="405" y="507"/>
                    <a:pt x="405" y="504"/>
                  </a:cubicBezTo>
                  <a:cubicBezTo>
                    <a:pt x="406" y="500"/>
                    <a:pt x="406" y="497"/>
                    <a:pt x="407" y="493"/>
                  </a:cubicBezTo>
                  <a:cubicBezTo>
                    <a:pt x="407" y="491"/>
                    <a:pt x="408" y="488"/>
                    <a:pt x="408" y="486"/>
                  </a:cubicBezTo>
                  <a:cubicBezTo>
                    <a:pt x="409" y="482"/>
                    <a:pt x="410" y="478"/>
                    <a:pt x="411" y="474"/>
                  </a:cubicBezTo>
                  <a:cubicBezTo>
                    <a:pt x="411" y="472"/>
                    <a:pt x="412" y="470"/>
                    <a:pt x="412" y="468"/>
                  </a:cubicBezTo>
                  <a:cubicBezTo>
                    <a:pt x="413" y="464"/>
                    <a:pt x="414" y="459"/>
                    <a:pt x="415" y="455"/>
                  </a:cubicBezTo>
                  <a:cubicBezTo>
                    <a:pt x="416" y="454"/>
                    <a:pt x="416" y="452"/>
                    <a:pt x="416" y="451"/>
                  </a:cubicBezTo>
                  <a:cubicBezTo>
                    <a:pt x="418" y="446"/>
                    <a:pt x="419" y="441"/>
                    <a:pt x="421" y="437"/>
                  </a:cubicBezTo>
                  <a:cubicBezTo>
                    <a:pt x="421" y="436"/>
                    <a:pt x="421" y="435"/>
                    <a:pt x="422" y="434"/>
                  </a:cubicBezTo>
                  <a:cubicBezTo>
                    <a:pt x="423" y="429"/>
                    <a:pt x="425" y="424"/>
                    <a:pt x="427" y="419"/>
                  </a:cubicBezTo>
                  <a:cubicBezTo>
                    <a:pt x="484" y="268"/>
                    <a:pt x="630" y="161"/>
                    <a:pt x="802" y="161"/>
                  </a:cubicBezTo>
                  <a:cubicBezTo>
                    <a:pt x="942" y="161"/>
                    <a:pt x="1066" y="233"/>
                    <a:pt x="1137" y="342"/>
                  </a:cubicBezTo>
                  <a:cubicBezTo>
                    <a:pt x="1138" y="343"/>
                    <a:pt x="1139" y="344"/>
                    <a:pt x="1139" y="345"/>
                  </a:cubicBezTo>
                  <a:cubicBezTo>
                    <a:pt x="1150" y="362"/>
                    <a:pt x="1160" y="380"/>
                    <a:pt x="1168" y="399"/>
                  </a:cubicBezTo>
                  <a:cubicBezTo>
                    <a:pt x="1169" y="401"/>
                    <a:pt x="1170" y="403"/>
                    <a:pt x="1171" y="405"/>
                  </a:cubicBezTo>
                  <a:cubicBezTo>
                    <a:pt x="1172" y="408"/>
                    <a:pt x="1173" y="412"/>
                    <a:pt x="1175" y="415"/>
                  </a:cubicBezTo>
                  <a:cubicBezTo>
                    <a:pt x="1176" y="418"/>
                    <a:pt x="1177" y="420"/>
                    <a:pt x="1178" y="423"/>
                  </a:cubicBezTo>
                  <a:cubicBezTo>
                    <a:pt x="1179" y="426"/>
                    <a:pt x="1180" y="429"/>
                    <a:pt x="1181" y="432"/>
                  </a:cubicBezTo>
                  <a:cubicBezTo>
                    <a:pt x="1182" y="435"/>
                    <a:pt x="1183" y="438"/>
                    <a:pt x="1184" y="442"/>
                  </a:cubicBezTo>
                  <a:cubicBezTo>
                    <a:pt x="1185" y="444"/>
                    <a:pt x="1186" y="447"/>
                    <a:pt x="1187" y="450"/>
                  </a:cubicBezTo>
                  <a:cubicBezTo>
                    <a:pt x="1188" y="454"/>
                    <a:pt x="1189" y="458"/>
                    <a:pt x="1190" y="462"/>
                  </a:cubicBezTo>
                  <a:cubicBezTo>
                    <a:pt x="1190" y="464"/>
                    <a:pt x="1191" y="466"/>
                    <a:pt x="1192" y="468"/>
                  </a:cubicBezTo>
                  <a:cubicBezTo>
                    <a:pt x="1193" y="474"/>
                    <a:pt x="1194" y="481"/>
                    <a:pt x="1196" y="487"/>
                  </a:cubicBezTo>
                  <a:cubicBezTo>
                    <a:pt x="1211" y="483"/>
                    <a:pt x="1226" y="481"/>
                    <a:pt x="1243" y="481"/>
                  </a:cubicBezTo>
                  <a:cubicBezTo>
                    <a:pt x="1246" y="481"/>
                    <a:pt x="1249" y="481"/>
                    <a:pt x="1252" y="482"/>
                  </a:cubicBezTo>
                  <a:cubicBezTo>
                    <a:pt x="1253" y="482"/>
                    <a:pt x="1254" y="482"/>
                    <a:pt x="1255" y="482"/>
                  </a:cubicBezTo>
                  <a:cubicBezTo>
                    <a:pt x="1257" y="482"/>
                    <a:pt x="1259" y="482"/>
                    <a:pt x="1262" y="482"/>
                  </a:cubicBezTo>
                  <a:cubicBezTo>
                    <a:pt x="1263" y="482"/>
                    <a:pt x="1264" y="483"/>
                    <a:pt x="1265" y="483"/>
                  </a:cubicBezTo>
                  <a:cubicBezTo>
                    <a:pt x="1267" y="483"/>
                    <a:pt x="1269" y="483"/>
                    <a:pt x="1271" y="483"/>
                  </a:cubicBezTo>
                  <a:cubicBezTo>
                    <a:pt x="1272" y="484"/>
                    <a:pt x="1273" y="484"/>
                    <a:pt x="1274" y="484"/>
                  </a:cubicBezTo>
                  <a:cubicBezTo>
                    <a:pt x="1277" y="484"/>
                    <a:pt x="1279" y="485"/>
                    <a:pt x="1282" y="485"/>
                  </a:cubicBezTo>
                  <a:cubicBezTo>
                    <a:pt x="1282" y="485"/>
                    <a:pt x="1283" y="485"/>
                    <a:pt x="1284" y="486"/>
                  </a:cubicBezTo>
                  <a:cubicBezTo>
                    <a:pt x="1287" y="486"/>
                    <a:pt x="1289" y="487"/>
                    <a:pt x="1292" y="487"/>
                  </a:cubicBezTo>
                  <a:cubicBezTo>
                    <a:pt x="1293" y="488"/>
                    <a:pt x="1294" y="488"/>
                    <a:pt x="1295" y="488"/>
                  </a:cubicBezTo>
                  <a:cubicBezTo>
                    <a:pt x="1297" y="489"/>
                    <a:pt x="1299" y="489"/>
                    <a:pt x="1300" y="490"/>
                  </a:cubicBezTo>
                  <a:cubicBezTo>
                    <a:pt x="1302" y="490"/>
                    <a:pt x="1303" y="491"/>
                    <a:pt x="1304" y="491"/>
                  </a:cubicBezTo>
                  <a:cubicBezTo>
                    <a:pt x="1306" y="492"/>
                    <a:pt x="1307" y="492"/>
                    <a:pt x="1309" y="493"/>
                  </a:cubicBezTo>
                  <a:cubicBezTo>
                    <a:pt x="1310" y="493"/>
                    <a:pt x="1312" y="494"/>
                    <a:pt x="1313" y="494"/>
                  </a:cubicBezTo>
                  <a:cubicBezTo>
                    <a:pt x="1314" y="495"/>
                    <a:pt x="1316" y="495"/>
                    <a:pt x="1317" y="496"/>
                  </a:cubicBezTo>
                  <a:cubicBezTo>
                    <a:pt x="1320" y="497"/>
                    <a:pt x="1322" y="498"/>
                    <a:pt x="1325" y="499"/>
                  </a:cubicBezTo>
                  <a:cubicBezTo>
                    <a:pt x="1326" y="500"/>
                    <a:pt x="1327" y="500"/>
                    <a:pt x="1328" y="501"/>
                  </a:cubicBezTo>
                  <a:cubicBezTo>
                    <a:pt x="1330" y="501"/>
                    <a:pt x="1331" y="502"/>
                    <a:pt x="1333" y="503"/>
                  </a:cubicBezTo>
                  <a:cubicBezTo>
                    <a:pt x="1334" y="503"/>
                    <a:pt x="1335" y="504"/>
                    <a:pt x="1336" y="505"/>
                  </a:cubicBezTo>
                  <a:cubicBezTo>
                    <a:pt x="1338" y="505"/>
                    <a:pt x="1339" y="506"/>
                    <a:pt x="1341" y="507"/>
                  </a:cubicBezTo>
                  <a:cubicBezTo>
                    <a:pt x="1342" y="508"/>
                    <a:pt x="1343" y="508"/>
                    <a:pt x="1344" y="509"/>
                  </a:cubicBezTo>
                  <a:cubicBezTo>
                    <a:pt x="1345" y="510"/>
                    <a:pt x="1347" y="510"/>
                    <a:pt x="1348" y="511"/>
                  </a:cubicBezTo>
                  <a:lnTo>
                    <a:pt x="1350" y="513"/>
                  </a:lnTo>
                  <a:cubicBezTo>
                    <a:pt x="1354" y="515"/>
                    <a:pt x="1358" y="518"/>
                    <a:pt x="1361" y="520"/>
                  </a:cubicBezTo>
                  <a:cubicBezTo>
                    <a:pt x="1411" y="557"/>
                    <a:pt x="1443" y="616"/>
                    <a:pt x="1443" y="682"/>
                  </a:cubicBezTo>
                  <a:cubicBezTo>
                    <a:pt x="1443" y="696"/>
                    <a:pt x="1442" y="709"/>
                    <a:pt x="1439" y="722"/>
                  </a:cubicBezTo>
                  <a:lnTo>
                    <a:pt x="1601" y="722"/>
                  </a:lnTo>
                  <a:cubicBezTo>
                    <a:pt x="1603" y="709"/>
                    <a:pt x="1604" y="695"/>
                    <a:pt x="1604" y="682"/>
                  </a:cubicBezTo>
                  <a:cubicBezTo>
                    <a:pt x="1604" y="506"/>
                    <a:pt x="1478" y="360"/>
                    <a:pt x="1312" y="3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5" name="Freeform 284">
              <a:extLst>
                <a:ext uri="{FF2B5EF4-FFF2-40B4-BE49-F238E27FC236}">
                  <a16:creationId xmlns:a16="http://schemas.microsoft.com/office/drawing/2014/main" id="{B0E0BE78-0E1C-474D-9FFE-76BD09E9DF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4638" y="3854450"/>
              <a:ext cx="461963" cy="58738"/>
            </a:xfrm>
            <a:custGeom>
              <a:avLst/>
              <a:gdLst>
                <a:gd name="T0" fmla="*/ 0 w 1283"/>
                <a:gd name="T1" fmla="*/ 0 h 161"/>
                <a:gd name="T2" fmla="*/ 1283 w 1283"/>
                <a:gd name="T3" fmla="*/ 0 h 161"/>
                <a:gd name="T4" fmla="*/ 1122 w 1283"/>
                <a:gd name="T5" fmla="*/ 161 h 161"/>
                <a:gd name="T6" fmla="*/ 0 w 1283"/>
                <a:gd name="T7" fmla="*/ 161 h 161"/>
                <a:gd name="T8" fmla="*/ 0 w 1283"/>
                <a:gd name="T9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3" h="161">
                  <a:moveTo>
                    <a:pt x="0" y="0"/>
                  </a:moveTo>
                  <a:lnTo>
                    <a:pt x="1283" y="0"/>
                  </a:lnTo>
                  <a:lnTo>
                    <a:pt x="1122" y="161"/>
                  </a:lnTo>
                  <a:lnTo>
                    <a:pt x="0" y="16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5" name="Group 424">
            <a:extLst>
              <a:ext uri="{FF2B5EF4-FFF2-40B4-BE49-F238E27FC236}">
                <a16:creationId xmlns:a16="http://schemas.microsoft.com/office/drawing/2014/main" id="{7849AAAC-0F3D-4C6D-A200-D0F1FA6B717E}"/>
              </a:ext>
            </a:extLst>
          </p:cNvPr>
          <p:cNvGrpSpPr/>
          <p:nvPr/>
        </p:nvGrpSpPr>
        <p:grpSpPr>
          <a:xfrm>
            <a:off x="5746750" y="4452938"/>
            <a:ext cx="577850" cy="577850"/>
            <a:chOff x="5746750" y="4452938"/>
            <a:chExt cx="577850" cy="577850"/>
          </a:xfrm>
          <a:solidFill>
            <a:schemeClr val="accent1"/>
          </a:solidFill>
        </p:grpSpPr>
        <p:sp>
          <p:nvSpPr>
            <p:cNvPr id="86" name="Freeform 285">
              <a:extLst>
                <a:ext uri="{FF2B5EF4-FFF2-40B4-BE49-F238E27FC236}">
                  <a16:creationId xmlns:a16="http://schemas.microsoft.com/office/drawing/2014/main" id="{DCB68E47-809E-41E6-9D4E-D3755F2B30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6750" y="4452938"/>
              <a:ext cx="577850" cy="577850"/>
            </a:xfrm>
            <a:custGeom>
              <a:avLst/>
              <a:gdLst>
                <a:gd name="T0" fmla="*/ 1363 w 1604"/>
                <a:gd name="T1" fmla="*/ 0 h 1603"/>
                <a:gd name="T2" fmla="*/ 241 w 1604"/>
                <a:gd name="T3" fmla="*/ 0 h 1603"/>
                <a:gd name="T4" fmla="*/ 0 w 1604"/>
                <a:gd name="T5" fmla="*/ 240 h 1603"/>
                <a:gd name="T6" fmla="*/ 0 w 1604"/>
                <a:gd name="T7" fmla="*/ 1363 h 1603"/>
                <a:gd name="T8" fmla="*/ 241 w 1604"/>
                <a:gd name="T9" fmla="*/ 1603 h 1603"/>
                <a:gd name="T10" fmla="*/ 468 w 1604"/>
                <a:gd name="T11" fmla="*/ 1603 h 1603"/>
                <a:gd name="T12" fmla="*/ 161 w 1604"/>
                <a:gd name="T13" fmla="*/ 1296 h 1603"/>
                <a:gd name="T14" fmla="*/ 161 w 1604"/>
                <a:gd name="T15" fmla="*/ 307 h 1603"/>
                <a:gd name="T16" fmla="*/ 306 w 1604"/>
                <a:gd name="T17" fmla="*/ 162 h 1603"/>
                <a:gd name="T18" fmla="*/ 1297 w 1604"/>
                <a:gd name="T19" fmla="*/ 162 h 1603"/>
                <a:gd name="T20" fmla="*/ 1443 w 1604"/>
                <a:gd name="T21" fmla="*/ 308 h 1603"/>
                <a:gd name="T22" fmla="*/ 1443 w 1604"/>
                <a:gd name="T23" fmla="*/ 1297 h 1603"/>
                <a:gd name="T24" fmla="*/ 1298 w 1604"/>
                <a:gd name="T25" fmla="*/ 1443 h 1603"/>
                <a:gd name="T26" fmla="*/ 534 w 1604"/>
                <a:gd name="T27" fmla="*/ 1443 h 1603"/>
                <a:gd name="T28" fmla="*/ 695 w 1604"/>
                <a:gd name="T29" fmla="*/ 1603 h 1603"/>
                <a:gd name="T30" fmla="*/ 1363 w 1604"/>
                <a:gd name="T31" fmla="*/ 1603 h 1603"/>
                <a:gd name="T32" fmla="*/ 1604 w 1604"/>
                <a:gd name="T33" fmla="*/ 1363 h 1603"/>
                <a:gd name="T34" fmla="*/ 1604 w 1604"/>
                <a:gd name="T35" fmla="*/ 240 h 1603"/>
                <a:gd name="T36" fmla="*/ 1363 w 1604"/>
                <a:gd name="T37" fmla="*/ 0 h 1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04" h="1603">
                  <a:moveTo>
                    <a:pt x="1363" y="0"/>
                  </a:moveTo>
                  <a:lnTo>
                    <a:pt x="241" y="0"/>
                  </a:lnTo>
                  <a:lnTo>
                    <a:pt x="0" y="240"/>
                  </a:lnTo>
                  <a:lnTo>
                    <a:pt x="0" y="1363"/>
                  </a:lnTo>
                  <a:lnTo>
                    <a:pt x="241" y="1603"/>
                  </a:lnTo>
                  <a:lnTo>
                    <a:pt x="468" y="1603"/>
                  </a:lnTo>
                  <a:lnTo>
                    <a:pt x="161" y="1296"/>
                  </a:lnTo>
                  <a:lnTo>
                    <a:pt x="161" y="307"/>
                  </a:lnTo>
                  <a:lnTo>
                    <a:pt x="306" y="162"/>
                  </a:lnTo>
                  <a:lnTo>
                    <a:pt x="1297" y="162"/>
                  </a:lnTo>
                  <a:lnTo>
                    <a:pt x="1443" y="308"/>
                  </a:lnTo>
                  <a:lnTo>
                    <a:pt x="1443" y="1297"/>
                  </a:lnTo>
                  <a:lnTo>
                    <a:pt x="1298" y="1443"/>
                  </a:lnTo>
                  <a:lnTo>
                    <a:pt x="534" y="1443"/>
                  </a:lnTo>
                  <a:lnTo>
                    <a:pt x="695" y="1603"/>
                  </a:lnTo>
                  <a:lnTo>
                    <a:pt x="1363" y="1603"/>
                  </a:lnTo>
                  <a:lnTo>
                    <a:pt x="1604" y="1363"/>
                  </a:lnTo>
                  <a:lnTo>
                    <a:pt x="1604" y="240"/>
                  </a:lnTo>
                  <a:lnTo>
                    <a:pt x="1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7" name="Freeform 286">
              <a:extLst>
                <a:ext uri="{FF2B5EF4-FFF2-40B4-BE49-F238E27FC236}">
                  <a16:creationId xmlns:a16="http://schemas.microsoft.com/office/drawing/2014/main" id="{4A29B384-FB38-4B34-BF8D-1A2039EA3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7100" y="4540250"/>
              <a:ext cx="57150" cy="230188"/>
            </a:xfrm>
            <a:custGeom>
              <a:avLst/>
              <a:gdLst>
                <a:gd name="T0" fmla="*/ 0 w 160"/>
                <a:gd name="T1" fmla="*/ 642 h 642"/>
                <a:gd name="T2" fmla="*/ 160 w 160"/>
                <a:gd name="T3" fmla="*/ 482 h 642"/>
                <a:gd name="T4" fmla="*/ 160 w 160"/>
                <a:gd name="T5" fmla="*/ 81 h 642"/>
                <a:gd name="T6" fmla="*/ 80 w 160"/>
                <a:gd name="T7" fmla="*/ 0 h 642"/>
                <a:gd name="T8" fmla="*/ 0 w 160"/>
                <a:gd name="T9" fmla="*/ 81 h 642"/>
                <a:gd name="T10" fmla="*/ 0 w 160"/>
                <a:gd name="T11" fmla="*/ 642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0" h="642">
                  <a:moveTo>
                    <a:pt x="0" y="642"/>
                  </a:moveTo>
                  <a:lnTo>
                    <a:pt x="160" y="482"/>
                  </a:lnTo>
                  <a:lnTo>
                    <a:pt x="160" y="81"/>
                  </a:lnTo>
                  <a:lnTo>
                    <a:pt x="80" y="0"/>
                  </a:lnTo>
                  <a:lnTo>
                    <a:pt x="0" y="81"/>
                  </a:lnTo>
                  <a:lnTo>
                    <a:pt x="0" y="6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8" name="Freeform 287">
              <a:extLst>
                <a:ext uri="{FF2B5EF4-FFF2-40B4-BE49-F238E27FC236}">
                  <a16:creationId xmlns:a16="http://schemas.microsoft.com/office/drawing/2014/main" id="{3D2D190E-2CE5-4156-AF54-60BBC6CBE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1213" y="4713288"/>
              <a:ext cx="115888" cy="57150"/>
            </a:xfrm>
            <a:custGeom>
              <a:avLst/>
              <a:gdLst>
                <a:gd name="T0" fmla="*/ 0 w 321"/>
                <a:gd name="T1" fmla="*/ 80 h 160"/>
                <a:gd name="T2" fmla="*/ 80 w 321"/>
                <a:gd name="T3" fmla="*/ 0 h 160"/>
                <a:gd name="T4" fmla="*/ 321 w 321"/>
                <a:gd name="T5" fmla="*/ 0 h 160"/>
                <a:gd name="T6" fmla="*/ 321 w 321"/>
                <a:gd name="T7" fmla="*/ 160 h 160"/>
                <a:gd name="T8" fmla="*/ 80 w 321"/>
                <a:gd name="T9" fmla="*/ 160 h 160"/>
                <a:gd name="T10" fmla="*/ 0 w 321"/>
                <a:gd name="T11" fmla="*/ 8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1" h="160">
                  <a:moveTo>
                    <a:pt x="0" y="80"/>
                  </a:moveTo>
                  <a:lnTo>
                    <a:pt x="80" y="0"/>
                  </a:lnTo>
                  <a:lnTo>
                    <a:pt x="321" y="0"/>
                  </a:lnTo>
                  <a:lnTo>
                    <a:pt x="321" y="160"/>
                  </a:lnTo>
                  <a:lnTo>
                    <a:pt x="80" y="160"/>
                  </a:lnTo>
                  <a:lnTo>
                    <a:pt x="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9" name="Group 438">
            <a:extLst>
              <a:ext uri="{FF2B5EF4-FFF2-40B4-BE49-F238E27FC236}">
                <a16:creationId xmlns:a16="http://schemas.microsoft.com/office/drawing/2014/main" id="{271E2E8E-E9EE-468E-908E-69BE601DEF9B}"/>
              </a:ext>
            </a:extLst>
          </p:cNvPr>
          <p:cNvGrpSpPr/>
          <p:nvPr/>
        </p:nvGrpSpPr>
        <p:grpSpPr>
          <a:xfrm>
            <a:off x="1935163" y="3436938"/>
            <a:ext cx="576263" cy="577850"/>
            <a:chOff x="1935163" y="3436938"/>
            <a:chExt cx="576263" cy="577850"/>
          </a:xfrm>
          <a:solidFill>
            <a:schemeClr val="accent1"/>
          </a:solidFill>
        </p:grpSpPr>
        <p:sp>
          <p:nvSpPr>
            <p:cNvPr id="89" name="Freeform 288">
              <a:extLst>
                <a:ext uri="{FF2B5EF4-FFF2-40B4-BE49-F238E27FC236}">
                  <a16:creationId xmlns:a16="http://schemas.microsoft.com/office/drawing/2014/main" id="{B92F7138-1569-4129-8C9F-13B27A4E9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5163" y="3436938"/>
              <a:ext cx="576263" cy="519113"/>
            </a:xfrm>
            <a:custGeom>
              <a:avLst/>
              <a:gdLst>
                <a:gd name="T0" fmla="*/ 1304 w 1603"/>
                <a:gd name="T1" fmla="*/ 721 h 1443"/>
                <a:gd name="T2" fmla="*/ 1078 w 1603"/>
                <a:gd name="T3" fmla="*/ 639 h 1443"/>
                <a:gd name="T4" fmla="*/ 1283 w 1603"/>
                <a:gd name="T5" fmla="*/ 481 h 1443"/>
                <a:gd name="T6" fmla="*/ 1283 w 1603"/>
                <a:gd name="T7" fmla="*/ 160 h 1443"/>
                <a:gd name="T8" fmla="*/ 1128 w 1603"/>
                <a:gd name="T9" fmla="*/ 362 h 1443"/>
                <a:gd name="T10" fmla="*/ 882 w 1603"/>
                <a:gd name="T11" fmla="*/ 491 h 1443"/>
                <a:gd name="T12" fmla="*/ 962 w 1603"/>
                <a:gd name="T13" fmla="*/ 160 h 1443"/>
                <a:gd name="T14" fmla="*/ 641 w 1603"/>
                <a:gd name="T15" fmla="*/ 160 h 1443"/>
                <a:gd name="T16" fmla="*/ 722 w 1603"/>
                <a:gd name="T17" fmla="*/ 491 h 1443"/>
                <a:gd name="T18" fmla="*/ 479 w 1603"/>
                <a:gd name="T19" fmla="*/ 346 h 1443"/>
                <a:gd name="T20" fmla="*/ 321 w 1603"/>
                <a:gd name="T21" fmla="*/ 160 h 1443"/>
                <a:gd name="T22" fmla="*/ 321 w 1603"/>
                <a:gd name="T23" fmla="*/ 481 h 1443"/>
                <a:gd name="T24" fmla="*/ 533 w 1603"/>
                <a:gd name="T25" fmla="*/ 627 h 1443"/>
                <a:gd name="T26" fmla="*/ 299 w 1603"/>
                <a:gd name="T27" fmla="*/ 721 h 1443"/>
                <a:gd name="T28" fmla="*/ 0 w 1603"/>
                <a:gd name="T29" fmla="*/ 801 h 1443"/>
                <a:gd name="T30" fmla="*/ 299 w 1603"/>
                <a:gd name="T31" fmla="*/ 882 h 1443"/>
                <a:gd name="T32" fmla="*/ 525 w 1603"/>
                <a:gd name="T33" fmla="*/ 964 h 1443"/>
                <a:gd name="T34" fmla="*/ 321 w 1603"/>
                <a:gd name="T35" fmla="*/ 1122 h 1443"/>
                <a:gd name="T36" fmla="*/ 321 w 1603"/>
                <a:gd name="T37" fmla="*/ 1443 h 1443"/>
                <a:gd name="T38" fmla="*/ 476 w 1603"/>
                <a:gd name="T39" fmla="*/ 1241 h 1443"/>
                <a:gd name="T40" fmla="*/ 802 w 1603"/>
                <a:gd name="T41" fmla="*/ 1122 h 1443"/>
                <a:gd name="T42" fmla="*/ 882 w 1603"/>
                <a:gd name="T43" fmla="*/ 1112 h 1443"/>
                <a:gd name="T44" fmla="*/ 728 w 1603"/>
                <a:gd name="T45" fmla="*/ 947 h 1443"/>
                <a:gd name="T46" fmla="*/ 714 w 1603"/>
                <a:gd name="T47" fmla="*/ 935 h 1443"/>
                <a:gd name="T48" fmla="*/ 706 w 1603"/>
                <a:gd name="T49" fmla="*/ 930 h 1443"/>
                <a:gd name="T50" fmla="*/ 697 w 1603"/>
                <a:gd name="T51" fmla="*/ 923 h 1443"/>
                <a:gd name="T52" fmla="*/ 689 w 1603"/>
                <a:gd name="T53" fmla="*/ 916 h 1443"/>
                <a:gd name="T54" fmla="*/ 683 w 1603"/>
                <a:gd name="T55" fmla="*/ 909 h 1443"/>
                <a:gd name="T56" fmla="*/ 676 w 1603"/>
                <a:gd name="T57" fmla="*/ 901 h 1443"/>
                <a:gd name="T58" fmla="*/ 670 w 1603"/>
                <a:gd name="T59" fmla="*/ 892 h 1443"/>
                <a:gd name="T60" fmla="*/ 665 w 1603"/>
                <a:gd name="T61" fmla="*/ 884 h 1443"/>
                <a:gd name="T62" fmla="*/ 660 w 1603"/>
                <a:gd name="T63" fmla="*/ 876 h 1443"/>
                <a:gd name="T64" fmla="*/ 655 w 1603"/>
                <a:gd name="T65" fmla="*/ 865 h 1443"/>
                <a:gd name="T66" fmla="*/ 651 w 1603"/>
                <a:gd name="T67" fmla="*/ 856 h 1443"/>
                <a:gd name="T68" fmla="*/ 648 w 1603"/>
                <a:gd name="T69" fmla="*/ 847 h 1443"/>
                <a:gd name="T70" fmla="*/ 641 w 1603"/>
                <a:gd name="T71" fmla="*/ 801 h 1443"/>
                <a:gd name="T72" fmla="*/ 655 w 1603"/>
                <a:gd name="T73" fmla="*/ 736 h 1443"/>
                <a:gd name="T74" fmla="*/ 665 w 1603"/>
                <a:gd name="T75" fmla="*/ 717 h 1443"/>
                <a:gd name="T76" fmla="*/ 671 w 1603"/>
                <a:gd name="T77" fmla="*/ 709 h 1443"/>
                <a:gd name="T78" fmla="*/ 684 w 1603"/>
                <a:gd name="T79" fmla="*/ 692 h 1443"/>
                <a:gd name="T80" fmla="*/ 691 w 1603"/>
                <a:gd name="T81" fmla="*/ 685 h 1443"/>
                <a:gd name="T82" fmla="*/ 708 w 1603"/>
                <a:gd name="T83" fmla="*/ 672 h 1443"/>
                <a:gd name="T84" fmla="*/ 716 w 1603"/>
                <a:gd name="T85" fmla="*/ 666 h 1443"/>
                <a:gd name="T86" fmla="*/ 735 w 1603"/>
                <a:gd name="T87" fmla="*/ 656 h 1443"/>
                <a:gd name="T88" fmla="*/ 745 w 1603"/>
                <a:gd name="T89" fmla="*/ 652 h 1443"/>
                <a:gd name="T90" fmla="*/ 755 w 1603"/>
                <a:gd name="T91" fmla="*/ 648 h 1443"/>
                <a:gd name="T92" fmla="*/ 765 w 1603"/>
                <a:gd name="T93" fmla="*/ 645 h 1443"/>
                <a:gd name="T94" fmla="*/ 776 w 1603"/>
                <a:gd name="T95" fmla="*/ 643 h 1443"/>
                <a:gd name="T96" fmla="*/ 843 w 1603"/>
                <a:gd name="T97" fmla="*/ 647 h 1443"/>
                <a:gd name="T98" fmla="*/ 854 w 1603"/>
                <a:gd name="T99" fmla="*/ 650 h 1443"/>
                <a:gd name="T100" fmla="*/ 873 w 1603"/>
                <a:gd name="T101" fmla="*/ 658 h 1443"/>
                <a:gd name="T102" fmla="*/ 883 w 1603"/>
                <a:gd name="T103" fmla="*/ 663 h 1443"/>
                <a:gd name="T104" fmla="*/ 900 w 1603"/>
                <a:gd name="T105" fmla="*/ 675 h 1443"/>
                <a:gd name="T106" fmla="*/ 908 w 1603"/>
                <a:gd name="T107" fmla="*/ 681 h 1443"/>
                <a:gd name="T108" fmla="*/ 923 w 1603"/>
                <a:gd name="T109" fmla="*/ 696 h 1443"/>
                <a:gd name="T110" fmla="*/ 929 w 1603"/>
                <a:gd name="T111" fmla="*/ 704 h 1443"/>
                <a:gd name="T112" fmla="*/ 941 w 1603"/>
                <a:gd name="T113" fmla="*/ 722 h 1443"/>
                <a:gd name="T114" fmla="*/ 945 w 1603"/>
                <a:gd name="T115" fmla="*/ 730 h 1443"/>
                <a:gd name="T116" fmla="*/ 954 w 1603"/>
                <a:gd name="T117" fmla="*/ 750 h 1443"/>
                <a:gd name="T118" fmla="*/ 962 w 1603"/>
                <a:gd name="T119" fmla="*/ 801 h 1443"/>
                <a:gd name="T120" fmla="*/ 976 w 1603"/>
                <a:gd name="T121" fmla="*/ 1070 h 1443"/>
                <a:gd name="T122" fmla="*/ 1304 w 1603"/>
                <a:gd name="T123" fmla="*/ 882 h 1443"/>
                <a:gd name="T124" fmla="*/ 1603 w 1603"/>
                <a:gd name="T125" fmla="*/ 801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3" h="1443">
                  <a:moveTo>
                    <a:pt x="1443" y="641"/>
                  </a:moveTo>
                  <a:cubicBezTo>
                    <a:pt x="1384" y="641"/>
                    <a:pt x="1332" y="673"/>
                    <a:pt x="1304" y="721"/>
                  </a:cubicBezTo>
                  <a:lnTo>
                    <a:pt x="1112" y="721"/>
                  </a:lnTo>
                  <a:cubicBezTo>
                    <a:pt x="1105" y="692"/>
                    <a:pt x="1093" y="664"/>
                    <a:pt x="1078" y="639"/>
                  </a:cubicBezTo>
                  <a:lnTo>
                    <a:pt x="1241" y="475"/>
                  </a:lnTo>
                  <a:cubicBezTo>
                    <a:pt x="1255" y="479"/>
                    <a:pt x="1268" y="481"/>
                    <a:pt x="1283" y="481"/>
                  </a:cubicBezTo>
                  <a:cubicBezTo>
                    <a:pt x="1371" y="481"/>
                    <a:pt x="1443" y="409"/>
                    <a:pt x="1443" y="320"/>
                  </a:cubicBezTo>
                  <a:cubicBezTo>
                    <a:pt x="1443" y="232"/>
                    <a:pt x="1371" y="160"/>
                    <a:pt x="1283" y="160"/>
                  </a:cubicBezTo>
                  <a:cubicBezTo>
                    <a:pt x="1194" y="160"/>
                    <a:pt x="1122" y="232"/>
                    <a:pt x="1122" y="320"/>
                  </a:cubicBezTo>
                  <a:cubicBezTo>
                    <a:pt x="1122" y="335"/>
                    <a:pt x="1124" y="349"/>
                    <a:pt x="1128" y="362"/>
                  </a:cubicBezTo>
                  <a:lnTo>
                    <a:pt x="965" y="525"/>
                  </a:lnTo>
                  <a:cubicBezTo>
                    <a:pt x="939" y="510"/>
                    <a:pt x="911" y="498"/>
                    <a:pt x="882" y="491"/>
                  </a:cubicBezTo>
                  <a:lnTo>
                    <a:pt x="882" y="299"/>
                  </a:lnTo>
                  <a:cubicBezTo>
                    <a:pt x="930" y="271"/>
                    <a:pt x="962" y="219"/>
                    <a:pt x="962" y="160"/>
                  </a:cubicBezTo>
                  <a:cubicBezTo>
                    <a:pt x="962" y="72"/>
                    <a:pt x="890" y="0"/>
                    <a:pt x="802" y="0"/>
                  </a:cubicBezTo>
                  <a:cubicBezTo>
                    <a:pt x="713" y="0"/>
                    <a:pt x="641" y="72"/>
                    <a:pt x="641" y="160"/>
                  </a:cubicBezTo>
                  <a:cubicBezTo>
                    <a:pt x="641" y="219"/>
                    <a:pt x="674" y="271"/>
                    <a:pt x="722" y="299"/>
                  </a:cubicBezTo>
                  <a:lnTo>
                    <a:pt x="722" y="491"/>
                  </a:lnTo>
                  <a:cubicBezTo>
                    <a:pt x="697" y="497"/>
                    <a:pt x="673" y="507"/>
                    <a:pt x="651" y="518"/>
                  </a:cubicBezTo>
                  <a:lnTo>
                    <a:pt x="479" y="346"/>
                  </a:lnTo>
                  <a:cubicBezTo>
                    <a:pt x="480" y="338"/>
                    <a:pt x="481" y="329"/>
                    <a:pt x="481" y="320"/>
                  </a:cubicBezTo>
                  <a:cubicBezTo>
                    <a:pt x="481" y="232"/>
                    <a:pt x="409" y="160"/>
                    <a:pt x="321" y="160"/>
                  </a:cubicBezTo>
                  <a:cubicBezTo>
                    <a:pt x="232" y="160"/>
                    <a:pt x="160" y="232"/>
                    <a:pt x="160" y="320"/>
                  </a:cubicBezTo>
                  <a:cubicBezTo>
                    <a:pt x="160" y="409"/>
                    <a:pt x="232" y="481"/>
                    <a:pt x="321" y="481"/>
                  </a:cubicBezTo>
                  <a:cubicBezTo>
                    <a:pt x="340" y="481"/>
                    <a:pt x="359" y="477"/>
                    <a:pt x="377" y="471"/>
                  </a:cubicBezTo>
                  <a:lnTo>
                    <a:pt x="533" y="627"/>
                  </a:lnTo>
                  <a:cubicBezTo>
                    <a:pt x="514" y="655"/>
                    <a:pt x="500" y="687"/>
                    <a:pt x="491" y="721"/>
                  </a:cubicBezTo>
                  <a:lnTo>
                    <a:pt x="299" y="721"/>
                  </a:lnTo>
                  <a:cubicBezTo>
                    <a:pt x="271" y="673"/>
                    <a:pt x="220" y="641"/>
                    <a:pt x="160" y="641"/>
                  </a:cubicBezTo>
                  <a:cubicBezTo>
                    <a:pt x="72" y="641"/>
                    <a:pt x="0" y="713"/>
                    <a:pt x="0" y="801"/>
                  </a:cubicBezTo>
                  <a:cubicBezTo>
                    <a:pt x="0" y="890"/>
                    <a:pt x="72" y="962"/>
                    <a:pt x="160" y="962"/>
                  </a:cubicBezTo>
                  <a:cubicBezTo>
                    <a:pt x="220" y="962"/>
                    <a:pt x="271" y="930"/>
                    <a:pt x="299" y="882"/>
                  </a:cubicBezTo>
                  <a:lnTo>
                    <a:pt x="491" y="882"/>
                  </a:lnTo>
                  <a:cubicBezTo>
                    <a:pt x="499" y="911"/>
                    <a:pt x="510" y="939"/>
                    <a:pt x="525" y="964"/>
                  </a:cubicBezTo>
                  <a:lnTo>
                    <a:pt x="362" y="1128"/>
                  </a:lnTo>
                  <a:cubicBezTo>
                    <a:pt x="349" y="1124"/>
                    <a:pt x="335" y="1122"/>
                    <a:pt x="321" y="1122"/>
                  </a:cubicBezTo>
                  <a:cubicBezTo>
                    <a:pt x="232" y="1122"/>
                    <a:pt x="160" y="1194"/>
                    <a:pt x="160" y="1283"/>
                  </a:cubicBezTo>
                  <a:cubicBezTo>
                    <a:pt x="160" y="1371"/>
                    <a:pt x="232" y="1443"/>
                    <a:pt x="321" y="1443"/>
                  </a:cubicBezTo>
                  <a:cubicBezTo>
                    <a:pt x="409" y="1443"/>
                    <a:pt x="481" y="1371"/>
                    <a:pt x="481" y="1283"/>
                  </a:cubicBezTo>
                  <a:cubicBezTo>
                    <a:pt x="481" y="1268"/>
                    <a:pt x="479" y="1254"/>
                    <a:pt x="476" y="1241"/>
                  </a:cubicBezTo>
                  <a:lnTo>
                    <a:pt x="639" y="1078"/>
                  </a:lnTo>
                  <a:cubicBezTo>
                    <a:pt x="687" y="1106"/>
                    <a:pt x="742" y="1122"/>
                    <a:pt x="802" y="1122"/>
                  </a:cubicBezTo>
                  <a:cubicBezTo>
                    <a:pt x="830" y="1122"/>
                    <a:pt x="857" y="1119"/>
                    <a:pt x="882" y="1112"/>
                  </a:cubicBezTo>
                  <a:lnTo>
                    <a:pt x="882" y="1112"/>
                  </a:lnTo>
                  <a:lnTo>
                    <a:pt x="748" y="969"/>
                  </a:lnTo>
                  <a:lnTo>
                    <a:pt x="728" y="947"/>
                  </a:lnTo>
                  <a:lnTo>
                    <a:pt x="722" y="940"/>
                  </a:lnTo>
                  <a:cubicBezTo>
                    <a:pt x="719" y="939"/>
                    <a:pt x="716" y="937"/>
                    <a:pt x="714" y="935"/>
                  </a:cubicBezTo>
                  <a:cubicBezTo>
                    <a:pt x="713" y="935"/>
                    <a:pt x="712" y="934"/>
                    <a:pt x="712" y="934"/>
                  </a:cubicBezTo>
                  <a:cubicBezTo>
                    <a:pt x="710" y="933"/>
                    <a:pt x="708" y="931"/>
                    <a:pt x="706" y="930"/>
                  </a:cubicBezTo>
                  <a:cubicBezTo>
                    <a:pt x="705" y="929"/>
                    <a:pt x="704" y="929"/>
                    <a:pt x="704" y="928"/>
                  </a:cubicBezTo>
                  <a:cubicBezTo>
                    <a:pt x="701" y="926"/>
                    <a:pt x="699" y="925"/>
                    <a:pt x="697" y="923"/>
                  </a:cubicBezTo>
                  <a:cubicBezTo>
                    <a:pt x="697" y="922"/>
                    <a:pt x="696" y="922"/>
                    <a:pt x="696" y="922"/>
                  </a:cubicBezTo>
                  <a:cubicBezTo>
                    <a:pt x="694" y="920"/>
                    <a:pt x="692" y="918"/>
                    <a:pt x="689" y="916"/>
                  </a:cubicBezTo>
                  <a:cubicBezTo>
                    <a:pt x="689" y="915"/>
                    <a:pt x="688" y="915"/>
                    <a:pt x="688" y="914"/>
                  </a:cubicBezTo>
                  <a:cubicBezTo>
                    <a:pt x="686" y="912"/>
                    <a:pt x="684" y="911"/>
                    <a:pt x="683" y="909"/>
                  </a:cubicBezTo>
                  <a:cubicBezTo>
                    <a:pt x="682" y="908"/>
                    <a:pt x="682" y="908"/>
                    <a:pt x="681" y="907"/>
                  </a:cubicBezTo>
                  <a:cubicBezTo>
                    <a:pt x="679" y="905"/>
                    <a:pt x="678" y="903"/>
                    <a:pt x="676" y="901"/>
                  </a:cubicBezTo>
                  <a:cubicBezTo>
                    <a:pt x="676" y="901"/>
                    <a:pt x="675" y="900"/>
                    <a:pt x="675" y="900"/>
                  </a:cubicBezTo>
                  <a:cubicBezTo>
                    <a:pt x="673" y="897"/>
                    <a:pt x="671" y="895"/>
                    <a:pt x="670" y="892"/>
                  </a:cubicBezTo>
                  <a:cubicBezTo>
                    <a:pt x="669" y="891"/>
                    <a:pt x="668" y="891"/>
                    <a:pt x="668" y="890"/>
                  </a:cubicBezTo>
                  <a:cubicBezTo>
                    <a:pt x="667" y="888"/>
                    <a:pt x="666" y="886"/>
                    <a:pt x="665" y="884"/>
                  </a:cubicBezTo>
                  <a:cubicBezTo>
                    <a:pt x="664" y="883"/>
                    <a:pt x="663" y="882"/>
                    <a:pt x="663" y="881"/>
                  </a:cubicBezTo>
                  <a:cubicBezTo>
                    <a:pt x="662" y="880"/>
                    <a:pt x="661" y="878"/>
                    <a:pt x="660" y="876"/>
                  </a:cubicBezTo>
                  <a:cubicBezTo>
                    <a:pt x="659" y="875"/>
                    <a:pt x="659" y="874"/>
                    <a:pt x="658" y="873"/>
                  </a:cubicBezTo>
                  <a:cubicBezTo>
                    <a:pt x="657" y="870"/>
                    <a:pt x="656" y="868"/>
                    <a:pt x="655" y="865"/>
                  </a:cubicBezTo>
                  <a:cubicBezTo>
                    <a:pt x="654" y="864"/>
                    <a:pt x="654" y="863"/>
                    <a:pt x="653" y="862"/>
                  </a:cubicBezTo>
                  <a:cubicBezTo>
                    <a:pt x="652" y="860"/>
                    <a:pt x="652" y="858"/>
                    <a:pt x="651" y="856"/>
                  </a:cubicBezTo>
                  <a:cubicBezTo>
                    <a:pt x="651" y="855"/>
                    <a:pt x="650" y="854"/>
                    <a:pt x="650" y="852"/>
                  </a:cubicBezTo>
                  <a:cubicBezTo>
                    <a:pt x="649" y="851"/>
                    <a:pt x="649" y="849"/>
                    <a:pt x="648" y="847"/>
                  </a:cubicBezTo>
                  <a:cubicBezTo>
                    <a:pt x="648" y="846"/>
                    <a:pt x="647" y="845"/>
                    <a:pt x="647" y="843"/>
                  </a:cubicBezTo>
                  <a:cubicBezTo>
                    <a:pt x="643" y="830"/>
                    <a:pt x="641" y="816"/>
                    <a:pt x="641" y="801"/>
                  </a:cubicBezTo>
                  <a:cubicBezTo>
                    <a:pt x="641" y="782"/>
                    <a:pt x="645" y="763"/>
                    <a:pt x="652" y="745"/>
                  </a:cubicBezTo>
                  <a:cubicBezTo>
                    <a:pt x="653" y="742"/>
                    <a:pt x="654" y="739"/>
                    <a:pt x="655" y="736"/>
                  </a:cubicBezTo>
                  <a:cubicBezTo>
                    <a:pt x="656" y="736"/>
                    <a:pt x="656" y="735"/>
                    <a:pt x="656" y="735"/>
                  </a:cubicBezTo>
                  <a:cubicBezTo>
                    <a:pt x="659" y="729"/>
                    <a:pt x="662" y="723"/>
                    <a:pt x="665" y="717"/>
                  </a:cubicBezTo>
                  <a:cubicBezTo>
                    <a:pt x="666" y="717"/>
                    <a:pt x="666" y="717"/>
                    <a:pt x="666" y="717"/>
                  </a:cubicBezTo>
                  <a:cubicBezTo>
                    <a:pt x="667" y="714"/>
                    <a:pt x="669" y="711"/>
                    <a:pt x="671" y="709"/>
                  </a:cubicBezTo>
                  <a:cubicBezTo>
                    <a:pt x="671" y="708"/>
                    <a:pt x="671" y="708"/>
                    <a:pt x="672" y="708"/>
                  </a:cubicBezTo>
                  <a:cubicBezTo>
                    <a:pt x="676" y="702"/>
                    <a:pt x="680" y="697"/>
                    <a:pt x="684" y="692"/>
                  </a:cubicBezTo>
                  <a:cubicBezTo>
                    <a:pt x="685" y="692"/>
                    <a:pt x="685" y="692"/>
                    <a:pt x="685" y="692"/>
                  </a:cubicBezTo>
                  <a:cubicBezTo>
                    <a:pt x="687" y="689"/>
                    <a:pt x="689" y="687"/>
                    <a:pt x="691" y="685"/>
                  </a:cubicBezTo>
                  <a:cubicBezTo>
                    <a:pt x="692" y="685"/>
                    <a:pt x="692" y="685"/>
                    <a:pt x="692" y="684"/>
                  </a:cubicBezTo>
                  <a:cubicBezTo>
                    <a:pt x="697" y="680"/>
                    <a:pt x="702" y="676"/>
                    <a:pt x="708" y="672"/>
                  </a:cubicBezTo>
                  <a:cubicBezTo>
                    <a:pt x="708" y="671"/>
                    <a:pt x="708" y="671"/>
                    <a:pt x="709" y="671"/>
                  </a:cubicBezTo>
                  <a:cubicBezTo>
                    <a:pt x="711" y="669"/>
                    <a:pt x="714" y="667"/>
                    <a:pt x="716" y="666"/>
                  </a:cubicBezTo>
                  <a:cubicBezTo>
                    <a:pt x="717" y="666"/>
                    <a:pt x="717" y="665"/>
                    <a:pt x="717" y="665"/>
                  </a:cubicBezTo>
                  <a:cubicBezTo>
                    <a:pt x="723" y="662"/>
                    <a:pt x="729" y="659"/>
                    <a:pt x="735" y="656"/>
                  </a:cubicBezTo>
                  <a:cubicBezTo>
                    <a:pt x="735" y="656"/>
                    <a:pt x="736" y="655"/>
                    <a:pt x="736" y="655"/>
                  </a:cubicBezTo>
                  <a:cubicBezTo>
                    <a:pt x="739" y="654"/>
                    <a:pt x="742" y="653"/>
                    <a:pt x="745" y="652"/>
                  </a:cubicBezTo>
                  <a:cubicBezTo>
                    <a:pt x="745" y="652"/>
                    <a:pt x="745" y="651"/>
                    <a:pt x="745" y="651"/>
                  </a:cubicBezTo>
                  <a:cubicBezTo>
                    <a:pt x="749" y="650"/>
                    <a:pt x="752" y="649"/>
                    <a:pt x="755" y="648"/>
                  </a:cubicBezTo>
                  <a:cubicBezTo>
                    <a:pt x="755" y="648"/>
                    <a:pt x="755" y="648"/>
                    <a:pt x="755" y="648"/>
                  </a:cubicBezTo>
                  <a:cubicBezTo>
                    <a:pt x="758" y="647"/>
                    <a:pt x="762" y="646"/>
                    <a:pt x="765" y="645"/>
                  </a:cubicBezTo>
                  <a:cubicBezTo>
                    <a:pt x="765" y="645"/>
                    <a:pt x="766" y="645"/>
                    <a:pt x="766" y="645"/>
                  </a:cubicBezTo>
                  <a:cubicBezTo>
                    <a:pt x="770" y="644"/>
                    <a:pt x="773" y="644"/>
                    <a:pt x="776" y="643"/>
                  </a:cubicBezTo>
                  <a:cubicBezTo>
                    <a:pt x="785" y="642"/>
                    <a:pt x="793" y="641"/>
                    <a:pt x="802" y="641"/>
                  </a:cubicBezTo>
                  <a:cubicBezTo>
                    <a:pt x="816" y="641"/>
                    <a:pt x="830" y="643"/>
                    <a:pt x="843" y="647"/>
                  </a:cubicBezTo>
                  <a:cubicBezTo>
                    <a:pt x="847" y="647"/>
                    <a:pt x="850" y="648"/>
                    <a:pt x="853" y="650"/>
                  </a:cubicBezTo>
                  <a:cubicBezTo>
                    <a:pt x="853" y="650"/>
                    <a:pt x="854" y="650"/>
                    <a:pt x="854" y="650"/>
                  </a:cubicBezTo>
                  <a:cubicBezTo>
                    <a:pt x="860" y="652"/>
                    <a:pt x="867" y="655"/>
                    <a:pt x="873" y="658"/>
                  </a:cubicBezTo>
                  <a:cubicBezTo>
                    <a:pt x="873" y="658"/>
                    <a:pt x="873" y="658"/>
                    <a:pt x="873" y="658"/>
                  </a:cubicBezTo>
                  <a:cubicBezTo>
                    <a:pt x="876" y="659"/>
                    <a:pt x="879" y="661"/>
                    <a:pt x="882" y="662"/>
                  </a:cubicBezTo>
                  <a:cubicBezTo>
                    <a:pt x="882" y="663"/>
                    <a:pt x="882" y="663"/>
                    <a:pt x="883" y="663"/>
                  </a:cubicBezTo>
                  <a:cubicBezTo>
                    <a:pt x="888" y="666"/>
                    <a:pt x="894" y="670"/>
                    <a:pt x="899" y="674"/>
                  </a:cubicBezTo>
                  <a:cubicBezTo>
                    <a:pt x="899" y="674"/>
                    <a:pt x="900" y="675"/>
                    <a:pt x="900" y="675"/>
                  </a:cubicBezTo>
                  <a:cubicBezTo>
                    <a:pt x="902" y="677"/>
                    <a:pt x="905" y="679"/>
                    <a:pt x="907" y="681"/>
                  </a:cubicBezTo>
                  <a:cubicBezTo>
                    <a:pt x="907" y="681"/>
                    <a:pt x="908" y="681"/>
                    <a:pt x="908" y="681"/>
                  </a:cubicBezTo>
                  <a:cubicBezTo>
                    <a:pt x="913" y="686"/>
                    <a:pt x="918" y="690"/>
                    <a:pt x="922" y="695"/>
                  </a:cubicBezTo>
                  <a:cubicBezTo>
                    <a:pt x="922" y="696"/>
                    <a:pt x="922" y="696"/>
                    <a:pt x="923" y="696"/>
                  </a:cubicBezTo>
                  <a:cubicBezTo>
                    <a:pt x="925" y="698"/>
                    <a:pt x="927" y="701"/>
                    <a:pt x="929" y="703"/>
                  </a:cubicBezTo>
                  <a:cubicBezTo>
                    <a:pt x="929" y="704"/>
                    <a:pt x="929" y="704"/>
                    <a:pt x="929" y="704"/>
                  </a:cubicBezTo>
                  <a:cubicBezTo>
                    <a:pt x="933" y="709"/>
                    <a:pt x="937" y="715"/>
                    <a:pt x="940" y="721"/>
                  </a:cubicBezTo>
                  <a:cubicBezTo>
                    <a:pt x="940" y="721"/>
                    <a:pt x="941" y="721"/>
                    <a:pt x="941" y="722"/>
                  </a:cubicBezTo>
                  <a:cubicBezTo>
                    <a:pt x="942" y="724"/>
                    <a:pt x="944" y="727"/>
                    <a:pt x="945" y="730"/>
                  </a:cubicBezTo>
                  <a:cubicBezTo>
                    <a:pt x="945" y="730"/>
                    <a:pt x="945" y="730"/>
                    <a:pt x="945" y="730"/>
                  </a:cubicBezTo>
                  <a:cubicBezTo>
                    <a:pt x="948" y="736"/>
                    <a:pt x="951" y="743"/>
                    <a:pt x="953" y="749"/>
                  </a:cubicBezTo>
                  <a:cubicBezTo>
                    <a:pt x="954" y="750"/>
                    <a:pt x="954" y="750"/>
                    <a:pt x="954" y="750"/>
                  </a:cubicBezTo>
                  <a:cubicBezTo>
                    <a:pt x="955" y="753"/>
                    <a:pt x="956" y="757"/>
                    <a:pt x="957" y="760"/>
                  </a:cubicBezTo>
                  <a:cubicBezTo>
                    <a:pt x="960" y="773"/>
                    <a:pt x="962" y="787"/>
                    <a:pt x="962" y="801"/>
                  </a:cubicBezTo>
                  <a:cubicBezTo>
                    <a:pt x="962" y="810"/>
                    <a:pt x="961" y="818"/>
                    <a:pt x="960" y="827"/>
                  </a:cubicBezTo>
                  <a:lnTo>
                    <a:pt x="976" y="1070"/>
                  </a:lnTo>
                  <a:cubicBezTo>
                    <a:pt x="1043" y="1027"/>
                    <a:pt x="1092" y="960"/>
                    <a:pt x="1112" y="882"/>
                  </a:cubicBezTo>
                  <a:lnTo>
                    <a:pt x="1304" y="882"/>
                  </a:lnTo>
                  <a:cubicBezTo>
                    <a:pt x="1332" y="930"/>
                    <a:pt x="1384" y="962"/>
                    <a:pt x="1443" y="962"/>
                  </a:cubicBezTo>
                  <a:cubicBezTo>
                    <a:pt x="1532" y="962"/>
                    <a:pt x="1603" y="890"/>
                    <a:pt x="1603" y="801"/>
                  </a:cubicBezTo>
                  <a:cubicBezTo>
                    <a:pt x="1603" y="713"/>
                    <a:pt x="1532" y="641"/>
                    <a:pt x="1443" y="6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0" name="Freeform 289">
              <a:extLst>
                <a:ext uri="{FF2B5EF4-FFF2-40B4-BE49-F238E27FC236}">
                  <a16:creationId xmlns:a16="http://schemas.microsoft.com/office/drawing/2014/main" id="{7596EEEF-C1B4-407C-BAA0-EA23DE8BE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9650" y="3733800"/>
              <a:ext cx="174625" cy="222250"/>
            </a:xfrm>
            <a:custGeom>
              <a:avLst/>
              <a:gdLst>
                <a:gd name="T0" fmla="*/ 323 w 483"/>
                <a:gd name="T1" fmla="*/ 295 h 616"/>
                <a:gd name="T2" fmla="*/ 297 w 483"/>
                <a:gd name="T3" fmla="*/ 297 h 616"/>
                <a:gd name="T4" fmla="*/ 0 w 483"/>
                <a:gd name="T5" fmla="*/ 0 h 616"/>
                <a:gd name="T6" fmla="*/ 16 w 483"/>
                <a:gd name="T7" fmla="*/ 243 h 616"/>
                <a:gd name="T8" fmla="*/ 173 w 483"/>
                <a:gd name="T9" fmla="*/ 399 h 616"/>
                <a:gd name="T10" fmla="*/ 162 w 483"/>
                <a:gd name="T11" fmla="*/ 456 h 616"/>
                <a:gd name="T12" fmla="*/ 323 w 483"/>
                <a:gd name="T13" fmla="*/ 616 h 616"/>
                <a:gd name="T14" fmla="*/ 483 w 483"/>
                <a:gd name="T15" fmla="*/ 456 h 616"/>
                <a:gd name="T16" fmla="*/ 323 w 483"/>
                <a:gd name="T17" fmla="*/ 295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3" h="616">
                  <a:moveTo>
                    <a:pt x="323" y="295"/>
                  </a:moveTo>
                  <a:cubicBezTo>
                    <a:pt x="314" y="295"/>
                    <a:pt x="306" y="296"/>
                    <a:pt x="297" y="297"/>
                  </a:cubicBezTo>
                  <a:lnTo>
                    <a:pt x="0" y="0"/>
                  </a:lnTo>
                  <a:lnTo>
                    <a:pt x="16" y="243"/>
                  </a:lnTo>
                  <a:lnTo>
                    <a:pt x="173" y="399"/>
                  </a:lnTo>
                  <a:cubicBezTo>
                    <a:pt x="166" y="417"/>
                    <a:pt x="162" y="436"/>
                    <a:pt x="162" y="456"/>
                  </a:cubicBezTo>
                  <a:cubicBezTo>
                    <a:pt x="162" y="544"/>
                    <a:pt x="234" y="616"/>
                    <a:pt x="323" y="616"/>
                  </a:cubicBezTo>
                  <a:cubicBezTo>
                    <a:pt x="411" y="616"/>
                    <a:pt x="483" y="544"/>
                    <a:pt x="483" y="456"/>
                  </a:cubicBezTo>
                  <a:cubicBezTo>
                    <a:pt x="483" y="367"/>
                    <a:pt x="411" y="295"/>
                    <a:pt x="323" y="2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1" name="Freeform 290">
              <a:extLst>
                <a:ext uri="{FF2B5EF4-FFF2-40B4-BE49-F238E27FC236}">
                  <a16:creationId xmlns:a16="http://schemas.microsoft.com/office/drawing/2014/main" id="{D0439C80-A1CC-473B-90FE-E7242CAE6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5350" y="3783013"/>
              <a:ext cx="115888" cy="231775"/>
            </a:xfrm>
            <a:custGeom>
              <a:avLst/>
              <a:gdLst>
                <a:gd name="T0" fmla="*/ 241 w 321"/>
                <a:gd name="T1" fmla="*/ 342 h 641"/>
                <a:gd name="T2" fmla="*/ 241 w 321"/>
                <a:gd name="T3" fmla="*/ 150 h 641"/>
                <a:gd name="T4" fmla="*/ 101 w 321"/>
                <a:gd name="T5" fmla="*/ 0 h 641"/>
                <a:gd name="T6" fmla="*/ 81 w 321"/>
                <a:gd name="T7" fmla="*/ 0 h 641"/>
                <a:gd name="T8" fmla="*/ 81 w 321"/>
                <a:gd name="T9" fmla="*/ 342 h 641"/>
                <a:gd name="T10" fmla="*/ 0 w 321"/>
                <a:gd name="T11" fmla="*/ 481 h 641"/>
                <a:gd name="T12" fmla="*/ 161 w 321"/>
                <a:gd name="T13" fmla="*/ 641 h 641"/>
                <a:gd name="T14" fmla="*/ 321 w 321"/>
                <a:gd name="T15" fmla="*/ 481 h 641"/>
                <a:gd name="T16" fmla="*/ 241 w 321"/>
                <a:gd name="T17" fmla="*/ 342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1" h="641">
                  <a:moveTo>
                    <a:pt x="241" y="342"/>
                  </a:moveTo>
                  <a:lnTo>
                    <a:pt x="241" y="150"/>
                  </a:lnTo>
                  <a:lnTo>
                    <a:pt x="101" y="0"/>
                  </a:lnTo>
                  <a:lnTo>
                    <a:pt x="81" y="0"/>
                  </a:lnTo>
                  <a:lnTo>
                    <a:pt x="81" y="342"/>
                  </a:lnTo>
                  <a:cubicBezTo>
                    <a:pt x="33" y="370"/>
                    <a:pt x="0" y="422"/>
                    <a:pt x="0" y="481"/>
                  </a:cubicBezTo>
                  <a:cubicBezTo>
                    <a:pt x="0" y="569"/>
                    <a:pt x="72" y="641"/>
                    <a:pt x="161" y="641"/>
                  </a:cubicBezTo>
                  <a:cubicBezTo>
                    <a:pt x="249" y="641"/>
                    <a:pt x="321" y="569"/>
                    <a:pt x="321" y="481"/>
                  </a:cubicBezTo>
                  <a:cubicBezTo>
                    <a:pt x="321" y="422"/>
                    <a:pt x="289" y="370"/>
                    <a:pt x="241" y="3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16" name="Group 415">
            <a:extLst>
              <a:ext uri="{FF2B5EF4-FFF2-40B4-BE49-F238E27FC236}">
                <a16:creationId xmlns:a16="http://schemas.microsoft.com/office/drawing/2014/main" id="{9FF408F7-2EB4-419F-9E34-6ABB63B34D0A}"/>
              </a:ext>
            </a:extLst>
          </p:cNvPr>
          <p:cNvGrpSpPr/>
          <p:nvPr/>
        </p:nvGrpSpPr>
        <p:grpSpPr>
          <a:xfrm>
            <a:off x="8062913" y="4511675"/>
            <a:ext cx="520700" cy="460376"/>
            <a:chOff x="8062913" y="4511675"/>
            <a:chExt cx="520700" cy="460376"/>
          </a:xfrm>
          <a:solidFill>
            <a:schemeClr val="accent1"/>
          </a:solidFill>
        </p:grpSpPr>
        <p:sp>
          <p:nvSpPr>
            <p:cNvPr id="92" name="Freeform 291">
              <a:extLst>
                <a:ext uri="{FF2B5EF4-FFF2-40B4-BE49-F238E27FC236}">
                  <a16:creationId xmlns:a16="http://schemas.microsoft.com/office/drawing/2014/main" id="{95565B3A-74F2-4C73-BAA0-F36E7EEBDD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4699000"/>
              <a:ext cx="85725" cy="87313"/>
            </a:xfrm>
            <a:custGeom>
              <a:avLst/>
              <a:gdLst>
                <a:gd name="T0" fmla="*/ 113 w 240"/>
                <a:gd name="T1" fmla="*/ 241 h 241"/>
                <a:gd name="T2" fmla="*/ 240 w 240"/>
                <a:gd name="T3" fmla="*/ 114 h 241"/>
                <a:gd name="T4" fmla="*/ 127 w 240"/>
                <a:gd name="T5" fmla="*/ 0 h 241"/>
                <a:gd name="T6" fmla="*/ 0 w 240"/>
                <a:gd name="T7" fmla="*/ 128 h 241"/>
                <a:gd name="T8" fmla="*/ 113 w 240"/>
                <a:gd name="T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0" h="241">
                  <a:moveTo>
                    <a:pt x="113" y="241"/>
                  </a:moveTo>
                  <a:lnTo>
                    <a:pt x="240" y="114"/>
                  </a:lnTo>
                  <a:lnTo>
                    <a:pt x="127" y="0"/>
                  </a:lnTo>
                  <a:lnTo>
                    <a:pt x="0" y="128"/>
                  </a:lnTo>
                  <a:lnTo>
                    <a:pt x="113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3" name="Freeform 292">
              <a:extLst>
                <a:ext uri="{FF2B5EF4-FFF2-40B4-BE49-F238E27FC236}">
                  <a16:creationId xmlns:a16="http://schemas.microsoft.com/office/drawing/2014/main" id="{E5E42F97-C889-4927-BB60-1FDA394D176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125" y="4560888"/>
              <a:ext cx="138113" cy="138113"/>
            </a:xfrm>
            <a:custGeom>
              <a:avLst/>
              <a:gdLst>
                <a:gd name="T0" fmla="*/ 114 w 385"/>
                <a:gd name="T1" fmla="*/ 384 h 384"/>
                <a:gd name="T2" fmla="*/ 385 w 385"/>
                <a:gd name="T3" fmla="*/ 113 h 384"/>
                <a:gd name="T4" fmla="*/ 271 w 385"/>
                <a:gd name="T5" fmla="*/ 0 h 384"/>
                <a:gd name="T6" fmla="*/ 0 w 385"/>
                <a:gd name="T7" fmla="*/ 271 h 384"/>
                <a:gd name="T8" fmla="*/ 114 w 385"/>
                <a:gd name="T9" fmla="*/ 38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5" h="384">
                  <a:moveTo>
                    <a:pt x="114" y="384"/>
                  </a:moveTo>
                  <a:lnTo>
                    <a:pt x="385" y="113"/>
                  </a:lnTo>
                  <a:lnTo>
                    <a:pt x="271" y="0"/>
                  </a:lnTo>
                  <a:lnTo>
                    <a:pt x="0" y="271"/>
                  </a:lnTo>
                  <a:lnTo>
                    <a:pt x="114" y="3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4" name="Freeform 293">
              <a:extLst>
                <a:ext uri="{FF2B5EF4-FFF2-40B4-BE49-F238E27FC236}">
                  <a16:creationId xmlns:a16="http://schemas.microsoft.com/office/drawing/2014/main" id="{C663F74A-EBAD-4108-8FD0-2B4812E1B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3875" y="4786313"/>
              <a:ext cx="136525" cy="134938"/>
            </a:xfrm>
            <a:custGeom>
              <a:avLst/>
              <a:gdLst>
                <a:gd name="T0" fmla="*/ 264 w 378"/>
                <a:gd name="T1" fmla="*/ 0 h 378"/>
                <a:gd name="T2" fmla="*/ 0 w 378"/>
                <a:gd name="T3" fmla="*/ 265 h 378"/>
                <a:gd name="T4" fmla="*/ 113 w 378"/>
                <a:gd name="T5" fmla="*/ 378 h 378"/>
                <a:gd name="T6" fmla="*/ 378 w 378"/>
                <a:gd name="T7" fmla="*/ 113 h 378"/>
                <a:gd name="T8" fmla="*/ 264 w 378"/>
                <a:gd name="T9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8" h="378">
                  <a:moveTo>
                    <a:pt x="264" y="0"/>
                  </a:moveTo>
                  <a:lnTo>
                    <a:pt x="0" y="265"/>
                  </a:lnTo>
                  <a:lnTo>
                    <a:pt x="113" y="378"/>
                  </a:lnTo>
                  <a:lnTo>
                    <a:pt x="378" y="113"/>
                  </a:lnTo>
                  <a:lnTo>
                    <a:pt x="2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5" name="Freeform 294">
              <a:extLst>
                <a:ext uri="{FF2B5EF4-FFF2-40B4-BE49-F238E27FC236}">
                  <a16:creationId xmlns:a16="http://schemas.microsoft.com/office/drawing/2014/main" id="{790849AF-5D6E-4B9A-8D0E-6B1002114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2913" y="4511675"/>
              <a:ext cx="250825" cy="425450"/>
            </a:xfrm>
            <a:custGeom>
              <a:avLst/>
              <a:gdLst>
                <a:gd name="T0" fmla="*/ 293 w 694"/>
                <a:gd name="T1" fmla="*/ 0 h 1181"/>
                <a:gd name="T2" fmla="*/ 293 w 694"/>
                <a:gd name="T3" fmla="*/ 161 h 1181"/>
                <a:gd name="T4" fmla="*/ 422 w 694"/>
                <a:gd name="T5" fmla="*/ 161 h 1181"/>
                <a:gd name="T6" fmla="*/ 149 w 694"/>
                <a:gd name="T7" fmla="*/ 434 h 1181"/>
                <a:gd name="T8" fmla="*/ 0 w 694"/>
                <a:gd name="T9" fmla="*/ 764 h 1181"/>
                <a:gd name="T10" fmla="*/ 297 w 694"/>
                <a:gd name="T11" fmla="*/ 1181 h 1181"/>
                <a:gd name="T12" fmla="*/ 401 w 694"/>
                <a:gd name="T13" fmla="*/ 1077 h 1181"/>
                <a:gd name="T14" fmla="*/ 436 w 694"/>
                <a:gd name="T15" fmla="*/ 1041 h 1181"/>
                <a:gd name="T16" fmla="*/ 401 w 694"/>
                <a:gd name="T17" fmla="*/ 1042 h 1181"/>
                <a:gd name="T18" fmla="*/ 161 w 694"/>
                <a:gd name="T19" fmla="*/ 764 h 1181"/>
                <a:gd name="T20" fmla="*/ 229 w 694"/>
                <a:gd name="T21" fmla="*/ 580 h 1181"/>
                <a:gd name="T22" fmla="*/ 229 w 694"/>
                <a:gd name="T23" fmla="*/ 580 h 1181"/>
                <a:gd name="T24" fmla="*/ 258 w 694"/>
                <a:gd name="T25" fmla="*/ 551 h 1181"/>
                <a:gd name="T26" fmla="*/ 260 w 694"/>
                <a:gd name="T27" fmla="*/ 550 h 1181"/>
                <a:gd name="T28" fmla="*/ 401 w 694"/>
                <a:gd name="T29" fmla="*/ 409 h 1181"/>
                <a:gd name="T30" fmla="*/ 401 w 694"/>
                <a:gd name="T31" fmla="*/ 408 h 1181"/>
                <a:gd name="T32" fmla="*/ 533 w 694"/>
                <a:gd name="T33" fmla="*/ 277 h 1181"/>
                <a:gd name="T34" fmla="*/ 533 w 694"/>
                <a:gd name="T35" fmla="*/ 401 h 1181"/>
                <a:gd name="T36" fmla="*/ 694 w 694"/>
                <a:gd name="T37" fmla="*/ 401 h 1181"/>
                <a:gd name="T38" fmla="*/ 694 w 694"/>
                <a:gd name="T39" fmla="*/ 0 h 1181"/>
                <a:gd name="T40" fmla="*/ 293 w 694"/>
                <a:gd name="T41" fmla="*/ 0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94" h="1181">
                  <a:moveTo>
                    <a:pt x="293" y="0"/>
                  </a:moveTo>
                  <a:lnTo>
                    <a:pt x="293" y="161"/>
                  </a:lnTo>
                  <a:lnTo>
                    <a:pt x="422" y="161"/>
                  </a:lnTo>
                  <a:lnTo>
                    <a:pt x="149" y="434"/>
                  </a:lnTo>
                  <a:cubicBezTo>
                    <a:pt x="58" y="515"/>
                    <a:pt x="0" y="633"/>
                    <a:pt x="0" y="764"/>
                  </a:cubicBezTo>
                  <a:cubicBezTo>
                    <a:pt x="0" y="957"/>
                    <a:pt x="125" y="1121"/>
                    <a:pt x="297" y="1181"/>
                  </a:cubicBezTo>
                  <a:lnTo>
                    <a:pt x="401" y="1077"/>
                  </a:lnTo>
                  <a:lnTo>
                    <a:pt x="436" y="1041"/>
                  </a:lnTo>
                  <a:lnTo>
                    <a:pt x="401" y="1042"/>
                  </a:lnTo>
                  <a:cubicBezTo>
                    <a:pt x="265" y="1042"/>
                    <a:pt x="161" y="905"/>
                    <a:pt x="161" y="764"/>
                  </a:cubicBezTo>
                  <a:cubicBezTo>
                    <a:pt x="161" y="694"/>
                    <a:pt x="187" y="629"/>
                    <a:pt x="229" y="580"/>
                  </a:cubicBezTo>
                  <a:lnTo>
                    <a:pt x="229" y="580"/>
                  </a:lnTo>
                  <a:lnTo>
                    <a:pt x="258" y="551"/>
                  </a:lnTo>
                  <a:cubicBezTo>
                    <a:pt x="259" y="551"/>
                    <a:pt x="259" y="551"/>
                    <a:pt x="260" y="550"/>
                  </a:cubicBezTo>
                  <a:lnTo>
                    <a:pt x="401" y="409"/>
                  </a:lnTo>
                  <a:lnTo>
                    <a:pt x="401" y="408"/>
                  </a:lnTo>
                  <a:lnTo>
                    <a:pt x="533" y="277"/>
                  </a:lnTo>
                  <a:lnTo>
                    <a:pt x="533" y="401"/>
                  </a:lnTo>
                  <a:lnTo>
                    <a:pt x="694" y="401"/>
                  </a:lnTo>
                  <a:lnTo>
                    <a:pt x="694" y="0"/>
                  </a:lnTo>
                  <a:lnTo>
                    <a:pt x="29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6" name="Freeform 295">
              <a:extLst>
                <a:ext uri="{FF2B5EF4-FFF2-40B4-BE49-F238E27FC236}">
                  <a16:creationId xmlns:a16="http://schemas.microsoft.com/office/drawing/2014/main" id="{12C25DC6-026B-44C7-A8B5-5A304FDF6D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2788" y="4548188"/>
              <a:ext cx="250825" cy="423863"/>
            </a:xfrm>
            <a:custGeom>
              <a:avLst/>
              <a:gdLst>
                <a:gd name="T0" fmla="*/ 578 w 693"/>
                <a:gd name="T1" fmla="*/ 713 h 1178"/>
                <a:gd name="T2" fmla="*/ 693 w 693"/>
                <a:gd name="T3" fmla="*/ 417 h 1178"/>
                <a:gd name="T4" fmla="*/ 396 w 693"/>
                <a:gd name="T5" fmla="*/ 0 h 1178"/>
                <a:gd name="T6" fmla="*/ 292 w 693"/>
                <a:gd name="T7" fmla="*/ 105 h 1178"/>
                <a:gd name="T8" fmla="*/ 258 w 693"/>
                <a:gd name="T9" fmla="*/ 139 h 1178"/>
                <a:gd name="T10" fmla="*/ 292 w 693"/>
                <a:gd name="T11" fmla="*/ 139 h 1178"/>
                <a:gd name="T12" fmla="*/ 532 w 693"/>
                <a:gd name="T13" fmla="*/ 417 h 1178"/>
                <a:gd name="T14" fmla="*/ 438 w 693"/>
                <a:gd name="T15" fmla="*/ 626 h 1178"/>
                <a:gd name="T16" fmla="*/ 438 w 693"/>
                <a:gd name="T17" fmla="*/ 626 h 1178"/>
                <a:gd name="T18" fmla="*/ 292 w 693"/>
                <a:gd name="T19" fmla="*/ 773 h 1178"/>
                <a:gd name="T20" fmla="*/ 292 w 693"/>
                <a:gd name="T21" fmla="*/ 774 h 1178"/>
                <a:gd name="T22" fmla="*/ 161 w 693"/>
                <a:gd name="T23" fmla="*/ 905 h 1178"/>
                <a:gd name="T24" fmla="*/ 161 w 693"/>
                <a:gd name="T25" fmla="*/ 778 h 1178"/>
                <a:gd name="T26" fmla="*/ 0 w 693"/>
                <a:gd name="T27" fmla="*/ 778 h 1178"/>
                <a:gd name="T28" fmla="*/ 0 w 693"/>
                <a:gd name="T29" fmla="*/ 1178 h 1178"/>
                <a:gd name="T30" fmla="*/ 401 w 693"/>
                <a:gd name="T31" fmla="*/ 1178 h 1178"/>
                <a:gd name="T32" fmla="*/ 401 w 693"/>
                <a:gd name="T33" fmla="*/ 1018 h 1178"/>
                <a:gd name="T34" fmla="*/ 274 w 693"/>
                <a:gd name="T35" fmla="*/ 1018 h 1178"/>
                <a:gd name="T36" fmla="*/ 578 w 693"/>
                <a:gd name="T37" fmla="*/ 714 h 1178"/>
                <a:gd name="T38" fmla="*/ 578 w 693"/>
                <a:gd name="T39" fmla="*/ 713 h 1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93" h="1178">
                  <a:moveTo>
                    <a:pt x="578" y="713"/>
                  </a:moveTo>
                  <a:cubicBezTo>
                    <a:pt x="649" y="635"/>
                    <a:pt x="693" y="531"/>
                    <a:pt x="693" y="417"/>
                  </a:cubicBezTo>
                  <a:cubicBezTo>
                    <a:pt x="693" y="224"/>
                    <a:pt x="569" y="60"/>
                    <a:pt x="396" y="0"/>
                  </a:cubicBezTo>
                  <a:lnTo>
                    <a:pt x="292" y="105"/>
                  </a:lnTo>
                  <a:lnTo>
                    <a:pt x="258" y="139"/>
                  </a:lnTo>
                  <a:lnTo>
                    <a:pt x="292" y="139"/>
                  </a:lnTo>
                  <a:cubicBezTo>
                    <a:pt x="430" y="139"/>
                    <a:pt x="532" y="275"/>
                    <a:pt x="532" y="417"/>
                  </a:cubicBezTo>
                  <a:cubicBezTo>
                    <a:pt x="532" y="500"/>
                    <a:pt x="496" y="575"/>
                    <a:pt x="438" y="626"/>
                  </a:cubicBezTo>
                  <a:lnTo>
                    <a:pt x="438" y="626"/>
                  </a:lnTo>
                  <a:lnTo>
                    <a:pt x="292" y="773"/>
                  </a:lnTo>
                  <a:lnTo>
                    <a:pt x="292" y="774"/>
                  </a:lnTo>
                  <a:lnTo>
                    <a:pt x="161" y="905"/>
                  </a:lnTo>
                  <a:lnTo>
                    <a:pt x="161" y="778"/>
                  </a:lnTo>
                  <a:lnTo>
                    <a:pt x="0" y="778"/>
                  </a:lnTo>
                  <a:lnTo>
                    <a:pt x="0" y="1178"/>
                  </a:lnTo>
                  <a:lnTo>
                    <a:pt x="401" y="1178"/>
                  </a:lnTo>
                  <a:lnTo>
                    <a:pt x="401" y="1018"/>
                  </a:lnTo>
                  <a:lnTo>
                    <a:pt x="274" y="1018"/>
                  </a:lnTo>
                  <a:lnTo>
                    <a:pt x="578" y="714"/>
                  </a:lnTo>
                  <a:lnTo>
                    <a:pt x="578" y="7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13" name="Group 412">
            <a:extLst>
              <a:ext uri="{FF2B5EF4-FFF2-40B4-BE49-F238E27FC236}">
                <a16:creationId xmlns:a16="http://schemas.microsoft.com/office/drawing/2014/main" id="{B735A690-42E1-40FC-9240-FD737D96B4A9}"/>
              </a:ext>
            </a:extLst>
          </p:cNvPr>
          <p:cNvGrpSpPr/>
          <p:nvPr/>
        </p:nvGrpSpPr>
        <p:grpSpPr>
          <a:xfrm>
            <a:off x="8855075" y="4452938"/>
            <a:ext cx="461963" cy="577850"/>
            <a:chOff x="8855075" y="4452938"/>
            <a:chExt cx="461963" cy="577850"/>
          </a:xfrm>
          <a:solidFill>
            <a:schemeClr val="accent1"/>
          </a:solidFill>
        </p:grpSpPr>
        <p:sp>
          <p:nvSpPr>
            <p:cNvPr id="97" name="Rectangle 296">
              <a:extLst>
                <a:ext uri="{FF2B5EF4-FFF2-40B4-BE49-F238E27FC236}">
                  <a16:creationId xmlns:a16="http://schemas.microsoft.com/office/drawing/2014/main" id="{1C9A90C4-CE56-4EC0-B944-ADD1D491AA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55075" y="4452938"/>
              <a:ext cx="57150" cy="144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8" name="Rectangle 297">
              <a:extLst>
                <a:ext uri="{FF2B5EF4-FFF2-40B4-BE49-F238E27FC236}">
                  <a16:creationId xmlns:a16="http://schemas.microsoft.com/office/drawing/2014/main" id="{5973B0BA-53C6-4110-965E-1BDE5A46C5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56688" y="4452938"/>
              <a:ext cx="57150" cy="2317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9" name="Rectangle 298">
              <a:extLst>
                <a:ext uri="{FF2B5EF4-FFF2-40B4-BE49-F238E27FC236}">
                  <a16:creationId xmlns:a16="http://schemas.microsoft.com/office/drawing/2014/main" id="{A30CC90B-0957-4307-A575-E9B04C2576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8300" y="4452938"/>
              <a:ext cx="58738" cy="144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0" name="Freeform 299">
              <a:extLst>
                <a:ext uri="{FF2B5EF4-FFF2-40B4-BE49-F238E27FC236}">
                  <a16:creationId xmlns:a16="http://schemas.microsoft.com/office/drawing/2014/main" id="{1E800F22-44A3-4C58-8159-7D9ACE50BB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5075" y="4532313"/>
              <a:ext cx="358775" cy="498475"/>
            </a:xfrm>
            <a:custGeom>
              <a:avLst/>
              <a:gdLst>
                <a:gd name="T0" fmla="*/ 997 w 997"/>
                <a:gd name="T1" fmla="*/ 1029 h 1384"/>
                <a:gd name="T2" fmla="*/ 883 w 997"/>
                <a:gd name="T3" fmla="*/ 915 h 1384"/>
                <a:gd name="T4" fmla="*/ 722 w 997"/>
                <a:gd name="T5" fmla="*/ 1077 h 1384"/>
                <a:gd name="T6" fmla="*/ 722 w 997"/>
                <a:gd name="T7" fmla="*/ 721 h 1384"/>
                <a:gd name="T8" fmla="*/ 0 w 997"/>
                <a:gd name="T9" fmla="*/ 0 h 1384"/>
                <a:gd name="T10" fmla="*/ 1 w 997"/>
                <a:gd name="T11" fmla="*/ 226 h 1384"/>
                <a:gd name="T12" fmla="*/ 562 w 997"/>
                <a:gd name="T13" fmla="*/ 787 h 1384"/>
                <a:gd name="T14" fmla="*/ 562 w 997"/>
                <a:gd name="T15" fmla="*/ 1076 h 1384"/>
                <a:gd name="T16" fmla="*/ 401 w 997"/>
                <a:gd name="T17" fmla="*/ 915 h 1384"/>
                <a:gd name="T18" fmla="*/ 287 w 997"/>
                <a:gd name="T19" fmla="*/ 1029 h 1384"/>
                <a:gd name="T20" fmla="*/ 642 w 997"/>
                <a:gd name="T21" fmla="*/ 1384 h 1384"/>
                <a:gd name="T22" fmla="*/ 997 w 997"/>
                <a:gd name="T23" fmla="*/ 1029 h 1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7" h="1384">
                  <a:moveTo>
                    <a:pt x="997" y="1029"/>
                  </a:moveTo>
                  <a:lnTo>
                    <a:pt x="883" y="915"/>
                  </a:lnTo>
                  <a:lnTo>
                    <a:pt x="722" y="1077"/>
                  </a:lnTo>
                  <a:lnTo>
                    <a:pt x="722" y="721"/>
                  </a:lnTo>
                  <a:lnTo>
                    <a:pt x="0" y="0"/>
                  </a:lnTo>
                  <a:lnTo>
                    <a:pt x="1" y="226"/>
                  </a:lnTo>
                  <a:lnTo>
                    <a:pt x="562" y="787"/>
                  </a:lnTo>
                  <a:lnTo>
                    <a:pt x="562" y="1076"/>
                  </a:lnTo>
                  <a:lnTo>
                    <a:pt x="401" y="915"/>
                  </a:lnTo>
                  <a:lnTo>
                    <a:pt x="287" y="1029"/>
                  </a:lnTo>
                  <a:lnTo>
                    <a:pt x="642" y="1384"/>
                  </a:lnTo>
                  <a:lnTo>
                    <a:pt x="997" y="10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1" name="Freeform 300">
              <a:extLst>
                <a:ext uri="{FF2B5EF4-FFF2-40B4-BE49-F238E27FC236}">
                  <a16:creationId xmlns:a16="http://schemas.microsoft.com/office/drawing/2014/main" id="{6303F9BB-6A05-49BA-810F-B05A25240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9238" y="4532313"/>
              <a:ext cx="177800" cy="217488"/>
            </a:xfrm>
            <a:custGeom>
              <a:avLst/>
              <a:gdLst>
                <a:gd name="T0" fmla="*/ 113 w 491"/>
                <a:gd name="T1" fmla="*/ 604 h 604"/>
                <a:gd name="T2" fmla="*/ 0 w 491"/>
                <a:gd name="T3" fmla="*/ 491 h 604"/>
                <a:gd name="T4" fmla="*/ 491 w 491"/>
                <a:gd name="T5" fmla="*/ 0 h 604"/>
                <a:gd name="T6" fmla="*/ 491 w 491"/>
                <a:gd name="T7" fmla="*/ 226 h 604"/>
                <a:gd name="T8" fmla="*/ 113 w 491"/>
                <a:gd name="T9" fmla="*/ 6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1" h="604">
                  <a:moveTo>
                    <a:pt x="113" y="604"/>
                  </a:moveTo>
                  <a:lnTo>
                    <a:pt x="0" y="491"/>
                  </a:lnTo>
                  <a:lnTo>
                    <a:pt x="491" y="0"/>
                  </a:lnTo>
                  <a:lnTo>
                    <a:pt x="491" y="226"/>
                  </a:lnTo>
                  <a:lnTo>
                    <a:pt x="113" y="6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6" name="Group 435">
            <a:extLst>
              <a:ext uri="{FF2B5EF4-FFF2-40B4-BE49-F238E27FC236}">
                <a16:creationId xmlns:a16="http://schemas.microsoft.com/office/drawing/2014/main" id="{DCA23E91-D5FB-4A5A-8F82-08CDAE9F98CC}"/>
              </a:ext>
            </a:extLst>
          </p:cNvPr>
          <p:cNvGrpSpPr/>
          <p:nvPr/>
        </p:nvGrpSpPr>
        <p:grpSpPr>
          <a:xfrm>
            <a:off x="2697163" y="5470525"/>
            <a:ext cx="577850" cy="577851"/>
            <a:chOff x="2697163" y="5470525"/>
            <a:chExt cx="577850" cy="577851"/>
          </a:xfrm>
          <a:solidFill>
            <a:schemeClr val="accent1"/>
          </a:solidFill>
        </p:grpSpPr>
        <p:sp>
          <p:nvSpPr>
            <p:cNvPr id="102" name="Rectangle 301">
              <a:extLst>
                <a:ext uri="{FF2B5EF4-FFF2-40B4-BE49-F238E27FC236}">
                  <a16:creationId xmlns:a16="http://schemas.microsoft.com/office/drawing/2014/main" id="{6FC370E8-227C-47ED-BB95-B5C05B8AE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5470525"/>
              <a:ext cx="5715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3" name="Rectangle 302">
              <a:extLst>
                <a:ext uri="{FF2B5EF4-FFF2-40B4-BE49-F238E27FC236}">
                  <a16:creationId xmlns:a16="http://schemas.microsoft.com/office/drawing/2014/main" id="{B16856EE-AD85-41A3-B9A3-9C3D1BA5CE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2888" y="5470525"/>
              <a:ext cx="5873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4" name="Rectangle 303">
              <a:extLst>
                <a:ext uri="{FF2B5EF4-FFF2-40B4-BE49-F238E27FC236}">
                  <a16:creationId xmlns:a16="http://schemas.microsoft.com/office/drawing/2014/main" id="{2614FAE2-8107-4824-BD70-0D87005DDA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0200" y="5470525"/>
              <a:ext cx="5715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5" name="Rectangle 304">
              <a:extLst>
                <a:ext uri="{FF2B5EF4-FFF2-40B4-BE49-F238E27FC236}">
                  <a16:creationId xmlns:a16="http://schemas.microsoft.com/office/drawing/2014/main" id="{74A71417-6798-478C-B658-06ECF97CAC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7513" y="5470525"/>
              <a:ext cx="31750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6" name="Freeform 305">
              <a:extLst>
                <a:ext uri="{FF2B5EF4-FFF2-40B4-BE49-F238E27FC236}">
                  <a16:creationId xmlns:a16="http://schemas.microsoft.com/office/drawing/2014/main" id="{F8B38B77-FE39-49DE-9C9F-3689BA9D41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7163" y="5557838"/>
              <a:ext cx="577850" cy="431800"/>
            </a:xfrm>
            <a:custGeom>
              <a:avLst/>
              <a:gdLst>
                <a:gd name="T0" fmla="*/ 0 w 1603"/>
                <a:gd name="T1" fmla="*/ 0 h 1202"/>
                <a:gd name="T2" fmla="*/ 1603 w 1603"/>
                <a:gd name="T3" fmla="*/ 0 h 1202"/>
                <a:gd name="T4" fmla="*/ 1603 w 1603"/>
                <a:gd name="T5" fmla="*/ 1202 h 1202"/>
                <a:gd name="T6" fmla="*/ 1443 w 1603"/>
                <a:gd name="T7" fmla="*/ 1202 h 1202"/>
                <a:gd name="T8" fmla="*/ 1443 w 1603"/>
                <a:gd name="T9" fmla="*/ 160 h 1202"/>
                <a:gd name="T10" fmla="*/ 160 w 1603"/>
                <a:gd name="T11" fmla="*/ 160 h 1202"/>
                <a:gd name="T12" fmla="*/ 160 w 1603"/>
                <a:gd name="T13" fmla="*/ 1042 h 1202"/>
                <a:gd name="T14" fmla="*/ 0 w 1603"/>
                <a:gd name="T15" fmla="*/ 1042 h 1202"/>
                <a:gd name="T16" fmla="*/ 0 w 1603"/>
                <a:gd name="T17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03" h="1202">
                  <a:moveTo>
                    <a:pt x="0" y="0"/>
                  </a:moveTo>
                  <a:lnTo>
                    <a:pt x="1603" y="0"/>
                  </a:lnTo>
                  <a:lnTo>
                    <a:pt x="1603" y="1202"/>
                  </a:lnTo>
                  <a:lnTo>
                    <a:pt x="1443" y="1202"/>
                  </a:lnTo>
                  <a:lnTo>
                    <a:pt x="1443" y="160"/>
                  </a:lnTo>
                  <a:lnTo>
                    <a:pt x="160" y="160"/>
                  </a:lnTo>
                  <a:lnTo>
                    <a:pt x="160" y="1042"/>
                  </a:lnTo>
                  <a:lnTo>
                    <a:pt x="0" y="104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7" name="Freeform 306">
              <a:extLst>
                <a:ext uri="{FF2B5EF4-FFF2-40B4-BE49-F238E27FC236}">
                  <a16:creationId xmlns:a16="http://schemas.microsoft.com/office/drawing/2014/main" id="{EB4CBDDC-F8F9-42DF-ACCC-AB54F4BF7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7163" y="5989638"/>
              <a:ext cx="577850" cy="58738"/>
            </a:xfrm>
            <a:custGeom>
              <a:avLst/>
              <a:gdLst>
                <a:gd name="T0" fmla="*/ 0 w 1603"/>
                <a:gd name="T1" fmla="*/ 0 h 161"/>
                <a:gd name="T2" fmla="*/ 0 w 1603"/>
                <a:gd name="T3" fmla="*/ 161 h 161"/>
                <a:gd name="T4" fmla="*/ 1443 w 1603"/>
                <a:gd name="T5" fmla="*/ 161 h 161"/>
                <a:gd name="T6" fmla="*/ 1603 w 1603"/>
                <a:gd name="T7" fmla="*/ 0 h 161"/>
                <a:gd name="T8" fmla="*/ 0 w 1603"/>
                <a:gd name="T9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3" h="161">
                  <a:moveTo>
                    <a:pt x="0" y="0"/>
                  </a:moveTo>
                  <a:lnTo>
                    <a:pt x="0" y="161"/>
                  </a:lnTo>
                  <a:lnTo>
                    <a:pt x="1443" y="161"/>
                  </a:lnTo>
                  <a:lnTo>
                    <a:pt x="16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8" name="Freeform 307">
              <a:extLst>
                <a:ext uri="{FF2B5EF4-FFF2-40B4-BE49-F238E27FC236}">
                  <a16:creationId xmlns:a16="http://schemas.microsoft.com/office/drawing/2014/main" id="{E2B96A8D-3ECA-4D35-A865-F37EF59B3A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7350" y="5703888"/>
              <a:ext cx="115888" cy="173038"/>
            </a:xfrm>
            <a:custGeom>
              <a:avLst/>
              <a:gdLst>
                <a:gd name="T0" fmla="*/ 0 w 321"/>
                <a:gd name="T1" fmla="*/ 0 h 481"/>
                <a:gd name="T2" fmla="*/ 0 w 321"/>
                <a:gd name="T3" fmla="*/ 481 h 481"/>
                <a:gd name="T4" fmla="*/ 321 w 321"/>
                <a:gd name="T5" fmla="*/ 240 h 481"/>
                <a:gd name="T6" fmla="*/ 0 w 321"/>
                <a:gd name="T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1" h="481">
                  <a:moveTo>
                    <a:pt x="0" y="0"/>
                  </a:moveTo>
                  <a:lnTo>
                    <a:pt x="0" y="481"/>
                  </a:lnTo>
                  <a:lnTo>
                    <a:pt x="321" y="24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9" name="Rectangle 308">
              <a:extLst>
                <a:ext uri="{FF2B5EF4-FFF2-40B4-BE49-F238E27FC236}">
                  <a16:creationId xmlns:a16="http://schemas.microsoft.com/office/drawing/2014/main" id="{C75526B5-BFDF-4FB0-A8F9-46651B30E6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6275" y="5903913"/>
              <a:ext cx="58738" cy="857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75" name="Group 374">
            <a:extLst>
              <a:ext uri="{FF2B5EF4-FFF2-40B4-BE49-F238E27FC236}">
                <a16:creationId xmlns:a16="http://schemas.microsoft.com/office/drawing/2014/main" id="{E361DC39-5E6B-490A-BBA5-72A295F77E98}"/>
              </a:ext>
            </a:extLst>
          </p:cNvPr>
          <p:cNvGrpSpPr/>
          <p:nvPr/>
        </p:nvGrpSpPr>
        <p:grpSpPr>
          <a:xfrm>
            <a:off x="10347438" y="1398588"/>
            <a:ext cx="577851" cy="577851"/>
            <a:chOff x="10347438" y="1398588"/>
            <a:chExt cx="577851" cy="577851"/>
          </a:xfrm>
          <a:solidFill>
            <a:schemeClr val="accent1"/>
          </a:solidFill>
        </p:grpSpPr>
        <p:sp>
          <p:nvSpPr>
            <p:cNvPr id="110" name="Freeform 309">
              <a:extLst>
                <a:ext uri="{FF2B5EF4-FFF2-40B4-BE49-F238E27FC236}">
                  <a16:creationId xmlns:a16="http://schemas.microsoft.com/office/drawing/2014/main" id="{630C4B7A-0538-490A-BEEE-A6D0C8D7FA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4751" y="1601788"/>
              <a:ext cx="288925" cy="288925"/>
            </a:xfrm>
            <a:custGeom>
              <a:avLst/>
              <a:gdLst>
                <a:gd name="T0" fmla="*/ 641 w 802"/>
                <a:gd name="T1" fmla="*/ 391 h 801"/>
                <a:gd name="T2" fmla="*/ 642 w 802"/>
                <a:gd name="T3" fmla="*/ 401 h 801"/>
                <a:gd name="T4" fmla="*/ 401 w 802"/>
                <a:gd name="T5" fmla="*/ 641 h 801"/>
                <a:gd name="T6" fmla="*/ 161 w 802"/>
                <a:gd name="T7" fmla="*/ 401 h 801"/>
                <a:gd name="T8" fmla="*/ 401 w 802"/>
                <a:gd name="T9" fmla="*/ 160 h 801"/>
                <a:gd name="T10" fmla="*/ 418 w 802"/>
                <a:gd name="T11" fmla="*/ 161 h 801"/>
                <a:gd name="T12" fmla="*/ 550 w 802"/>
                <a:gd name="T13" fmla="*/ 28 h 801"/>
                <a:gd name="T14" fmla="*/ 401 w 802"/>
                <a:gd name="T15" fmla="*/ 0 h 801"/>
                <a:gd name="T16" fmla="*/ 0 w 802"/>
                <a:gd name="T17" fmla="*/ 401 h 801"/>
                <a:gd name="T18" fmla="*/ 401 w 802"/>
                <a:gd name="T19" fmla="*/ 801 h 801"/>
                <a:gd name="T20" fmla="*/ 802 w 802"/>
                <a:gd name="T21" fmla="*/ 401 h 801"/>
                <a:gd name="T22" fmla="*/ 775 w 802"/>
                <a:gd name="T23" fmla="*/ 257 h 801"/>
                <a:gd name="T24" fmla="*/ 641 w 802"/>
                <a:gd name="T25" fmla="*/ 391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2" h="801">
                  <a:moveTo>
                    <a:pt x="641" y="391"/>
                  </a:moveTo>
                  <a:cubicBezTo>
                    <a:pt x="641" y="394"/>
                    <a:pt x="642" y="397"/>
                    <a:pt x="642" y="401"/>
                  </a:cubicBezTo>
                  <a:cubicBezTo>
                    <a:pt x="642" y="533"/>
                    <a:pt x="534" y="641"/>
                    <a:pt x="401" y="641"/>
                  </a:cubicBezTo>
                  <a:cubicBezTo>
                    <a:pt x="268" y="641"/>
                    <a:pt x="161" y="533"/>
                    <a:pt x="161" y="401"/>
                  </a:cubicBezTo>
                  <a:cubicBezTo>
                    <a:pt x="161" y="268"/>
                    <a:pt x="268" y="160"/>
                    <a:pt x="401" y="160"/>
                  </a:cubicBezTo>
                  <a:cubicBezTo>
                    <a:pt x="407" y="160"/>
                    <a:pt x="412" y="160"/>
                    <a:pt x="418" y="161"/>
                  </a:cubicBezTo>
                  <a:lnTo>
                    <a:pt x="550" y="28"/>
                  </a:lnTo>
                  <a:cubicBezTo>
                    <a:pt x="504" y="10"/>
                    <a:pt x="454" y="0"/>
                    <a:pt x="401" y="0"/>
                  </a:cubicBezTo>
                  <a:cubicBezTo>
                    <a:pt x="180" y="0"/>
                    <a:pt x="0" y="179"/>
                    <a:pt x="0" y="401"/>
                  </a:cubicBezTo>
                  <a:cubicBezTo>
                    <a:pt x="0" y="622"/>
                    <a:pt x="180" y="801"/>
                    <a:pt x="401" y="801"/>
                  </a:cubicBezTo>
                  <a:cubicBezTo>
                    <a:pt x="622" y="801"/>
                    <a:pt x="802" y="622"/>
                    <a:pt x="802" y="401"/>
                  </a:cubicBezTo>
                  <a:cubicBezTo>
                    <a:pt x="802" y="350"/>
                    <a:pt x="792" y="301"/>
                    <a:pt x="775" y="257"/>
                  </a:cubicBezTo>
                  <a:lnTo>
                    <a:pt x="641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1" name="Freeform 310">
              <a:extLst>
                <a:ext uri="{FF2B5EF4-FFF2-40B4-BE49-F238E27FC236}">
                  <a16:creationId xmlns:a16="http://schemas.microsoft.com/office/drawing/2014/main" id="{8DD822EA-332F-4B16-872F-C842F0EE8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7438" y="1514476"/>
              <a:ext cx="461963" cy="461963"/>
            </a:xfrm>
            <a:custGeom>
              <a:avLst/>
              <a:gdLst>
                <a:gd name="T0" fmla="*/ 1076 w 1282"/>
                <a:gd name="T1" fmla="*/ 437 h 1283"/>
                <a:gd name="T2" fmla="*/ 1122 w 1282"/>
                <a:gd name="T3" fmla="*/ 642 h 1283"/>
                <a:gd name="T4" fmla="*/ 641 w 1282"/>
                <a:gd name="T5" fmla="*/ 1123 h 1283"/>
                <a:gd name="T6" fmla="*/ 160 w 1282"/>
                <a:gd name="T7" fmla="*/ 642 h 1283"/>
                <a:gd name="T8" fmla="*/ 641 w 1282"/>
                <a:gd name="T9" fmla="*/ 160 h 1283"/>
                <a:gd name="T10" fmla="*/ 851 w 1282"/>
                <a:gd name="T11" fmla="*/ 209 h 1283"/>
                <a:gd name="T12" fmla="*/ 969 w 1282"/>
                <a:gd name="T13" fmla="*/ 90 h 1283"/>
                <a:gd name="T14" fmla="*/ 641 w 1282"/>
                <a:gd name="T15" fmla="*/ 0 h 1283"/>
                <a:gd name="T16" fmla="*/ 0 w 1282"/>
                <a:gd name="T17" fmla="*/ 642 h 1283"/>
                <a:gd name="T18" fmla="*/ 641 w 1282"/>
                <a:gd name="T19" fmla="*/ 1283 h 1283"/>
                <a:gd name="T20" fmla="*/ 1282 w 1282"/>
                <a:gd name="T21" fmla="*/ 642 h 1283"/>
                <a:gd name="T22" fmla="*/ 1195 w 1282"/>
                <a:gd name="T23" fmla="*/ 318 h 1283"/>
                <a:gd name="T24" fmla="*/ 1076 w 1282"/>
                <a:gd name="T25" fmla="*/ 437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82" h="1283">
                  <a:moveTo>
                    <a:pt x="1076" y="437"/>
                  </a:moveTo>
                  <a:cubicBezTo>
                    <a:pt x="1106" y="499"/>
                    <a:pt x="1122" y="568"/>
                    <a:pt x="1122" y="642"/>
                  </a:cubicBezTo>
                  <a:cubicBezTo>
                    <a:pt x="1122" y="907"/>
                    <a:pt x="907" y="1123"/>
                    <a:pt x="641" y="1123"/>
                  </a:cubicBezTo>
                  <a:cubicBezTo>
                    <a:pt x="375" y="1123"/>
                    <a:pt x="160" y="907"/>
                    <a:pt x="160" y="642"/>
                  </a:cubicBezTo>
                  <a:cubicBezTo>
                    <a:pt x="160" y="376"/>
                    <a:pt x="375" y="160"/>
                    <a:pt x="641" y="160"/>
                  </a:cubicBezTo>
                  <a:cubicBezTo>
                    <a:pt x="716" y="160"/>
                    <a:pt x="787" y="178"/>
                    <a:pt x="851" y="209"/>
                  </a:cubicBezTo>
                  <a:lnTo>
                    <a:pt x="969" y="90"/>
                  </a:lnTo>
                  <a:cubicBezTo>
                    <a:pt x="873" y="33"/>
                    <a:pt x="761" y="0"/>
                    <a:pt x="641" y="0"/>
                  </a:cubicBezTo>
                  <a:cubicBezTo>
                    <a:pt x="287" y="0"/>
                    <a:pt x="0" y="287"/>
                    <a:pt x="0" y="642"/>
                  </a:cubicBezTo>
                  <a:cubicBezTo>
                    <a:pt x="0" y="996"/>
                    <a:pt x="287" y="1283"/>
                    <a:pt x="641" y="1283"/>
                  </a:cubicBezTo>
                  <a:cubicBezTo>
                    <a:pt x="995" y="1283"/>
                    <a:pt x="1282" y="996"/>
                    <a:pt x="1282" y="642"/>
                  </a:cubicBezTo>
                  <a:cubicBezTo>
                    <a:pt x="1282" y="524"/>
                    <a:pt x="1251" y="413"/>
                    <a:pt x="1195" y="318"/>
                  </a:cubicBezTo>
                  <a:lnTo>
                    <a:pt x="1076" y="4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2" name="Freeform 311">
              <a:extLst>
                <a:ext uri="{FF2B5EF4-FFF2-40B4-BE49-F238E27FC236}">
                  <a16:creationId xmlns:a16="http://schemas.microsoft.com/office/drawing/2014/main" id="{0887A0A0-F3CF-4D26-8B5D-C1301D3B6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58576" y="1398588"/>
              <a:ext cx="366713" cy="366713"/>
            </a:xfrm>
            <a:custGeom>
              <a:avLst/>
              <a:gdLst>
                <a:gd name="T0" fmla="*/ 1018 w 1018"/>
                <a:gd name="T1" fmla="*/ 340 h 1018"/>
                <a:gd name="T2" fmla="*/ 678 w 1018"/>
                <a:gd name="T3" fmla="*/ 0 h 1018"/>
                <a:gd name="T4" fmla="*/ 451 w 1018"/>
                <a:gd name="T5" fmla="*/ 226 h 1018"/>
                <a:gd name="T6" fmla="*/ 451 w 1018"/>
                <a:gd name="T7" fmla="*/ 453 h 1018"/>
                <a:gd name="T8" fmla="*/ 0 w 1018"/>
                <a:gd name="T9" fmla="*/ 904 h 1018"/>
                <a:gd name="T10" fmla="*/ 113 w 1018"/>
                <a:gd name="T11" fmla="*/ 1018 h 1018"/>
                <a:gd name="T12" fmla="*/ 614 w 1018"/>
                <a:gd name="T13" fmla="*/ 517 h 1018"/>
                <a:gd name="T14" fmla="*/ 613 w 1018"/>
                <a:gd name="T15" fmla="*/ 291 h 1018"/>
                <a:gd name="T16" fmla="*/ 678 w 1018"/>
                <a:gd name="T17" fmla="*/ 226 h 1018"/>
                <a:gd name="T18" fmla="*/ 791 w 1018"/>
                <a:gd name="T19" fmla="*/ 340 h 1018"/>
                <a:gd name="T20" fmla="*/ 678 w 1018"/>
                <a:gd name="T21" fmla="*/ 453 h 1018"/>
                <a:gd name="T22" fmla="*/ 678 w 1018"/>
                <a:gd name="T23" fmla="*/ 566 h 1018"/>
                <a:gd name="T24" fmla="*/ 791 w 1018"/>
                <a:gd name="T25" fmla="*/ 566 h 1018"/>
                <a:gd name="T26" fmla="*/ 1018 w 1018"/>
                <a:gd name="T27" fmla="*/ 340 h 1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8" h="1018">
                  <a:moveTo>
                    <a:pt x="1018" y="340"/>
                  </a:moveTo>
                  <a:lnTo>
                    <a:pt x="678" y="0"/>
                  </a:lnTo>
                  <a:lnTo>
                    <a:pt x="451" y="226"/>
                  </a:lnTo>
                  <a:lnTo>
                    <a:pt x="451" y="453"/>
                  </a:lnTo>
                  <a:lnTo>
                    <a:pt x="0" y="904"/>
                  </a:lnTo>
                  <a:lnTo>
                    <a:pt x="113" y="1018"/>
                  </a:lnTo>
                  <a:lnTo>
                    <a:pt x="614" y="517"/>
                  </a:lnTo>
                  <a:lnTo>
                    <a:pt x="613" y="291"/>
                  </a:lnTo>
                  <a:lnTo>
                    <a:pt x="678" y="226"/>
                  </a:lnTo>
                  <a:lnTo>
                    <a:pt x="791" y="340"/>
                  </a:lnTo>
                  <a:lnTo>
                    <a:pt x="678" y="453"/>
                  </a:lnTo>
                  <a:lnTo>
                    <a:pt x="678" y="566"/>
                  </a:lnTo>
                  <a:lnTo>
                    <a:pt x="791" y="566"/>
                  </a:lnTo>
                  <a:lnTo>
                    <a:pt x="1018" y="3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13" name="Freeform 312">
            <a:extLst>
              <a:ext uri="{FF2B5EF4-FFF2-40B4-BE49-F238E27FC236}">
                <a16:creationId xmlns:a16="http://schemas.microsoft.com/office/drawing/2014/main" id="{478F02EA-A6EC-4F69-B9AD-37D65C8DF7AC}"/>
              </a:ext>
            </a:extLst>
          </p:cNvPr>
          <p:cNvSpPr>
            <a:spLocks noEditPoints="1"/>
          </p:cNvSpPr>
          <p:nvPr/>
        </p:nvSpPr>
        <p:spPr bwMode="auto">
          <a:xfrm>
            <a:off x="10410938" y="2012951"/>
            <a:ext cx="450850" cy="104775"/>
          </a:xfrm>
          <a:custGeom>
            <a:avLst/>
            <a:gdLst>
              <a:gd name="T0" fmla="*/ 42 w 1251"/>
              <a:gd name="T1" fmla="*/ 0 h 294"/>
              <a:gd name="T2" fmla="*/ 113 w 1251"/>
              <a:gd name="T3" fmla="*/ 158 h 294"/>
              <a:gd name="T4" fmla="*/ 202 w 1251"/>
              <a:gd name="T5" fmla="*/ 228 h 294"/>
              <a:gd name="T6" fmla="*/ 113 w 1251"/>
              <a:gd name="T7" fmla="*/ 228 h 294"/>
              <a:gd name="T8" fmla="*/ 27 w 1251"/>
              <a:gd name="T9" fmla="*/ 228 h 294"/>
              <a:gd name="T10" fmla="*/ 316 w 1251"/>
              <a:gd name="T11" fmla="*/ 226 h 294"/>
              <a:gd name="T12" fmla="*/ 235 w 1251"/>
              <a:gd name="T13" fmla="*/ 184 h 294"/>
              <a:gd name="T14" fmla="*/ 272 w 1251"/>
              <a:gd name="T15" fmla="*/ 137 h 294"/>
              <a:gd name="T16" fmla="*/ 342 w 1251"/>
              <a:gd name="T17" fmla="*/ 116 h 294"/>
              <a:gd name="T18" fmla="*/ 278 w 1251"/>
              <a:gd name="T19" fmla="*/ 89 h 294"/>
              <a:gd name="T20" fmla="*/ 251 w 1251"/>
              <a:gd name="T21" fmla="*/ 82 h 294"/>
              <a:gd name="T22" fmla="*/ 341 w 1251"/>
              <a:gd name="T23" fmla="*/ 64 h 294"/>
              <a:gd name="T24" fmla="*/ 368 w 1251"/>
              <a:gd name="T25" fmla="*/ 121 h 294"/>
              <a:gd name="T26" fmla="*/ 376 w 1251"/>
              <a:gd name="T27" fmla="*/ 228 h 294"/>
              <a:gd name="T28" fmla="*/ 342 w 1251"/>
              <a:gd name="T29" fmla="*/ 145 h 294"/>
              <a:gd name="T30" fmla="*/ 266 w 1251"/>
              <a:gd name="T31" fmla="*/ 170 h 294"/>
              <a:gd name="T32" fmla="*/ 294 w 1251"/>
              <a:gd name="T33" fmla="*/ 209 h 294"/>
              <a:gd name="T34" fmla="*/ 342 w 1251"/>
              <a:gd name="T35" fmla="*/ 155 h 294"/>
              <a:gd name="T36" fmla="*/ 408 w 1251"/>
              <a:gd name="T37" fmla="*/ 63 h 294"/>
              <a:gd name="T38" fmla="*/ 448 w 1251"/>
              <a:gd name="T39" fmla="*/ 65 h 294"/>
              <a:gd name="T40" fmla="*/ 482 w 1251"/>
              <a:gd name="T41" fmla="*/ 94 h 294"/>
              <a:gd name="T42" fmla="*/ 438 w 1251"/>
              <a:gd name="T43" fmla="*/ 109 h 294"/>
              <a:gd name="T44" fmla="*/ 408 w 1251"/>
              <a:gd name="T45" fmla="*/ 228 h 294"/>
              <a:gd name="T46" fmla="*/ 533 w 1251"/>
              <a:gd name="T47" fmla="*/ 0 h 294"/>
              <a:gd name="T48" fmla="*/ 628 w 1251"/>
              <a:gd name="T49" fmla="*/ 63 h 294"/>
              <a:gd name="T50" fmla="*/ 602 w 1251"/>
              <a:gd name="T51" fmla="*/ 228 h 294"/>
              <a:gd name="T52" fmla="*/ 533 w 1251"/>
              <a:gd name="T53" fmla="*/ 228 h 294"/>
              <a:gd name="T54" fmla="*/ 780 w 1251"/>
              <a:gd name="T55" fmla="*/ 178 h 294"/>
              <a:gd name="T56" fmla="*/ 660 w 1251"/>
              <a:gd name="T57" fmla="*/ 209 h 294"/>
              <a:gd name="T58" fmla="*/ 712 w 1251"/>
              <a:gd name="T59" fmla="*/ 59 h 294"/>
              <a:gd name="T60" fmla="*/ 781 w 1251"/>
              <a:gd name="T61" fmla="*/ 152 h 294"/>
              <a:gd name="T62" fmla="*/ 713 w 1251"/>
              <a:gd name="T63" fmla="*/ 208 h 294"/>
              <a:gd name="T64" fmla="*/ 668 w 1251"/>
              <a:gd name="T65" fmla="*/ 129 h 294"/>
              <a:gd name="T66" fmla="*/ 712 w 1251"/>
              <a:gd name="T67" fmla="*/ 82 h 294"/>
              <a:gd name="T68" fmla="*/ 870 w 1251"/>
              <a:gd name="T69" fmla="*/ 203 h 294"/>
              <a:gd name="T70" fmla="*/ 832 w 1251"/>
              <a:gd name="T71" fmla="*/ 225 h 294"/>
              <a:gd name="T72" fmla="*/ 818 w 1251"/>
              <a:gd name="T73" fmla="*/ 84 h 294"/>
              <a:gd name="T74" fmla="*/ 818 w 1251"/>
              <a:gd name="T75" fmla="*/ 63 h 294"/>
              <a:gd name="T76" fmla="*/ 844 w 1251"/>
              <a:gd name="T77" fmla="*/ 63 h 294"/>
              <a:gd name="T78" fmla="*/ 844 w 1251"/>
              <a:gd name="T79" fmla="*/ 84 h 294"/>
              <a:gd name="T80" fmla="*/ 849 w 1251"/>
              <a:gd name="T81" fmla="*/ 202 h 294"/>
              <a:gd name="T82" fmla="*/ 895 w 1251"/>
              <a:gd name="T83" fmla="*/ 32 h 294"/>
              <a:gd name="T84" fmla="*/ 921 w 1251"/>
              <a:gd name="T85" fmla="*/ 32 h 294"/>
              <a:gd name="T86" fmla="*/ 895 w 1251"/>
              <a:gd name="T87" fmla="*/ 63 h 294"/>
              <a:gd name="T88" fmla="*/ 895 w 1251"/>
              <a:gd name="T89" fmla="*/ 228 h 294"/>
              <a:gd name="T90" fmla="*/ 984 w 1251"/>
              <a:gd name="T91" fmla="*/ 63 h 294"/>
              <a:gd name="T92" fmla="*/ 1059 w 1251"/>
              <a:gd name="T93" fmla="*/ 65 h 294"/>
              <a:gd name="T94" fmla="*/ 1086 w 1251"/>
              <a:gd name="T95" fmla="*/ 126 h 294"/>
              <a:gd name="T96" fmla="*/ 1060 w 1251"/>
              <a:gd name="T97" fmla="*/ 127 h 294"/>
              <a:gd name="T98" fmla="*/ 1028 w 1251"/>
              <a:gd name="T99" fmla="*/ 83 h 294"/>
              <a:gd name="T100" fmla="*/ 987 w 1251"/>
              <a:gd name="T101" fmla="*/ 228 h 294"/>
              <a:gd name="T102" fmla="*/ 1146 w 1251"/>
              <a:gd name="T103" fmla="*/ 245 h 294"/>
              <a:gd name="T104" fmla="*/ 1209 w 1251"/>
              <a:gd name="T105" fmla="*/ 263 h 294"/>
              <a:gd name="T106" fmla="*/ 1182 w 1251"/>
              <a:gd name="T107" fmla="*/ 228 h 294"/>
              <a:gd name="T108" fmla="*/ 1123 w 1251"/>
              <a:gd name="T109" fmla="*/ 101 h 294"/>
              <a:gd name="T110" fmla="*/ 1227 w 1251"/>
              <a:gd name="T111" fmla="*/ 83 h 294"/>
              <a:gd name="T112" fmla="*/ 1251 w 1251"/>
              <a:gd name="T113" fmla="*/ 205 h 294"/>
              <a:gd name="T114" fmla="*/ 1181 w 1251"/>
              <a:gd name="T115" fmla="*/ 294 h 294"/>
              <a:gd name="T116" fmla="*/ 1142 w 1251"/>
              <a:gd name="T117" fmla="*/ 142 h 294"/>
              <a:gd name="T118" fmla="*/ 1214 w 1251"/>
              <a:gd name="T119" fmla="*/ 190 h 294"/>
              <a:gd name="T120" fmla="*/ 1184 w 1251"/>
              <a:gd name="T121" fmla="*/ 82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251" h="294">
                <a:moveTo>
                  <a:pt x="0" y="228"/>
                </a:moveTo>
                <a:lnTo>
                  <a:pt x="0" y="0"/>
                </a:lnTo>
                <a:lnTo>
                  <a:pt x="42" y="0"/>
                </a:lnTo>
                <a:lnTo>
                  <a:pt x="92" y="161"/>
                </a:lnTo>
                <a:cubicBezTo>
                  <a:pt x="97" y="176"/>
                  <a:pt x="100" y="187"/>
                  <a:pt x="102" y="195"/>
                </a:cubicBezTo>
                <a:cubicBezTo>
                  <a:pt x="105" y="187"/>
                  <a:pt x="108" y="174"/>
                  <a:pt x="113" y="158"/>
                </a:cubicBezTo>
                <a:lnTo>
                  <a:pt x="164" y="0"/>
                </a:lnTo>
                <a:lnTo>
                  <a:pt x="202" y="0"/>
                </a:lnTo>
                <a:lnTo>
                  <a:pt x="202" y="228"/>
                </a:lnTo>
                <a:lnTo>
                  <a:pt x="175" y="228"/>
                </a:lnTo>
                <a:lnTo>
                  <a:pt x="175" y="37"/>
                </a:lnTo>
                <a:lnTo>
                  <a:pt x="113" y="228"/>
                </a:lnTo>
                <a:lnTo>
                  <a:pt x="88" y="228"/>
                </a:lnTo>
                <a:lnTo>
                  <a:pt x="27" y="34"/>
                </a:lnTo>
                <a:lnTo>
                  <a:pt x="27" y="228"/>
                </a:lnTo>
                <a:lnTo>
                  <a:pt x="0" y="228"/>
                </a:lnTo>
                <a:close/>
                <a:moveTo>
                  <a:pt x="344" y="207"/>
                </a:moveTo>
                <a:cubicBezTo>
                  <a:pt x="334" y="216"/>
                  <a:pt x="325" y="222"/>
                  <a:pt x="316" y="226"/>
                </a:cubicBezTo>
                <a:cubicBezTo>
                  <a:pt x="307" y="229"/>
                  <a:pt x="298" y="231"/>
                  <a:pt x="287" y="231"/>
                </a:cubicBezTo>
                <a:cubicBezTo>
                  <a:pt x="270" y="231"/>
                  <a:pt x="257" y="227"/>
                  <a:pt x="248" y="218"/>
                </a:cubicBezTo>
                <a:cubicBezTo>
                  <a:pt x="239" y="209"/>
                  <a:pt x="235" y="198"/>
                  <a:pt x="235" y="184"/>
                </a:cubicBezTo>
                <a:cubicBezTo>
                  <a:pt x="235" y="176"/>
                  <a:pt x="237" y="169"/>
                  <a:pt x="240" y="162"/>
                </a:cubicBezTo>
                <a:cubicBezTo>
                  <a:pt x="243" y="155"/>
                  <a:pt x="248" y="150"/>
                  <a:pt x="253" y="146"/>
                </a:cubicBezTo>
                <a:cubicBezTo>
                  <a:pt x="259" y="142"/>
                  <a:pt x="265" y="139"/>
                  <a:pt x="272" y="137"/>
                </a:cubicBezTo>
                <a:cubicBezTo>
                  <a:pt x="277" y="135"/>
                  <a:pt x="285" y="134"/>
                  <a:pt x="295" y="133"/>
                </a:cubicBezTo>
                <a:cubicBezTo>
                  <a:pt x="316" y="130"/>
                  <a:pt x="332" y="127"/>
                  <a:pt x="342" y="123"/>
                </a:cubicBezTo>
                <a:cubicBezTo>
                  <a:pt x="342" y="119"/>
                  <a:pt x="342" y="117"/>
                  <a:pt x="342" y="116"/>
                </a:cubicBezTo>
                <a:cubicBezTo>
                  <a:pt x="342" y="104"/>
                  <a:pt x="339" y="97"/>
                  <a:pt x="335" y="92"/>
                </a:cubicBezTo>
                <a:cubicBezTo>
                  <a:pt x="328" y="86"/>
                  <a:pt x="318" y="82"/>
                  <a:pt x="305" y="82"/>
                </a:cubicBezTo>
                <a:cubicBezTo>
                  <a:pt x="293" y="82"/>
                  <a:pt x="283" y="85"/>
                  <a:pt x="278" y="89"/>
                </a:cubicBezTo>
                <a:cubicBezTo>
                  <a:pt x="272" y="94"/>
                  <a:pt x="267" y="102"/>
                  <a:pt x="265" y="114"/>
                </a:cubicBezTo>
                <a:lnTo>
                  <a:pt x="239" y="110"/>
                </a:lnTo>
                <a:cubicBezTo>
                  <a:pt x="242" y="98"/>
                  <a:pt x="245" y="89"/>
                  <a:pt x="251" y="82"/>
                </a:cubicBezTo>
                <a:cubicBezTo>
                  <a:pt x="256" y="74"/>
                  <a:pt x="264" y="69"/>
                  <a:pt x="274" y="65"/>
                </a:cubicBezTo>
                <a:cubicBezTo>
                  <a:pt x="284" y="61"/>
                  <a:pt x="295" y="59"/>
                  <a:pt x="309" y="59"/>
                </a:cubicBezTo>
                <a:cubicBezTo>
                  <a:pt x="322" y="59"/>
                  <a:pt x="332" y="61"/>
                  <a:pt x="341" y="64"/>
                </a:cubicBezTo>
                <a:cubicBezTo>
                  <a:pt x="349" y="68"/>
                  <a:pt x="355" y="72"/>
                  <a:pt x="359" y="77"/>
                </a:cubicBezTo>
                <a:cubicBezTo>
                  <a:pt x="363" y="82"/>
                  <a:pt x="365" y="88"/>
                  <a:pt x="367" y="96"/>
                </a:cubicBezTo>
                <a:cubicBezTo>
                  <a:pt x="368" y="101"/>
                  <a:pt x="368" y="109"/>
                  <a:pt x="368" y="121"/>
                </a:cubicBezTo>
                <a:lnTo>
                  <a:pt x="368" y="158"/>
                </a:lnTo>
                <a:cubicBezTo>
                  <a:pt x="368" y="184"/>
                  <a:pt x="369" y="201"/>
                  <a:pt x="370" y="208"/>
                </a:cubicBezTo>
                <a:cubicBezTo>
                  <a:pt x="371" y="215"/>
                  <a:pt x="373" y="221"/>
                  <a:pt x="376" y="228"/>
                </a:cubicBezTo>
                <a:lnTo>
                  <a:pt x="349" y="228"/>
                </a:lnTo>
                <a:cubicBezTo>
                  <a:pt x="346" y="222"/>
                  <a:pt x="345" y="215"/>
                  <a:pt x="344" y="207"/>
                </a:cubicBezTo>
                <a:close/>
                <a:moveTo>
                  <a:pt x="342" y="145"/>
                </a:moveTo>
                <a:cubicBezTo>
                  <a:pt x="332" y="149"/>
                  <a:pt x="318" y="153"/>
                  <a:pt x="299" y="155"/>
                </a:cubicBezTo>
                <a:cubicBezTo>
                  <a:pt x="289" y="157"/>
                  <a:pt x="281" y="159"/>
                  <a:pt x="277" y="161"/>
                </a:cubicBezTo>
                <a:cubicBezTo>
                  <a:pt x="272" y="163"/>
                  <a:pt x="269" y="166"/>
                  <a:pt x="266" y="170"/>
                </a:cubicBezTo>
                <a:cubicBezTo>
                  <a:pt x="264" y="174"/>
                  <a:pt x="263" y="178"/>
                  <a:pt x="263" y="183"/>
                </a:cubicBezTo>
                <a:cubicBezTo>
                  <a:pt x="263" y="191"/>
                  <a:pt x="265" y="197"/>
                  <a:pt x="271" y="202"/>
                </a:cubicBezTo>
                <a:cubicBezTo>
                  <a:pt x="276" y="207"/>
                  <a:pt x="283" y="209"/>
                  <a:pt x="294" y="209"/>
                </a:cubicBezTo>
                <a:cubicBezTo>
                  <a:pt x="304" y="209"/>
                  <a:pt x="313" y="207"/>
                  <a:pt x="320" y="202"/>
                </a:cubicBezTo>
                <a:cubicBezTo>
                  <a:pt x="328" y="197"/>
                  <a:pt x="334" y="191"/>
                  <a:pt x="338" y="183"/>
                </a:cubicBezTo>
                <a:cubicBezTo>
                  <a:pt x="340" y="177"/>
                  <a:pt x="342" y="167"/>
                  <a:pt x="342" y="155"/>
                </a:cubicBezTo>
                <a:lnTo>
                  <a:pt x="342" y="145"/>
                </a:lnTo>
                <a:close/>
                <a:moveTo>
                  <a:pt x="408" y="228"/>
                </a:moveTo>
                <a:lnTo>
                  <a:pt x="408" y="63"/>
                </a:lnTo>
                <a:lnTo>
                  <a:pt x="431" y="63"/>
                </a:lnTo>
                <a:lnTo>
                  <a:pt x="431" y="88"/>
                </a:lnTo>
                <a:cubicBezTo>
                  <a:pt x="437" y="76"/>
                  <a:pt x="443" y="69"/>
                  <a:pt x="448" y="65"/>
                </a:cubicBezTo>
                <a:cubicBezTo>
                  <a:pt x="453" y="61"/>
                  <a:pt x="458" y="59"/>
                  <a:pt x="465" y="59"/>
                </a:cubicBezTo>
                <a:cubicBezTo>
                  <a:pt x="473" y="59"/>
                  <a:pt x="482" y="62"/>
                  <a:pt x="491" y="68"/>
                </a:cubicBezTo>
                <a:lnTo>
                  <a:pt x="482" y="94"/>
                </a:lnTo>
                <a:cubicBezTo>
                  <a:pt x="476" y="90"/>
                  <a:pt x="469" y="88"/>
                  <a:pt x="463" y="88"/>
                </a:cubicBezTo>
                <a:cubicBezTo>
                  <a:pt x="457" y="88"/>
                  <a:pt x="452" y="90"/>
                  <a:pt x="448" y="94"/>
                </a:cubicBezTo>
                <a:cubicBezTo>
                  <a:pt x="443" y="97"/>
                  <a:pt x="440" y="102"/>
                  <a:pt x="438" y="109"/>
                </a:cubicBezTo>
                <a:cubicBezTo>
                  <a:pt x="435" y="119"/>
                  <a:pt x="434" y="130"/>
                  <a:pt x="434" y="141"/>
                </a:cubicBezTo>
                <a:lnTo>
                  <a:pt x="434" y="228"/>
                </a:lnTo>
                <a:lnTo>
                  <a:pt x="408" y="228"/>
                </a:lnTo>
                <a:close/>
                <a:moveTo>
                  <a:pt x="507" y="228"/>
                </a:moveTo>
                <a:lnTo>
                  <a:pt x="507" y="0"/>
                </a:lnTo>
                <a:lnTo>
                  <a:pt x="533" y="0"/>
                </a:lnTo>
                <a:lnTo>
                  <a:pt x="533" y="130"/>
                </a:lnTo>
                <a:lnTo>
                  <a:pt x="594" y="63"/>
                </a:lnTo>
                <a:lnTo>
                  <a:pt x="628" y="63"/>
                </a:lnTo>
                <a:lnTo>
                  <a:pt x="569" y="124"/>
                </a:lnTo>
                <a:lnTo>
                  <a:pt x="634" y="228"/>
                </a:lnTo>
                <a:lnTo>
                  <a:pt x="602" y="228"/>
                </a:lnTo>
                <a:lnTo>
                  <a:pt x="551" y="143"/>
                </a:lnTo>
                <a:lnTo>
                  <a:pt x="533" y="162"/>
                </a:lnTo>
                <a:lnTo>
                  <a:pt x="533" y="228"/>
                </a:lnTo>
                <a:lnTo>
                  <a:pt x="507" y="228"/>
                </a:lnTo>
                <a:close/>
                <a:moveTo>
                  <a:pt x="753" y="174"/>
                </a:moveTo>
                <a:lnTo>
                  <a:pt x="780" y="178"/>
                </a:lnTo>
                <a:cubicBezTo>
                  <a:pt x="776" y="195"/>
                  <a:pt x="768" y="208"/>
                  <a:pt x="757" y="217"/>
                </a:cubicBezTo>
                <a:cubicBezTo>
                  <a:pt x="745" y="226"/>
                  <a:pt x="731" y="231"/>
                  <a:pt x="713" y="231"/>
                </a:cubicBezTo>
                <a:cubicBezTo>
                  <a:pt x="691" y="231"/>
                  <a:pt x="673" y="224"/>
                  <a:pt x="660" y="209"/>
                </a:cubicBezTo>
                <a:cubicBezTo>
                  <a:pt x="647" y="194"/>
                  <a:pt x="640" y="173"/>
                  <a:pt x="640" y="147"/>
                </a:cubicBezTo>
                <a:cubicBezTo>
                  <a:pt x="640" y="119"/>
                  <a:pt x="647" y="97"/>
                  <a:pt x="660" y="82"/>
                </a:cubicBezTo>
                <a:cubicBezTo>
                  <a:pt x="673" y="67"/>
                  <a:pt x="690" y="59"/>
                  <a:pt x="712" y="59"/>
                </a:cubicBezTo>
                <a:cubicBezTo>
                  <a:pt x="732" y="59"/>
                  <a:pt x="749" y="67"/>
                  <a:pt x="762" y="82"/>
                </a:cubicBezTo>
                <a:cubicBezTo>
                  <a:pt x="775" y="97"/>
                  <a:pt x="781" y="118"/>
                  <a:pt x="781" y="145"/>
                </a:cubicBezTo>
                <a:cubicBezTo>
                  <a:pt x="781" y="147"/>
                  <a:pt x="781" y="149"/>
                  <a:pt x="781" y="152"/>
                </a:cubicBezTo>
                <a:lnTo>
                  <a:pt x="667" y="152"/>
                </a:lnTo>
                <a:cubicBezTo>
                  <a:pt x="668" y="170"/>
                  <a:pt x="672" y="184"/>
                  <a:pt x="681" y="194"/>
                </a:cubicBezTo>
                <a:cubicBezTo>
                  <a:pt x="690" y="203"/>
                  <a:pt x="700" y="208"/>
                  <a:pt x="713" y="208"/>
                </a:cubicBezTo>
                <a:cubicBezTo>
                  <a:pt x="723" y="208"/>
                  <a:pt x="731" y="205"/>
                  <a:pt x="737" y="200"/>
                </a:cubicBezTo>
                <a:cubicBezTo>
                  <a:pt x="744" y="195"/>
                  <a:pt x="749" y="186"/>
                  <a:pt x="753" y="174"/>
                </a:cubicBezTo>
                <a:close/>
                <a:moveTo>
                  <a:pt x="668" y="129"/>
                </a:moveTo>
                <a:lnTo>
                  <a:pt x="754" y="129"/>
                </a:lnTo>
                <a:cubicBezTo>
                  <a:pt x="753" y="116"/>
                  <a:pt x="749" y="105"/>
                  <a:pt x="744" y="98"/>
                </a:cubicBezTo>
                <a:cubicBezTo>
                  <a:pt x="736" y="88"/>
                  <a:pt x="725" y="82"/>
                  <a:pt x="712" y="82"/>
                </a:cubicBezTo>
                <a:cubicBezTo>
                  <a:pt x="700" y="82"/>
                  <a:pt x="690" y="86"/>
                  <a:pt x="682" y="95"/>
                </a:cubicBezTo>
                <a:cubicBezTo>
                  <a:pt x="674" y="104"/>
                  <a:pt x="669" y="115"/>
                  <a:pt x="668" y="129"/>
                </a:cubicBezTo>
                <a:close/>
                <a:moveTo>
                  <a:pt x="870" y="203"/>
                </a:moveTo>
                <a:lnTo>
                  <a:pt x="873" y="227"/>
                </a:lnTo>
                <a:cubicBezTo>
                  <a:pt x="866" y="229"/>
                  <a:pt x="859" y="230"/>
                  <a:pt x="854" y="230"/>
                </a:cubicBezTo>
                <a:cubicBezTo>
                  <a:pt x="844" y="230"/>
                  <a:pt x="837" y="228"/>
                  <a:pt x="832" y="225"/>
                </a:cubicBezTo>
                <a:cubicBezTo>
                  <a:pt x="827" y="222"/>
                  <a:pt x="823" y="218"/>
                  <a:pt x="821" y="212"/>
                </a:cubicBezTo>
                <a:cubicBezTo>
                  <a:pt x="819" y="207"/>
                  <a:pt x="818" y="196"/>
                  <a:pt x="818" y="179"/>
                </a:cubicBezTo>
                <a:lnTo>
                  <a:pt x="818" y="84"/>
                </a:lnTo>
                <a:lnTo>
                  <a:pt x="798" y="84"/>
                </a:lnTo>
                <a:lnTo>
                  <a:pt x="798" y="63"/>
                </a:lnTo>
                <a:lnTo>
                  <a:pt x="818" y="63"/>
                </a:lnTo>
                <a:lnTo>
                  <a:pt x="818" y="22"/>
                </a:lnTo>
                <a:lnTo>
                  <a:pt x="844" y="5"/>
                </a:lnTo>
                <a:lnTo>
                  <a:pt x="844" y="63"/>
                </a:lnTo>
                <a:lnTo>
                  <a:pt x="870" y="63"/>
                </a:lnTo>
                <a:lnTo>
                  <a:pt x="870" y="84"/>
                </a:lnTo>
                <a:lnTo>
                  <a:pt x="844" y="84"/>
                </a:lnTo>
                <a:lnTo>
                  <a:pt x="844" y="181"/>
                </a:lnTo>
                <a:cubicBezTo>
                  <a:pt x="844" y="189"/>
                  <a:pt x="844" y="194"/>
                  <a:pt x="845" y="196"/>
                </a:cubicBezTo>
                <a:cubicBezTo>
                  <a:pt x="846" y="199"/>
                  <a:pt x="847" y="200"/>
                  <a:pt x="849" y="202"/>
                </a:cubicBezTo>
                <a:cubicBezTo>
                  <a:pt x="852" y="203"/>
                  <a:pt x="855" y="204"/>
                  <a:pt x="858" y="204"/>
                </a:cubicBezTo>
                <a:cubicBezTo>
                  <a:pt x="861" y="204"/>
                  <a:pt x="865" y="203"/>
                  <a:pt x="870" y="203"/>
                </a:cubicBezTo>
                <a:close/>
                <a:moveTo>
                  <a:pt x="895" y="32"/>
                </a:moveTo>
                <a:lnTo>
                  <a:pt x="895" y="0"/>
                </a:lnTo>
                <a:lnTo>
                  <a:pt x="921" y="0"/>
                </a:lnTo>
                <a:lnTo>
                  <a:pt x="921" y="32"/>
                </a:lnTo>
                <a:lnTo>
                  <a:pt x="895" y="32"/>
                </a:lnTo>
                <a:close/>
                <a:moveTo>
                  <a:pt x="895" y="228"/>
                </a:moveTo>
                <a:lnTo>
                  <a:pt x="895" y="63"/>
                </a:lnTo>
                <a:lnTo>
                  <a:pt x="921" y="63"/>
                </a:lnTo>
                <a:lnTo>
                  <a:pt x="921" y="228"/>
                </a:lnTo>
                <a:lnTo>
                  <a:pt x="895" y="228"/>
                </a:lnTo>
                <a:close/>
                <a:moveTo>
                  <a:pt x="961" y="228"/>
                </a:moveTo>
                <a:lnTo>
                  <a:pt x="961" y="63"/>
                </a:lnTo>
                <a:lnTo>
                  <a:pt x="984" y="63"/>
                </a:lnTo>
                <a:lnTo>
                  <a:pt x="984" y="86"/>
                </a:lnTo>
                <a:cubicBezTo>
                  <a:pt x="996" y="68"/>
                  <a:pt x="1012" y="59"/>
                  <a:pt x="1033" y="59"/>
                </a:cubicBezTo>
                <a:cubicBezTo>
                  <a:pt x="1043" y="59"/>
                  <a:pt x="1051" y="61"/>
                  <a:pt x="1059" y="65"/>
                </a:cubicBezTo>
                <a:cubicBezTo>
                  <a:pt x="1066" y="68"/>
                  <a:pt x="1072" y="73"/>
                  <a:pt x="1076" y="79"/>
                </a:cubicBezTo>
                <a:cubicBezTo>
                  <a:pt x="1080" y="84"/>
                  <a:pt x="1083" y="91"/>
                  <a:pt x="1084" y="99"/>
                </a:cubicBezTo>
                <a:cubicBezTo>
                  <a:pt x="1085" y="104"/>
                  <a:pt x="1086" y="113"/>
                  <a:pt x="1086" y="126"/>
                </a:cubicBezTo>
                <a:lnTo>
                  <a:pt x="1086" y="228"/>
                </a:lnTo>
                <a:lnTo>
                  <a:pt x="1060" y="228"/>
                </a:lnTo>
                <a:lnTo>
                  <a:pt x="1060" y="127"/>
                </a:lnTo>
                <a:cubicBezTo>
                  <a:pt x="1060" y="116"/>
                  <a:pt x="1059" y="108"/>
                  <a:pt x="1057" y="102"/>
                </a:cubicBezTo>
                <a:cubicBezTo>
                  <a:pt x="1055" y="96"/>
                  <a:pt x="1051" y="92"/>
                  <a:pt x="1046" y="88"/>
                </a:cubicBezTo>
                <a:cubicBezTo>
                  <a:pt x="1041" y="85"/>
                  <a:pt x="1035" y="83"/>
                  <a:pt x="1028" y="83"/>
                </a:cubicBezTo>
                <a:cubicBezTo>
                  <a:pt x="1017" y="83"/>
                  <a:pt x="1007" y="87"/>
                  <a:pt x="999" y="95"/>
                </a:cubicBezTo>
                <a:cubicBezTo>
                  <a:pt x="991" y="102"/>
                  <a:pt x="987" y="117"/>
                  <a:pt x="987" y="138"/>
                </a:cubicBezTo>
                <a:lnTo>
                  <a:pt x="987" y="228"/>
                </a:lnTo>
                <a:lnTo>
                  <a:pt x="961" y="228"/>
                </a:lnTo>
                <a:close/>
                <a:moveTo>
                  <a:pt x="1121" y="241"/>
                </a:moveTo>
                <a:lnTo>
                  <a:pt x="1146" y="245"/>
                </a:lnTo>
                <a:cubicBezTo>
                  <a:pt x="1147" y="253"/>
                  <a:pt x="1150" y="259"/>
                  <a:pt x="1155" y="263"/>
                </a:cubicBezTo>
                <a:cubicBezTo>
                  <a:pt x="1161" y="268"/>
                  <a:pt x="1170" y="271"/>
                  <a:pt x="1181" y="271"/>
                </a:cubicBezTo>
                <a:cubicBezTo>
                  <a:pt x="1193" y="271"/>
                  <a:pt x="1203" y="268"/>
                  <a:pt x="1209" y="263"/>
                </a:cubicBezTo>
                <a:cubicBezTo>
                  <a:pt x="1216" y="258"/>
                  <a:pt x="1220" y="251"/>
                  <a:pt x="1223" y="242"/>
                </a:cubicBezTo>
                <a:cubicBezTo>
                  <a:pt x="1224" y="236"/>
                  <a:pt x="1224" y="224"/>
                  <a:pt x="1224" y="206"/>
                </a:cubicBezTo>
                <a:cubicBezTo>
                  <a:pt x="1213" y="220"/>
                  <a:pt x="1199" y="228"/>
                  <a:pt x="1182" y="228"/>
                </a:cubicBezTo>
                <a:cubicBezTo>
                  <a:pt x="1161" y="228"/>
                  <a:pt x="1144" y="219"/>
                  <a:pt x="1133" y="203"/>
                </a:cubicBezTo>
                <a:cubicBezTo>
                  <a:pt x="1121" y="187"/>
                  <a:pt x="1116" y="167"/>
                  <a:pt x="1116" y="144"/>
                </a:cubicBezTo>
                <a:cubicBezTo>
                  <a:pt x="1116" y="129"/>
                  <a:pt x="1118" y="114"/>
                  <a:pt x="1123" y="101"/>
                </a:cubicBezTo>
                <a:cubicBezTo>
                  <a:pt x="1129" y="88"/>
                  <a:pt x="1136" y="77"/>
                  <a:pt x="1146" y="70"/>
                </a:cubicBezTo>
                <a:cubicBezTo>
                  <a:pt x="1157" y="63"/>
                  <a:pt x="1168" y="59"/>
                  <a:pt x="1182" y="59"/>
                </a:cubicBezTo>
                <a:cubicBezTo>
                  <a:pt x="1200" y="59"/>
                  <a:pt x="1215" y="67"/>
                  <a:pt x="1227" y="83"/>
                </a:cubicBezTo>
                <a:lnTo>
                  <a:pt x="1227" y="63"/>
                </a:lnTo>
                <a:lnTo>
                  <a:pt x="1251" y="63"/>
                </a:lnTo>
                <a:lnTo>
                  <a:pt x="1251" y="205"/>
                </a:lnTo>
                <a:cubicBezTo>
                  <a:pt x="1251" y="231"/>
                  <a:pt x="1248" y="249"/>
                  <a:pt x="1243" y="260"/>
                </a:cubicBezTo>
                <a:cubicBezTo>
                  <a:pt x="1239" y="270"/>
                  <a:pt x="1231" y="279"/>
                  <a:pt x="1220" y="285"/>
                </a:cubicBezTo>
                <a:cubicBezTo>
                  <a:pt x="1210" y="291"/>
                  <a:pt x="1197" y="294"/>
                  <a:pt x="1181" y="294"/>
                </a:cubicBezTo>
                <a:cubicBezTo>
                  <a:pt x="1163" y="294"/>
                  <a:pt x="1148" y="290"/>
                  <a:pt x="1137" y="281"/>
                </a:cubicBezTo>
                <a:cubicBezTo>
                  <a:pt x="1126" y="272"/>
                  <a:pt x="1120" y="259"/>
                  <a:pt x="1121" y="241"/>
                </a:cubicBezTo>
                <a:close/>
                <a:moveTo>
                  <a:pt x="1142" y="142"/>
                </a:moveTo>
                <a:cubicBezTo>
                  <a:pt x="1142" y="164"/>
                  <a:pt x="1146" y="180"/>
                  <a:pt x="1154" y="189"/>
                </a:cubicBezTo>
                <a:cubicBezTo>
                  <a:pt x="1162" y="199"/>
                  <a:pt x="1172" y="204"/>
                  <a:pt x="1184" y="204"/>
                </a:cubicBezTo>
                <a:cubicBezTo>
                  <a:pt x="1196" y="204"/>
                  <a:pt x="1206" y="199"/>
                  <a:pt x="1214" y="190"/>
                </a:cubicBezTo>
                <a:cubicBezTo>
                  <a:pt x="1222" y="180"/>
                  <a:pt x="1226" y="164"/>
                  <a:pt x="1226" y="143"/>
                </a:cubicBezTo>
                <a:cubicBezTo>
                  <a:pt x="1226" y="123"/>
                  <a:pt x="1222" y="108"/>
                  <a:pt x="1214" y="98"/>
                </a:cubicBezTo>
                <a:cubicBezTo>
                  <a:pt x="1206" y="88"/>
                  <a:pt x="1196" y="82"/>
                  <a:pt x="1184" y="82"/>
                </a:cubicBezTo>
                <a:cubicBezTo>
                  <a:pt x="1172" y="82"/>
                  <a:pt x="1162" y="87"/>
                  <a:pt x="1154" y="98"/>
                </a:cubicBezTo>
                <a:cubicBezTo>
                  <a:pt x="1146" y="108"/>
                  <a:pt x="1142" y="122"/>
                  <a:pt x="1142" y="14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4" name="Freeform 313">
            <a:extLst>
              <a:ext uri="{FF2B5EF4-FFF2-40B4-BE49-F238E27FC236}">
                <a16:creationId xmlns:a16="http://schemas.microsoft.com/office/drawing/2014/main" id="{21783297-FA80-43BC-AFCC-9C218D3CA84F}"/>
              </a:ext>
            </a:extLst>
          </p:cNvPr>
          <p:cNvSpPr>
            <a:spLocks noEditPoints="1"/>
          </p:cNvSpPr>
          <p:nvPr/>
        </p:nvSpPr>
        <p:spPr bwMode="auto">
          <a:xfrm>
            <a:off x="4300538" y="3030538"/>
            <a:ext cx="423863" cy="200025"/>
          </a:xfrm>
          <a:custGeom>
            <a:avLst/>
            <a:gdLst>
              <a:gd name="T0" fmla="*/ 399 w 1177"/>
              <a:gd name="T1" fmla="*/ 205 h 553"/>
              <a:gd name="T2" fmla="*/ 0 w 1177"/>
              <a:gd name="T3" fmla="*/ 476 h 553"/>
              <a:gd name="T4" fmla="*/ 89 w 1177"/>
              <a:gd name="T5" fmla="*/ 526 h 553"/>
              <a:gd name="T6" fmla="*/ 136 w 1177"/>
              <a:gd name="T7" fmla="*/ 469 h 553"/>
              <a:gd name="T8" fmla="*/ 16 w 1177"/>
              <a:gd name="T9" fmla="*/ 409 h 553"/>
              <a:gd name="T10" fmla="*/ 83 w 1177"/>
              <a:gd name="T11" fmla="*/ 318 h 553"/>
              <a:gd name="T12" fmla="*/ 136 w 1177"/>
              <a:gd name="T13" fmla="*/ 388 h 553"/>
              <a:gd name="T14" fmla="*/ 35 w 1177"/>
              <a:gd name="T15" fmla="*/ 379 h 553"/>
              <a:gd name="T16" fmla="*/ 160 w 1177"/>
              <a:gd name="T17" fmla="*/ 453 h 553"/>
              <a:gd name="T18" fmla="*/ 91 w 1177"/>
              <a:gd name="T19" fmla="*/ 553 h 553"/>
              <a:gd name="T20" fmla="*/ 304 w 1177"/>
              <a:gd name="T21" fmla="*/ 489 h 553"/>
              <a:gd name="T22" fmla="*/ 215 w 1177"/>
              <a:gd name="T23" fmla="*/ 530 h 553"/>
              <a:gd name="T24" fmla="*/ 266 w 1177"/>
              <a:gd name="T25" fmla="*/ 381 h 553"/>
              <a:gd name="T26" fmla="*/ 289 w 1177"/>
              <a:gd name="T27" fmla="*/ 412 h 553"/>
              <a:gd name="T28" fmla="*/ 234 w 1177"/>
              <a:gd name="T29" fmla="*/ 515 h 553"/>
              <a:gd name="T30" fmla="*/ 352 w 1177"/>
              <a:gd name="T31" fmla="*/ 353 h 553"/>
              <a:gd name="T32" fmla="*/ 352 w 1177"/>
              <a:gd name="T33" fmla="*/ 353 h 553"/>
              <a:gd name="T34" fmla="*/ 378 w 1177"/>
              <a:gd name="T35" fmla="*/ 549 h 553"/>
              <a:gd name="T36" fmla="*/ 525 w 1177"/>
              <a:gd name="T37" fmla="*/ 539 h 553"/>
              <a:gd name="T38" fmla="*/ 429 w 1177"/>
              <a:gd name="T39" fmla="*/ 404 h 553"/>
              <a:gd name="T40" fmla="*/ 550 w 1177"/>
              <a:gd name="T41" fmla="*/ 474 h 553"/>
              <a:gd name="T42" fmla="*/ 506 w 1177"/>
              <a:gd name="T43" fmla="*/ 522 h 553"/>
              <a:gd name="T44" fmla="*/ 513 w 1177"/>
              <a:gd name="T45" fmla="*/ 420 h 553"/>
              <a:gd name="T46" fmla="*/ 582 w 1177"/>
              <a:gd name="T47" fmla="*/ 549 h 553"/>
              <a:gd name="T48" fmla="*/ 654 w 1177"/>
              <a:gd name="T49" fmla="*/ 381 h 553"/>
              <a:gd name="T50" fmla="*/ 706 w 1177"/>
              <a:gd name="T51" fmla="*/ 448 h 553"/>
              <a:gd name="T52" fmla="*/ 677 w 1177"/>
              <a:gd name="T53" fmla="*/ 423 h 553"/>
              <a:gd name="T54" fmla="*/ 608 w 1177"/>
              <a:gd name="T55" fmla="*/ 459 h 553"/>
              <a:gd name="T56" fmla="*/ 872 w 1177"/>
              <a:gd name="T57" fmla="*/ 492 h 553"/>
              <a:gd name="T58" fmla="*/ 739 w 1177"/>
              <a:gd name="T59" fmla="*/ 467 h 553"/>
              <a:gd name="T60" fmla="*/ 849 w 1177"/>
              <a:gd name="T61" fmla="*/ 394 h 553"/>
              <a:gd name="T62" fmla="*/ 810 w 1177"/>
              <a:gd name="T63" fmla="*/ 404 h 553"/>
              <a:gd name="T64" fmla="*/ 808 w 1177"/>
              <a:gd name="T65" fmla="*/ 530 h 553"/>
              <a:gd name="T66" fmla="*/ 1026 w 1177"/>
              <a:gd name="T67" fmla="*/ 499 h 553"/>
              <a:gd name="T68" fmla="*/ 886 w 1177"/>
              <a:gd name="T69" fmla="*/ 468 h 553"/>
              <a:gd name="T70" fmla="*/ 1027 w 1177"/>
              <a:gd name="T71" fmla="*/ 466 h 553"/>
              <a:gd name="T72" fmla="*/ 959 w 1177"/>
              <a:gd name="T73" fmla="*/ 530 h 553"/>
              <a:gd name="T74" fmla="*/ 999 w 1177"/>
              <a:gd name="T75" fmla="*/ 451 h 553"/>
              <a:gd name="T76" fmla="*/ 914 w 1177"/>
              <a:gd name="T77" fmla="*/ 451 h 553"/>
              <a:gd name="T78" fmla="*/ 1115 w 1177"/>
              <a:gd name="T79" fmla="*/ 530 h 553"/>
              <a:gd name="T80" fmla="*/ 1116 w 1177"/>
              <a:gd name="T81" fmla="*/ 479 h 553"/>
              <a:gd name="T82" fmla="*/ 1059 w 1177"/>
              <a:gd name="T83" fmla="*/ 408 h 553"/>
              <a:gd name="T84" fmla="*/ 1142 w 1177"/>
              <a:gd name="T85" fmla="*/ 386 h 553"/>
              <a:gd name="T86" fmla="*/ 1136 w 1177"/>
              <a:gd name="T87" fmla="*/ 411 h 553"/>
              <a:gd name="T88" fmla="*/ 1083 w 1177"/>
              <a:gd name="T89" fmla="*/ 435 h 553"/>
              <a:gd name="T90" fmla="*/ 1171 w 1177"/>
              <a:gd name="T91" fmla="*/ 477 h 553"/>
              <a:gd name="T92" fmla="*/ 1115 w 1177"/>
              <a:gd name="T93" fmla="*/ 552 h 553"/>
              <a:gd name="T94" fmla="*/ 534 w 1177"/>
              <a:gd name="T95" fmla="*/ 4 h 553"/>
              <a:gd name="T96" fmla="*/ 534 w 1177"/>
              <a:gd name="T97" fmla="*/ 231 h 553"/>
              <a:gd name="T98" fmla="*/ 534 w 1177"/>
              <a:gd name="T99" fmla="*/ 231 h 553"/>
              <a:gd name="T100" fmla="*/ 582 w 1177"/>
              <a:gd name="T101" fmla="*/ 67 h 553"/>
              <a:gd name="T102" fmla="*/ 621 w 1177"/>
              <a:gd name="T103" fmla="*/ 7 h 553"/>
              <a:gd name="T104" fmla="*/ 653 w 1177"/>
              <a:gd name="T105" fmla="*/ 26 h 553"/>
              <a:gd name="T106" fmla="*/ 661 w 1177"/>
              <a:gd name="T107" fmla="*/ 67 h 553"/>
              <a:gd name="T108" fmla="*/ 606 w 1177"/>
              <a:gd name="T109" fmla="*/ 231 h 553"/>
              <a:gd name="T110" fmla="*/ 738 w 1177"/>
              <a:gd name="T111" fmla="*/ 235 h 553"/>
              <a:gd name="T112" fmla="*/ 737 w 1177"/>
              <a:gd name="T113" fmla="*/ 63 h 553"/>
              <a:gd name="T114" fmla="*/ 692 w 1177"/>
              <a:gd name="T115" fmla="*/ 156 h 553"/>
              <a:gd name="T116" fmla="*/ 779 w 1177"/>
              <a:gd name="T117" fmla="*/ 178 h 553"/>
              <a:gd name="T118" fmla="*/ 737 w 1177"/>
              <a:gd name="T119" fmla="*/ 86 h 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177" h="553">
                <a:moveTo>
                  <a:pt x="371" y="231"/>
                </a:moveTo>
                <a:lnTo>
                  <a:pt x="371" y="4"/>
                </a:lnTo>
                <a:lnTo>
                  <a:pt x="399" y="4"/>
                </a:lnTo>
                <a:lnTo>
                  <a:pt x="399" y="205"/>
                </a:lnTo>
                <a:lnTo>
                  <a:pt x="503" y="205"/>
                </a:lnTo>
                <a:lnTo>
                  <a:pt x="503" y="231"/>
                </a:lnTo>
                <a:lnTo>
                  <a:pt x="371" y="231"/>
                </a:lnTo>
                <a:close/>
                <a:moveTo>
                  <a:pt x="0" y="476"/>
                </a:moveTo>
                <a:lnTo>
                  <a:pt x="27" y="473"/>
                </a:lnTo>
                <a:cubicBezTo>
                  <a:pt x="28" y="485"/>
                  <a:pt x="31" y="494"/>
                  <a:pt x="36" y="502"/>
                </a:cubicBezTo>
                <a:cubicBezTo>
                  <a:pt x="40" y="509"/>
                  <a:pt x="47" y="515"/>
                  <a:pt x="57" y="519"/>
                </a:cubicBezTo>
                <a:cubicBezTo>
                  <a:pt x="66" y="524"/>
                  <a:pt x="77" y="526"/>
                  <a:pt x="89" y="526"/>
                </a:cubicBezTo>
                <a:cubicBezTo>
                  <a:pt x="100" y="526"/>
                  <a:pt x="109" y="524"/>
                  <a:pt x="118" y="521"/>
                </a:cubicBezTo>
                <a:cubicBezTo>
                  <a:pt x="126" y="518"/>
                  <a:pt x="132" y="513"/>
                  <a:pt x="136" y="507"/>
                </a:cubicBezTo>
                <a:cubicBezTo>
                  <a:pt x="140" y="501"/>
                  <a:pt x="142" y="494"/>
                  <a:pt x="142" y="487"/>
                </a:cubicBezTo>
                <a:cubicBezTo>
                  <a:pt x="142" y="480"/>
                  <a:pt x="140" y="474"/>
                  <a:pt x="136" y="469"/>
                </a:cubicBezTo>
                <a:cubicBezTo>
                  <a:pt x="132" y="463"/>
                  <a:pt x="126" y="459"/>
                  <a:pt x="117" y="455"/>
                </a:cubicBezTo>
                <a:cubicBezTo>
                  <a:pt x="111" y="453"/>
                  <a:pt x="99" y="449"/>
                  <a:pt x="79" y="444"/>
                </a:cubicBezTo>
                <a:cubicBezTo>
                  <a:pt x="60" y="439"/>
                  <a:pt x="46" y="435"/>
                  <a:pt x="38" y="430"/>
                </a:cubicBezTo>
                <a:cubicBezTo>
                  <a:pt x="28" y="424"/>
                  <a:pt x="21" y="417"/>
                  <a:pt x="16" y="409"/>
                </a:cubicBezTo>
                <a:cubicBezTo>
                  <a:pt x="11" y="401"/>
                  <a:pt x="8" y="391"/>
                  <a:pt x="8" y="381"/>
                </a:cubicBezTo>
                <a:cubicBezTo>
                  <a:pt x="8" y="369"/>
                  <a:pt x="12" y="358"/>
                  <a:pt x="18" y="348"/>
                </a:cubicBezTo>
                <a:cubicBezTo>
                  <a:pt x="24" y="338"/>
                  <a:pt x="32" y="331"/>
                  <a:pt x="44" y="326"/>
                </a:cubicBezTo>
                <a:cubicBezTo>
                  <a:pt x="56" y="320"/>
                  <a:pt x="69" y="318"/>
                  <a:pt x="83" y="318"/>
                </a:cubicBezTo>
                <a:cubicBezTo>
                  <a:pt x="99" y="318"/>
                  <a:pt x="113" y="321"/>
                  <a:pt x="124" y="326"/>
                </a:cubicBezTo>
                <a:cubicBezTo>
                  <a:pt x="136" y="331"/>
                  <a:pt x="146" y="339"/>
                  <a:pt x="152" y="350"/>
                </a:cubicBezTo>
                <a:cubicBezTo>
                  <a:pt x="159" y="361"/>
                  <a:pt x="162" y="372"/>
                  <a:pt x="163" y="386"/>
                </a:cubicBezTo>
                <a:lnTo>
                  <a:pt x="136" y="388"/>
                </a:lnTo>
                <a:cubicBezTo>
                  <a:pt x="134" y="374"/>
                  <a:pt x="129" y="363"/>
                  <a:pt x="121" y="356"/>
                </a:cubicBezTo>
                <a:cubicBezTo>
                  <a:pt x="113" y="348"/>
                  <a:pt x="100" y="345"/>
                  <a:pt x="84" y="345"/>
                </a:cubicBezTo>
                <a:cubicBezTo>
                  <a:pt x="67" y="345"/>
                  <a:pt x="55" y="348"/>
                  <a:pt x="47" y="355"/>
                </a:cubicBezTo>
                <a:cubicBezTo>
                  <a:pt x="39" y="361"/>
                  <a:pt x="35" y="369"/>
                  <a:pt x="35" y="379"/>
                </a:cubicBezTo>
                <a:cubicBezTo>
                  <a:pt x="35" y="387"/>
                  <a:pt x="38" y="394"/>
                  <a:pt x="44" y="399"/>
                </a:cubicBezTo>
                <a:cubicBezTo>
                  <a:pt x="49" y="404"/>
                  <a:pt x="63" y="410"/>
                  <a:pt x="86" y="415"/>
                </a:cubicBezTo>
                <a:cubicBezTo>
                  <a:pt x="109" y="421"/>
                  <a:pt x="124" y="425"/>
                  <a:pt x="133" y="430"/>
                </a:cubicBezTo>
                <a:cubicBezTo>
                  <a:pt x="145" y="436"/>
                  <a:pt x="154" y="443"/>
                  <a:pt x="160" y="453"/>
                </a:cubicBezTo>
                <a:cubicBezTo>
                  <a:pt x="166" y="462"/>
                  <a:pt x="169" y="473"/>
                  <a:pt x="169" y="485"/>
                </a:cubicBezTo>
                <a:cubicBezTo>
                  <a:pt x="169" y="497"/>
                  <a:pt x="166" y="508"/>
                  <a:pt x="159" y="519"/>
                </a:cubicBezTo>
                <a:cubicBezTo>
                  <a:pt x="153" y="530"/>
                  <a:pt x="143" y="538"/>
                  <a:pt x="131" y="544"/>
                </a:cubicBezTo>
                <a:cubicBezTo>
                  <a:pt x="119" y="550"/>
                  <a:pt x="106" y="553"/>
                  <a:pt x="91" y="553"/>
                </a:cubicBezTo>
                <a:cubicBezTo>
                  <a:pt x="71" y="553"/>
                  <a:pt x="55" y="550"/>
                  <a:pt x="43" y="544"/>
                </a:cubicBezTo>
                <a:cubicBezTo>
                  <a:pt x="30" y="538"/>
                  <a:pt x="19" y="529"/>
                  <a:pt x="12" y="517"/>
                </a:cubicBezTo>
                <a:cubicBezTo>
                  <a:pt x="5" y="505"/>
                  <a:pt x="1" y="491"/>
                  <a:pt x="0" y="476"/>
                </a:cubicBezTo>
                <a:close/>
                <a:moveTo>
                  <a:pt x="304" y="489"/>
                </a:moveTo>
                <a:lnTo>
                  <a:pt x="329" y="492"/>
                </a:lnTo>
                <a:cubicBezTo>
                  <a:pt x="327" y="511"/>
                  <a:pt x="319" y="526"/>
                  <a:pt x="308" y="537"/>
                </a:cubicBezTo>
                <a:cubicBezTo>
                  <a:pt x="297" y="547"/>
                  <a:pt x="282" y="552"/>
                  <a:pt x="266" y="552"/>
                </a:cubicBezTo>
                <a:cubicBezTo>
                  <a:pt x="245" y="552"/>
                  <a:pt x="228" y="545"/>
                  <a:pt x="215" y="530"/>
                </a:cubicBezTo>
                <a:cubicBezTo>
                  <a:pt x="202" y="516"/>
                  <a:pt x="196" y="495"/>
                  <a:pt x="196" y="467"/>
                </a:cubicBezTo>
                <a:cubicBezTo>
                  <a:pt x="196" y="449"/>
                  <a:pt x="199" y="434"/>
                  <a:pt x="204" y="421"/>
                </a:cubicBezTo>
                <a:cubicBezTo>
                  <a:pt x="210" y="407"/>
                  <a:pt x="218" y="397"/>
                  <a:pt x="229" y="391"/>
                </a:cubicBezTo>
                <a:cubicBezTo>
                  <a:pt x="240" y="384"/>
                  <a:pt x="253" y="381"/>
                  <a:pt x="266" y="381"/>
                </a:cubicBezTo>
                <a:cubicBezTo>
                  <a:pt x="282" y="381"/>
                  <a:pt x="296" y="385"/>
                  <a:pt x="307" y="394"/>
                </a:cubicBezTo>
                <a:cubicBezTo>
                  <a:pt x="317" y="403"/>
                  <a:pt x="324" y="416"/>
                  <a:pt x="327" y="433"/>
                </a:cubicBezTo>
                <a:lnTo>
                  <a:pt x="302" y="437"/>
                </a:lnTo>
                <a:cubicBezTo>
                  <a:pt x="299" y="426"/>
                  <a:pt x="295" y="418"/>
                  <a:pt x="289" y="412"/>
                </a:cubicBezTo>
                <a:cubicBezTo>
                  <a:pt x="283" y="406"/>
                  <a:pt x="276" y="404"/>
                  <a:pt x="267" y="404"/>
                </a:cubicBezTo>
                <a:cubicBezTo>
                  <a:pt x="254" y="404"/>
                  <a:pt x="243" y="409"/>
                  <a:pt x="235" y="419"/>
                </a:cubicBezTo>
                <a:cubicBezTo>
                  <a:pt x="227" y="429"/>
                  <a:pt x="223" y="445"/>
                  <a:pt x="223" y="466"/>
                </a:cubicBezTo>
                <a:cubicBezTo>
                  <a:pt x="223" y="489"/>
                  <a:pt x="227" y="505"/>
                  <a:pt x="234" y="515"/>
                </a:cubicBezTo>
                <a:cubicBezTo>
                  <a:pt x="242" y="525"/>
                  <a:pt x="253" y="530"/>
                  <a:pt x="265" y="530"/>
                </a:cubicBezTo>
                <a:cubicBezTo>
                  <a:pt x="276" y="530"/>
                  <a:pt x="284" y="526"/>
                  <a:pt x="291" y="520"/>
                </a:cubicBezTo>
                <a:cubicBezTo>
                  <a:pt x="298" y="513"/>
                  <a:pt x="302" y="503"/>
                  <a:pt x="304" y="489"/>
                </a:cubicBezTo>
                <a:close/>
                <a:moveTo>
                  <a:pt x="352" y="353"/>
                </a:moveTo>
                <a:lnTo>
                  <a:pt x="352" y="322"/>
                </a:lnTo>
                <a:lnTo>
                  <a:pt x="378" y="322"/>
                </a:lnTo>
                <a:lnTo>
                  <a:pt x="378" y="353"/>
                </a:lnTo>
                <a:lnTo>
                  <a:pt x="352" y="353"/>
                </a:lnTo>
                <a:close/>
                <a:moveTo>
                  <a:pt x="352" y="549"/>
                </a:moveTo>
                <a:lnTo>
                  <a:pt x="352" y="384"/>
                </a:lnTo>
                <a:lnTo>
                  <a:pt x="378" y="384"/>
                </a:lnTo>
                <a:lnTo>
                  <a:pt x="378" y="549"/>
                </a:lnTo>
                <a:lnTo>
                  <a:pt x="352" y="549"/>
                </a:lnTo>
                <a:close/>
                <a:moveTo>
                  <a:pt x="522" y="496"/>
                </a:moveTo>
                <a:lnTo>
                  <a:pt x="549" y="499"/>
                </a:lnTo>
                <a:cubicBezTo>
                  <a:pt x="545" y="516"/>
                  <a:pt x="537" y="529"/>
                  <a:pt x="525" y="539"/>
                </a:cubicBezTo>
                <a:cubicBezTo>
                  <a:pt x="514" y="548"/>
                  <a:pt x="499" y="552"/>
                  <a:pt x="482" y="552"/>
                </a:cubicBezTo>
                <a:cubicBezTo>
                  <a:pt x="459" y="552"/>
                  <a:pt x="442" y="545"/>
                  <a:pt x="428" y="530"/>
                </a:cubicBezTo>
                <a:cubicBezTo>
                  <a:pt x="415" y="515"/>
                  <a:pt x="409" y="495"/>
                  <a:pt x="409" y="468"/>
                </a:cubicBezTo>
                <a:cubicBezTo>
                  <a:pt x="409" y="440"/>
                  <a:pt x="415" y="419"/>
                  <a:pt x="429" y="404"/>
                </a:cubicBezTo>
                <a:cubicBezTo>
                  <a:pt x="442" y="388"/>
                  <a:pt x="459" y="381"/>
                  <a:pt x="480" y="381"/>
                </a:cubicBezTo>
                <a:cubicBezTo>
                  <a:pt x="501" y="381"/>
                  <a:pt x="517" y="388"/>
                  <a:pt x="530" y="403"/>
                </a:cubicBezTo>
                <a:cubicBezTo>
                  <a:pt x="543" y="418"/>
                  <a:pt x="550" y="439"/>
                  <a:pt x="550" y="466"/>
                </a:cubicBezTo>
                <a:cubicBezTo>
                  <a:pt x="550" y="468"/>
                  <a:pt x="550" y="470"/>
                  <a:pt x="550" y="474"/>
                </a:cubicBezTo>
                <a:lnTo>
                  <a:pt x="435" y="474"/>
                </a:lnTo>
                <a:cubicBezTo>
                  <a:pt x="436" y="492"/>
                  <a:pt x="441" y="506"/>
                  <a:pt x="450" y="515"/>
                </a:cubicBezTo>
                <a:cubicBezTo>
                  <a:pt x="458" y="525"/>
                  <a:pt x="469" y="530"/>
                  <a:pt x="482" y="530"/>
                </a:cubicBezTo>
                <a:cubicBezTo>
                  <a:pt x="491" y="530"/>
                  <a:pt x="499" y="527"/>
                  <a:pt x="506" y="522"/>
                </a:cubicBezTo>
                <a:cubicBezTo>
                  <a:pt x="513" y="516"/>
                  <a:pt x="518" y="508"/>
                  <a:pt x="522" y="496"/>
                </a:cubicBezTo>
                <a:close/>
                <a:moveTo>
                  <a:pt x="437" y="451"/>
                </a:moveTo>
                <a:lnTo>
                  <a:pt x="522" y="451"/>
                </a:lnTo>
                <a:cubicBezTo>
                  <a:pt x="521" y="437"/>
                  <a:pt x="518" y="427"/>
                  <a:pt x="513" y="420"/>
                </a:cubicBezTo>
                <a:cubicBezTo>
                  <a:pt x="504" y="409"/>
                  <a:pt x="494" y="404"/>
                  <a:pt x="480" y="404"/>
                </a:cubicBezTo>
                <a:cubicBezTo>
                  <a:pt x="468" y="404"/>
                  <a:pt x="458" y="408"/>
                  <a:pt x="450" y="416"/>
                </a:cubicBezTo>
                <a:cubicBezTo>
                  <a:pt x="442" y="425"/>
                  <a:pt x="438" y="436"/>
                  <a:pt x="437" y="451"/>
                </a:cubicBezTo>
                <a:close/>
                <a:moveTo>
                  <a:pt x="582" y="549"/>
                </a:moveTo>
                <a:lnTo>
                  <a:pt x="582" y="384"/>
                </a:lnTo>
                <a:lnTo>
                  <a:pt x="605" y="384"/>
                </a:lnTo>
                <a:lnTo>
                  <a:pt x="605" y="408"/>
                </a:lnTo>
                <a:cubicBezTo>
                  <a:pt x="616" y="390"/>
                  <a:pt x="633" y="381"/>
                  <a:pt x="654" y="381"/>
                </a:cubicBezTo>
                <a:cubicBezTo>
                  <a:pt x="663" y="381"/>
                  <a:pt x="672" y="383"/>
                  <a:pt x="679" y="386"/>
                </a:cubicBezTo>
                <a:cubicBezTo>
                  <a:pt x="687" y="390"/>
                  <a:pt x="693" y="394"/>
                  <a:pt x="697" y="400"/>
                </a:cubicBezTo>
                <a:cubicBezTo>
                  <a:pt x="701" y="406"/>
                  <a:pt x="703" y="413"/>
                  <a:pt x="705" y="421"/>
                </a:cubicBezTo>
                <a:cubicBezTo>
                  <a:pt x="706" y="426"/>
                  <a:pt x="706" y="435"/>
                  <a:pt x="706" y="448"/>
                </a:cubicBezTo>
                <a:lnTo>
                  <a:pt x="706" y="549"/>
                </a:lnTo>
                <a:lnTo>
                  <a:pt x="680" y="549"/>
                </a:lnTo>
                <a:lnTo>
                  <a:pt x="680" y="449"/>
                </a:lnTo>
                <a:cubicBezTo>
                  <a:pt x="680" y="437"/>
                  <a:pt x="679" y="429"/>
                  <a:pt x="677" y="423"/>
                </a:cubicBezTo>
                <a:cubicBezTo>
                  <a:pt x="675" y="418"/>
                  <a:pt x="672" y="413"/>
                  <a:pt x="667" y="410"/>
                </a:cubicBezTo>
                <a:cubicBezTo>
                  <a:pt x="661" y="407"/>
                  <a:pt x="655" y="405"/>
                  <a:pt x="648" y="405"/>
                </a:cubicBezTo>
                <a:cubicBezTo>
                  <a:pt x="637" y="405"/>
                  <a:pt x="628" y="409"/>
                  <a:pt x="620" y="416"/>
                </a:cubicBezTo>
                <a:cubicBezTo>
                  <a:pt x="612" y="424"/>
                  <a:pt x="608" y="438"/>
                  <a:pt x="608" y="459"/>
                </a:cubicBezTo>
                <a:lnTo>
                  <a:pt x="608" y="549"/>
                </a:lnTo>
                <a:lnTo>
                  <a:pt x="582" y="549"/>
                </a:lnTo>
                <a:close/>
                <a:moveTo>
                  <a:pt x="847" y="489"/>
                </a:moveTo>
                <a:lnTo>
                  <a:pt x="872" y="492"/>
                </a:lnTo>
                <a:cubicBezTo>
                  <a:pt x="869" y="511"/>
                  <a:pt x="862" y="526"/>
                  <a:pt x="851" y="537"/>
                </a:cubicBezTo>
                <a:cubicBezTo>
                  <a:pt x="839" y="547"/>
                  <a:pt x="825" y="552"/>
                  <a:pt x="808" y="552"/>
                </a:cubicBezTo>
                <a:cubicBezTo>
                  <a:pt x="787" y="552"/>
                  <a:pt x="770" y="545"/>
                  <a:pt x="758" y="530"/>
                </a:cubicBezTo>
                <a:cubicBezTo>
                  <a:pt x="745" y="516"/>
                  <a:pt x="739" y="495"/>
                  <a:pt x="739" y="467"/>
                </a:cubicBezTo>
                <a:cubicBezTo>
                  <a:pt x="739" y="449"/>
                  <a:pt x="741" y="434"/>
                  <a:pt x="747" y="421"/>
                </a:cubicBezTo>
                <a:cubicBezTo>
                  <a:pt x="752" y="407"/>
                  <a:pt x="761" y="397"/>
                  <a:pt x="772" y="391"/>
                </a:cubicBezTo>
                <a:cubicBezTo>
                  <a:pt x="783" y="384"/>
                  <a:pt x="795" y="381"/>
                  <a:pt x="808" y="381"/>
                </a:cubicBezTo>
                <a:cubicBezTo>
                  <a:pt x="825" y="381"/>
                  <a:pt x="839" y="385"/>
                  <a:pt x="849" y="394"/>
                </a:cubicBezTo>
                <a:cubicBezTo>
                  <a:pt x="860" y="403"/>
                  <a:pt x="867" y="416"/>
                  <a:pt x="870" y="433"/>
                </a:cubicBezTo>
                <a:lnTo>
                  <a:pt x="845" y="437"/>
                </a:lnTo>
                <a:cubicBezTo>
                  <a:pt x="842" y="426"/>
                  <a:pt x="838" y="418"/>
                  <a:pt x="832" y="412"/>
                </a:cubicBezTo>
                <a:cubicBezTo>
                  <a:pt x="826" y="406"/>
                  <a:pt x="818" y="404"/>
                  <a:pt x="810" y="404"/>
                </a:cubicBezTo>
                <a:cubicBezTo>
                  <a:pt x="796" y="404"/>
                  <a:pt x="786" y="409"/>
                  <a:pt x="778" y="419"/>
                </a:cubicBezTo>
                <a:cubicBezTo>
                  <a:pt x="769" y="429"/>
                  <a:pt x="765" y="445"/>
                  <a:pt x="765" y="466"/>
                </a:cubicBezTo>
                <a:cubicBezTo>
                  <a:pt x="765" y="489"/>
                  <a:pt x="769" y="505"/>
                  <a:pt x="777" y="515"/>
                </a:cubicBezTo>
                <a:cubicBezTo>
                  <a:pt x="785" y="525"/>
                  <a:pt x="795" y="530"/>
                  <a:pt x="808" y="530"/>
                </a:cubicBezTo>
                <a:cubicBezTo>
                  <a:pt x="818" y="530"/>
                  <a:pt x="827" y="526"/>
                  <a:pt x="834" y="520"/>
                </a:cubicBezTo>
                <a:cubicBezTo>
                  <a:pt x="840" y="513"/>
                  <a:pt x="845" y="503"/>
                  <a:pt x="847" y="489"/>
                </a:cubicBezTo>
                <a:close/>
                <a:moveTo>
                  <a:pt x="999" y="496"/>
                </a:moveTo>
                <a:lnTo>
                  <a:pt x="1026" y="499"/>
                </a:lnTo>
                <a:cubicBezTo>
                  <a:pt x="1022" y="516"/>
                  <a:pt x="1014" y="529"/>
                  <a:pt x="1002" y="539"/>
                </a:cubicBezTo>
                <a:cubicBezTo>
                  <a:pt x="991" y="548"/>
                  <a:pt x="976" y="552"/>
                  <a:pt x="959" y="552"/>
                </a:cubicBezTo>
                <a:cubicBezTo>
                  <a:pt x="936" y="552"/>
                  <a:pt x="918" y="545"/>
                  <a:pt x="905" y="530"/>
                </a:cubicBezTo>
                <a:cubicBezTo>
                  <a:pt x="892" y="515"/>
                  <a:pt x="886" y="495"/>
                  <a:pt x="886" y="468"/>
                </a:cubicBezTo>
                <a:cubicBezTo>
                  <a:pt x="886" y="440"/>
                  <a:pt x="892" y="419"/>
                  <a:pt x="906" y="404"/>
                </a:cubicBezTo>
                <a:cubicBezTo>
                  <a:pt x="919" y="388"/>
                  <a:pt x="936" y="381"/>
                  <a:pt x="957" y="381"/>
                </a:cubicBezTo>
                <a:cubicBezTo>
                  <a:pt x="978" y="381"/>
                  <a:pt x="994" y="388"/>
                  <a:pt x="1007" y="403"/>
                </a:cubicBezTo>
                <a:cubicBezTo>
                  <a:pt x="1020" y="418"/>
                  <a:pt x="1027" y="439"/>
                  <a:pt x="1027" y="466"/>
                </a:cubicBezTo>
                <a:cubicBezTo>
                  <a:pt x="1027" y="468"/>
                  <a:pt x="1027" y="470"/>
                  <a:pt x="1027" y="474"/>
                </a:cubicBezTo>
                <a:lnTo>
                  <a:pt x="912" y="474"/>
                </a:lnTo>
                <a:cubicBezTo>
                  <a:pt x="913" y="492"/>
                  <a:pt x="918" y="506"/>
                  <a:pt x="927" y="515"/>
                </a:cubicBezTo>
                <a:cubicBezTo>
                  <a:pt x="935" y="525"/>
                  <a:pt x="946" y="530"/>
                  <a:pt x="959" y="530"/>
                </a:cubicBezTo>
                <a:cubicBezTo>
                  <a:pt x="968" y="530"/>
                  <a:pt x="976" y="527"/>
                  <a:pt x="983" y="522"/>
                </a:cubicBezTo>
                <a:cubicBezTo>
                  <a:pt x="990" y="516"/>
                  <a:pt x="995" y="508"/>
                  <a:pt x="999" y="496"/>
                </a:cubicBezTo>
                <a:close/>
                <a:moveTo>
                  <a:pt x="914" y="451"/>
                </a:moveTo>
                <a:lnTo>
                  <a:pt x="999" y="451"/>
                </a:lnTo>
                <a:cubicBezTo>
                  <a:pt x="998" y="437"/>
                  <a:pt x="995" y="427"/>
                  <a:pt x="989" y="420"/>
                </a:cubicBezTo>
                <a:cubicBezTo>
                  <a:pt x="981" y="409"/>
                  <a:pt x="970" y="404"/>
                  <a:pt x="957" y="404"/>
                </a:cubicBezTo>
                <a:cubicBezTo>
                  <a:pt x="945" y="404"/>
                  <a:pt x="935" y="408"/>
                  <a:pt x="927" y="416"/>
                </a:cubicBezTo>
                <a:cubicBezTo>
                  <a:pt x="919" y="425"/>
                  <a:pt x="915" y="436"/>
                  <a:pt x="914" y="451"/>
                </a:cubicBezTo>
                <a:close/>
                <a:moveTo>
                  <a:pt x="1050" y="500"/>
                </a:moveTo>
                <a:lnTo>
                  <a:pt x="1076" y="495"/>
                </a:lnTo>
                <a:cubicBezTo>
                  <a:pt x="1077" y="506"/>
                  <a:pt x="1081" y="515"/>
                  <a:pt x="1088" y="521"/>
                </a:cubicBezTo>
                <a:cubicBezTo>
                  <a:pt x="1094" y="527"/>
                  <a:pt x="1104" y="530"/>
                  <a:pt x="1115" y="530"/>
                </a:cubicBezTo>
                <a:cubicBezTo>
                  <a:pt x="1127" y="530"/>
                  <a:pt x="1136" y="527"/>
                  <a:pt x="1142" y="522"/>
                </a:cubicBezTo>
                <a:cubicBezTo>
                  <a:pt x="1148" y="517"/>
                  <a:pt x="1151" y="510"/>
                  <a:pt x="1151" y="503"/>
                </a:cubicBezTo>
                <a:cubicBezTo>
                  <a:pt x="1151" y="497"/>
                  <a:pt x="1148" y="492"/>
                  <a:pt x="1143" y="489"/>
                </a:cubicBezTo>
                <a:cubicBezTo>
                  <a:pt x="1139" y="486"/>
                  <a:pt x="1130" y="483"/>
                  <a:pt x="1116" y="479"/>
                </a:cubicBezTo>
                <a:cubicBezTo>
                  <a:pt x="1097" y="474"/>
                  <a:pt x="1084" y="470"/>
                  <a:pt x="1077" y="466"/>
                </a:cubicBezTo>
                <a:cubicBezTo>
                  <a:pt x="1069" y="462"/>
                  <a:pt x="1064" y="457"/>
                  <a:pt x="1060" y="450"/>
                </a:cubicBezTo>
                <a:cubicBezTo>
                  <a:pt x="1056" y="443"/>
                  <a:pt x="1054" y="436"/>
                  <a:pt x="1054" y="428"/>
                </a:cubicBezTo>
                <a:cubicBezTo>
                  <a:pt x="1054" y="421"/>
                  <a:pt x="1056" y="414"/>
                  <a:pt x="1059" y="408"/>
                </a:cubicBezTo>
                <a:cubicBezTo>
                  <a:pt x="1062" y="401"/>
                  <a:pt x="1066" y="396"/>
                  <a:pt x="1072" y="392"/>
                </a:cubicBezTo>
                <a:cubicBezTo>
                  <a:pt x="1076" y="389"/>
                  <a:pt x="1081" y="386"/>
                  <a:pt x="1088" y="384"/>
                </a:cubicBezTo>
                <a:cubicBezTo>
                  <a:pt x="1095" y="382"/>
                  <a:pt x="1103" y="381"/>
                  <a:pt x="1111" y="381"/>
                </a:cubicBezTo>
                <a:cubicBezTo>
                  <a:pt x="1123" y="381"/>
                  <a:pt x="1133" y="383"/>
                  <a:pt x="1142" y="386"/>
                </a:cubicBezTo>
                <a:cubicBezTo>
                  <a:pt x="1151" y="390"/>
                  <a:pt x="1158" y="395"/>
                  <a:pt x="1163" y="401"/>
                </a:cubicBezTo>
                <a:cubicBezTo>
                  <a:pt x="1167" y="408"/>
                  <a:pt x="1170" y="416"/>
                  <a:pt x="1171" y="427"/>
                </a:cubicBezTo>
                <a:lnTo>
                  <a:pt x="1146" y="431"/>
                </a:lnTo>
                <a:cubicBezTo>
                  <a:pt x="1145" y="422"/>
                  <a:pt x="1142" y="416"/>
                  <a:pt x="1136" y="411"/>
                </a:cubicBezTo>
                <a:cubicBezTo>
                  <a:pt x="1130" y="406"/>
                  <a:pt x="1123" y="404"/>
                  <a:pt x="1113" y="404"/>
                </a:cubicBezTo>
                <a:cubicBezTo>
                  <a:pt x="1101" y="404"/>
                  <a:pt x="1092" y="406"/>
                  <a:pt x="1087" y="410"/>
                </a:cubicBezTo>
                <a:cubicBezTo>
                  <a:pt x="1082" y="414"/>
                  <a:pt x="1079" y="419"/>
                  <a:pt x="1079" y="425"/>
                </a:cubicBezTo>
                <a:cubicBezTo>
                  <a:pt x="1079" y="428"/>
                  <a:pt x="1080" y="432"/>
                  <a:pt x="1083" y="435"/>
                </a:cubicBezTo>
                <a:cubicBezTo>
                  <a:pt x="1085" y="438"/>
                  <a:pt x="1088" y="440"/>
                  <a:pt x="1093" y="442"/>
                </a:cubicBezTo>
                <a:cubicBezTo>
                  <a:pt x="1095" y="443"/>
                  <a:pt x="1103" y="445"/>
                  <a:pt x="1115" y="449"/>
                </a:cubicBezTo>
                <a:cubicBezTo>
                  <a:pt x="1134" y="454"/>
                  <a:pt x="1147" y="459"/>
                  <a:pt x="1154" y="462"/>
                </a:cubicBezTo>
                <a:cubicBezTo>
                  <a:pt x="1161" y="465"/>
                  <a:pt x="1167" y="470"/>
                  <a:pt x="1171" y="477"/>
                </a:cubicBezTo>
                <a:cubicBezTo>
                  <a:pt x="1175" y="483"/>
                  <a:pt x="1177" y="491"/>
                  <a:pt x="1177" y="501"/>
                </a:cubicBezTo>
                <a:cubicBezTo>
                  <a:pt x="1177" y="510"/>
                  <a:pt x="1175" y="519"/>
                  <a:pt x="1170" y="527"/>
                </a:cubicBezTo>
                <a:cubicBezTo>
                  <a:pt x="1165" y="535"/>
                  <a:pt x="1157" y="541"/>
                  <a:pt x="1148" y="546"/>
                </a:cubicBezTo>
                <a:cubicBezTo>
                  <a:pt x="1138" y="550"/>
                  <a:pt x="1128" y="552"/>
                  <a:pt x="1115" y="552"/>
                </a:cubicBezTo>
                <a:cubicBezTo>
                  <a:pt x="1096" y="552"/>
                  <a:pt x="1080" y="548"/>
                  <a:pt x="1070" y="539"/>
                </a:cubicBezTo>
                <a:cubicBezTo>
                  <a:pt x="1059" y="530"/>
                  <a:pt x="1053" y="517"/>
                  <a:pt x="1050" y="500"/>
                </a:cubicBezTo>
                <a:close/>
                <a:moveTo>
                  <a:pt x="534" y="36"/>
                </a:moveTo>
                <a:lnTo>
                  <a:pt x="534" y="4"/>
                </a:lnTo>
                <a:lnTo>
                  <a:pt x="560" y="4"/>
                </a:lnTo>
                <a:lnTo>
                  <a:pt x="560" y="36"/>
                </a:lnTo>
                <a:lnTo>
                  <a:pt x="534" y="36"/>
                </a:lnTo>
                <a:close/>
                <a:moveTo>
                  <a:pt x="534" y="231"/>
                </a:moveTo>
                <a:lnTo>
                  <a:pt x="534" y="67"/>
                </a:lnTo>
                <a:lnTo>
                  <a:pt x="560" y="67"/>
                </a:lnTo>
                <a:lnTo>
                  <a:pt x="560" y="231"/>
                </a:lnTo>
                <a:lnTo>
                  <a:pt x="534" y="231"/>
                </a:lnTo>
                <a:close/>
                <a:moveTo>
                  <a:pt x="606" y="231"/>
                </a:moveTo>
                <a:lnTo>
                  <a:pt x="606" y="88"/>
                </a:lnTo>
                <a:lnTo>
                  <a:pt x="582" y="88"/>
                </a:lnTo>
                <a:lnTo>
                  <a:pt x="582" y="67"/>
                </a:lnTo>
                <a:lnTo>
                  <a:pt x="606" y="67"/>
                </a:lnTo>
                <a:lnTo>
                  <a:pt x="606" y="49"/>
                </a:lnTo>
                <a:cubicBezTo>
                  <a:pt x="606" y="38"/>
                  <a:pt x="606" y="30"/>
                  <a:pt x="608" y="25"/>
                </a:cubicBezTo>
                <a:cubicBezTo>
                  <a:pt x="611" y="17"/>
                  <a:pt x="615" y="12"/>
                  <a:pt x="621" y="7"/>
                </a:cubicBezTo>
                <a:cubicBezTo>
                  <a:pt x="628" y="3"/>
                  <a:pt x="637" y="0"/>
                  <a:pt x="648" y="0"/>
                </a:cubicBezTo>
                <a:cubicBezTo>
                  <a:pt x="655" y="0"/>
                  <a:pt x="663" y="1"/>
                  <a:pt x="672" y="3"/>
                </a:cubicBezTo>
                <a:lnTo>
                  <a:pt x="668" y="28"/>
                </a:lnTo>
                <a:cubicBezTo>
                  <a:pt x="663" y="27"/>
                  <a:pt x="658" y="26"/>
                  <a:pt x="653" y="26"/>
                </a:cubicBezTo>
                <a:cubicBezTo>
                  <a:pt x="645" y="26"/>
                  <a:pt x="639" y="28"/>
                  <a:pt x="636" y="31"/>
                </a:cubicBezTo>
                <a:cubicBezTo>
                  <a:pt x="633" y="35"/>
                  <a:pt x="631" y="42"/>
                  <a:pt x="631" y="52"/>
                </a:cubicBezTo>
                <a:lnTo>
                  <a:pt x="631" y="67"/>
                </a:lnTo>
                <a:lnTo>
                  <a:pt x="661" y="67"/>
                </a:lnTo>
                <a:lnTo>
                  <a:pt x="661" y="88"/>
                </a:lnTo>
                <a:lnTo>
                  <a:pt x="632" y="88"/>
                </a:lnTo>
                <a:lnTo>
                  <a:pt x="632" y="231"/>
                </a:lnTo>
                <a:lnTo>
                  <a:pt x="606" y="231"/>
                </a:lnTo>
                <a:close/>
                <a:moveTo>
                  <a:pt x="779" y="178"/>
                </a:moveTo>
                <a:lnTo>
                  <a:pt x="806" y="182"/>
                </a:lnTo>
                <a:cubicBezTo>
                  <a:pt x="802" y="199"/>
                  <a:pt x="794" y="212"/>
                  <a:pt x="782" y="221"/>
                </a:cubicBezTo>
                <a:cubicBezTo>
                  <a:pt x="771" y="230"/>
                  <a:pt x="756" y="235"/>
                  <a:pt x="738" y="235"/>
                </a:cubicBezTo>
                <a:cubicBezTo>
                  <a:pt x="716" y="235"/>
                  <a:pt x="698" y="228"/>
                  <a:pt x="685" y="213"/>
                </a:cubicBezTo>
                <a:cubicBezTo>
                  <a:pt x="672" y="198"/>
                  <a:pt x="666" y="177"/>
                  <a:pt x="666" y="150"/>
                </a:cubicBezTo>
                <a:cubicBezTo>
                  <a:pt x="666" y="123"/>
                  <a:pt x="672" y="101"/>
                  <a:pt x="685" y="86"/>
                </a:cubicBezTo>
                <a:cubicBezTo>
                  <a:pt x="699" y="71"/>
                  <a:pt x="716" y="63"/>
                  <a:pt x="737" y="63"/>
                </a:cubicBezTo>
                <a:cubicBezTo>
                  <a:pt x="758" y="63"/>
                  <a:pt x="774" y="71"/>
                  <a:pt x="787" y="86"/>
                </a:cubicBezTo>
                <a:cubicBezTo>
                  <a:pt x="800" y="101"/>
                  <a:pt x="807" y="122"/>
                  <a:pt x="807" y="149"/>
                </a:cubicBezTo>
                <a:cubicBezTo>
                  <a:pt x="807" y="150"/>
                  <a:pt x="807" y="153"/>
                  <a:pt x="807" y="156"/>
                </a:cubicBezTo>
                <a:lnTo>
                  <a:pt x="692" y="156"/>
                </a:lnTo>
                <a:cubicBezTo>
                  <a:pt x="693" y="174"/>
                  <a:pt x="698" y="188"/>
                  <a:pt x="706" y="198"/>
                </a:cubicBezTo>
                <a:cubicBezTo>
                  <a:pt x="715" y="207"/>
                  <a:pt x="726" y="212"/>
                  <a:pt x="738" y="212"/>
                </a:cubicBezTo>
                <a:cubicBezTo>
                  <a:pt x="748" y="212"/>
                  <a:pt x="756" y="209"/>
                  <a:pt x="763" y="204"/>
                </a:cubicBezTo>
                <a:cubicBezTo>
                  <a:pt x="770" y="199"/>
                  <a:pt x="775" y="190"/>
                  <a:pt x="779" y="178"/>
                </a:cubicBezTo>
                <a:close/>
                <a:moveTo>
                  <a:pt x="694" y="133"/>
                </a:moveTo>
                <a:lnTo>
                  <a:pt x="779" y="133"/>
                </a:lnTo>
                <a:cubicBezTo>
                  <a:pt x="778" y="120"/>
                  <a:pt x="775" y="109"/>
                  <a:pt x="769" y="102"/>
                </a:cubicBezTo>
                <a:cubicBezTo>
                  <a:pt x="761" y="91"/>
                  <a:pt x="750" y="86"/>
                  <a:pt x="737" y="86"/>
                </a:cubicBezTo>
                <a:cubicBezTo>
                  <a:pt x="725" y="86"/>
                  <a:pt x="715" y="90"/>
                  <a:pt x="707" y="99"/>
                </a:cubicBezTo>
                <a:cubicBezTo>
                  <a:pt x="699" y="108"/>
                  <a:pt x="695" y="119"/>
                  <a:pt x="694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5" name="Freeform 314">
            <a:extLst>
              <a:ext uri="{FF2B5EF4-FFF2-40B4-BE49-F238E27FC236}">
                <a16:creationId xmlns:a16="http://schemas.microsoft.com/office/drawing/2014/main" id="{A8C6B096-7B6C-4743-90DD-AD3FD98557A7}"/>
              </a:ext>
            </a:extLst>
          </p:cNvPr>
          <p:cNvSpPr>
            <a:spLocks noEditPoints="1"/>
          </p:cNvSpPr>
          <p:nvPr/>
        </p:nvSpPr>
        <p:spPr bwMode="auto">
          <a:xfrm>
            <a:off x="5153025" y="3032125"/>
            <a:ext cx="255588" cy="84138"/>
          </a:xfrm>
          <a:custGeom>
            <a:avLst/>
            <a:gdLst>
              <a:gd name="T0" fmla="*/ 0 w 709"/>
              <a:gd name="T1" fmla="*/ 0 h 231"/>
              <a:gd name="T2" fmla="*/ 137 w 709"/>
              <a:gd name="T3" fmla="*/ 6 h 231"/>
              <a:gd name="T4" fmla="*/ 169 w 709"/>
              <a:gd name="T5" fmla="*/ 62 h 231"/>
              <a:gd name="T6" fmla="*/ 109 w 709"/>
              <a:gd name="T7" fmla="*/ 124 h 231"/>
              <a:gd name="T8" fmla="*/ 149 w 709"/>
              <a:gd name="T9" fmla="*/ 166 h 231"/>
              <a:gd name="T10" fmla="*/ 151 w 709"/>
              <a:gd name="T11" fmla="*/ 227 h 231"/>
              <a:gd name="T12" fmla="*/ 103 w 709"/>
              <a:gd name="T13" fmla="*/ 149 h 231"/>
              <a:gd name="T14" fmla="*/ 76 w 709"/>
              <a:gd name="T15" fmla="*/ 128 h 231"/>
              <a:gd name="T16" fmla="*/ 28 w 709"/>
              <a:gd name="T17" fmla="*/ 127 h 231"/>
              <a:gd name="T18" fmla="*/ 0 w 709"/>
              <a:gd name="T19" fmla="*/ 227 h 231"/>
              <a:gd name="T20" fmla="*/ 88 w 709"/>
              <a:gd name="T21" fmla="*/ 100 h 231"/>
              <a:gd name="T22" fmla="*/ 134 w 709"/>
              <a:gd name="T23" fmla="*/ 83 h 231"/>
              <a:gd name="T24" fmla="*/ 129 w 709"/>
              <a:gd name="T25" fmla="*/ 36 h 231"/>
              <a:gd name="T26" fmla="*/ 28 w 709"/>
              <a:gd name="T27" fmla="*/ 25 h 231"/>
              <a:gd name="T28" fmla="*/ 310 w 709"/>
              <a:gd name="T29" fmla="*/ 174 h 231"/>
              <a:gd name="T30" fmla="*/ 313 w 709"/>
              <a:gd name="T31" fmla="*/ 217 h 231"/>
              <a:gd name="T32" fmla="*/ 216 w 709"/>
              <a:gd name="T33" fmla="*/ 209 h 231"/>
              <a:gd name="T34" fmla="*/ 216 w 709"/>
              <a:gd name="T35" fmla="*/ 82 h 231"/>
              <a:gd name="T36" fmla="*/ 318 w 709"/>
              <a:gd name="T37" fmla="*/ 82 h 231"/>
              <a:gd name="T38" fmla="*/ 338 w 709"/>
              <a:gd name="T39" fmla="*/ 152 h 231"/>
              <a:gd name="T40" fmla="*/ 238 w 709"/>
              <a:gd name="T41" fmla="*/ 194 h 231"/>
              <a:gd name="T42" fmla="*/ 294 w 709"/>
              <a:gd name="T43" fmla="*/ 200 h 231"/>
              <a:gd name="T44" fmla="*/ 225 w 709"/>
              <a:gd name="T45" fmla="*/ 129 h 231"/>
              <a:gd name="T46" fmla="*/ 300 w 709"/>
              <a:gd name="T47" fmla="*/ 98 h 231"/>
              <a:gd name="T48" fmla="*/ 238 w 709"/>
              <a:gd name="T49" fmla="*/ 95 h 231"/>
              <a:gd name="T50" fmla="*/ 426 w 709"/>
              <a:gd name="T51" fmla="*/ 203 h 231"/>
              <a:gd name="T52" fmla="*/ 410 w 709"/>
              <a:gd name="T53" fmla="*/ 230 h 231"/>
              <a:gd name="T54" fmla="*/ 377 w 709"/>
              <a:gd name="T55" fmla="*/ 212 h 231"/>
              <a:gd name="T56" fmla="*/ 374 w 709"/>
              <a:gd name="T57" fmla="*/ 84 h 231"/>
              <a:gd name="T58" fmla="*/ 355 w 709"/>
              <a:gd name="T59" fmla="*/ 63 h 231"/>
              <a:gd name="T60" fmla="*/ 374 w 709"/>
              <a:gd name="T61" fmla="*/ 22 h 231"/>
              <a:gd name="T62" fmla="*/ 400 w 709"/>
              <a:gd name="T63" fmla="*/ 63 h 231"/>
              <a:gd name="T64" fmla="*/ 426 w 709"/>
              <a:gd name="T65" fmla="*/ 84 h 231"/>
              <a:gd name="T66" fmla="*/ 400 w 709"/>
              <a:gd name="T67" fmla="*/ 181 h 231"/>
              <a:gd name="T68" fmla="*/ 406 w 709"/>
              <a:gd name="T69" fmla="*/ 202 h 231"/>
              <a:gd name="T70" fmla="*/ 426 w 709"/>
              <a:gd name="T71" fmla="*/ 203 h 231"/>
              <a:gd name="T72" fmla="*/ 526 w 709"/>
              <a:gd name="T73" fmla="*/ 226 h 231"/>
              <a:gd name="T74" fmla="*/ 458 w 709"/>
              <a:gd name="T75" fmla="*/ 218 h 231"/>
              <a:gd name="T76" fmla="*/ 450 w 709"/>
              <a:gd name="T77" fmla="*/ 162 h 231"/>
              <a:gd name="T78" fmla="*/ 482 w 709"/>
              <a:gd name="T79" fmla="*/ 137 h 231"/>
              <a:gd name="T80" fmla="*/ 551 w 709"/>
              <a:gd name="T81" fmla="*/ 123 h 231"/>
              <a:gd name="T82" fmla="*/ 544 w 709"/>
              <a:gd name="T83" fmla="*/ 92 h 231"/>
              <a:gd name="T84" fmla="*/ 487 w 709"/>
              <a:gd name="T85" fmla="*/ 89 h 231"/>
              <a:gd name="T86" fmla="*/ 449 w 709"/>
              <a:gd name="T87" fmla="*/ 110 h 231"/>
              <a:gd name="T88" fmla="*/ 483 w 709"/>
              <a:gd name="T89" fmla="*/ 65 h 231"/>
              <a:gd name="T90" fmla="*/ 550 w 709"/>
              <a:gd name="T91" fmla="*/ 64 h 231"/>
              <a:gd name="T92" fmla="*/ 577 w 709"/>
              <a:gd name="T93" fmla="*/ 96 h 231"/>
              <a:gd name="T94" fmla="*/ 578 w 709"/>
              <a:gd name="T95" fmla="*/ 158 h 231"/>
              <a:gd name="T96" fmla="*/ 586 w 709"/>
              <a:gd name="T97" fmla="*/ 227 h 231"/>
              <a:gd name="T98" fmla="*/ 554 w 709"/>
              <a:gd name="T99" fmla="*/ 207 h 231"/>
              <a:gd name="T100" fmla="*/ 509 w 709"/>
              <a:gd name="T101" fmla="*/ 155 h 231"/>
              <a:gd name="T102" fmla="*/ 476 w 709"/>
              <a:gd name="T103" fmla="*/ 170 h 231"/>
              <a:gd name="T104" fmla="*/ 480 w 709"/>
              <a:gd name="T105" fmla="*/ 202 h 231"/>
              <a:gd name="T106" fmla="*/ 530 w 709"/>
              <a:gd name="T107" fmla="*/ 202 h 231"/>
              <a:gd name="T108" fmla="*/ 551 w 709"/>
              <a:gd name="T109" fmla="*/ 155 h 231"/>
              <a:gd name="T110" fmla="*/ 618 w 709"/>
              <a:gd name="T111" fmla="*/ 32 h 231"/>
              <a:gd name="T112" fmla="*/ 644 w 709"/>
              <a:gd name="T113" fmla="*/ 0 h 231"/>
              <a:gd name="T114" fmla="*/ 618 w 709"/>
              <a:gd name="T115" fmla="*/ 32 h 231"/>
              <a:gd name="T116" fmla="*/ 618 w 709"/>
              <a:gd name="T117" fmla="*/ 63 h 231"/>
              <a:gd name="T118" fmla="*/ 644 w 709"/>
              <a:gd name="T119" fmla="*/ 227 h 231"/>
              <a:gd name="T120" fmla="*/ 683 w 709"/>
              <a:gd name="T121" fmla="*/ 227 h 231"/>
              <a:gd name="T122" fmla="*/ 709 w 709"/>
              <a:gd name="T123" fmla="*/ 0 h 231"/>
              <a:gd name="T124" fmla="*/ 683 w 709"/>
              <a:gd name="T125" fmla="*/ 227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09" h="231">
                <a:moveTo>
                  <a:pt x="0" y="227"/>
                </a:moveTo>
                <a:lnTo>
                  <a:pt x="0" y="0"/>
                </a:lnTo>
                <a:lnTo>
                  <a:pt x="94" y="0"/>
                </a:lnTo>
                <a:cubicBezTo>
                  <a:pt x="113" y="0"/>
                  <a:pt x="127" y="2"/>
                  <a:pt x="137" y="6"/>
                </a:cubicBezTo>
                <a:cubicBezTo>
                  <a:pt x="147" y="10"/>
                  <a:pt x="154" y="18"/>
                  <a:pt x="160" y="28"/>
                </a:cubicBezTo>
                <a:cubicBezTo>
                  <a:pt x="166" y="38"/>
                  <a:pt x="169" y="50"/>
                  <a:pt x="169" y="62"/>
                </a:cubicBezTo>
                <a:cubicBezTo>
                  <a:pt x="169" y="78"/>
                  <a:pt x="164" y="92"/>
                  <a:pt x="154" y="103"/>
                </a:cubicBezTo>
                <a:cubicBezTo>
                  <a:pt x="145" y="114"/>
                  <a:pt x="130" y="121"/>
                  <a:pt x="109" y="124"/>
                </a:cubicBezTo>
                <a:cubicBezTo>
                  <a:pt x="117" y="128"/>
                  <a:pt x="122" y="132"/>
                  <a:pt x="126" y="135"/>
                </a:cubicBezTo>
                <a:cubicBezTo>
                  <a:pt x="135" y="143"/>
                  <a:pt x="142" y="153"/>
                  <a:pt x="149" y="166"/>
                </a:cubicBezTo>
                <a:lnTo>
                  <a:pt x="186" y="227"/>
                </a:lnTo>
                <a:lnTo>
                  <a:pt x="151" y="227"/>
                </a:lnTo>
                <a:lnTo>
                  <a:pt x="123" y="180"/>
                </a:lnTo>
                <a:cubicBezTo>
                  <a:pt x="115" y="166"/>
                  <a:pt x="108" y="156"/>
                  <a:pt x="103" y="149"/>
                </a:cubicBezTo>
                <a:cubicBezTo>
                  <a:pt x="98" y="142"/>
                  <a:pt x="93" y="137"/>
                  <a:pt x="89" y="134"/>
                </a:cubicBezTo>
                <a:cubicBezTo>
                  <a:pt x="85" y="131"/>
                  <a:pt x="80" y="129"/>
                  <a:pt x="76" y="128"/>
                </a:cubicBezTo>
                <a:cubicBezTo>
                  <a:pt x="73" y="127"/>
                  <a:pt x="68" y="127"/>
                  <a:pt x="60" y="127"/>
                </a:cubicBezTo>
                <a:lnTo>
                  <a:pt x="28" y="127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28" y="100"/>
                </a:moveTo>
                <a:lnTo>
                  <a:pt x="88" y="100"/>
                </a:lnTo>
                <a:cubicBezTo>
                  <a:pt x="101" y="100"/>
                  <a:pt x="111" y="99"/>
                  <a:pt x="118" y="96"/>
                </a:cubicBezTo>
                <a:cubicBezTo>
                  <a:pt x="125" y="93"/>
                  <a:pt x="131" y="89"/>
                  <a:pt x="134" y="83"/>
                </a:cubicBezTo>
                <a:cubicBezTo>
                  <a:pt x="138" y="76"/>
                  <a:pt x="140" y="70"/>
                  <a:pt x="140" y="62"/>
                </a:cubicBezTo>
                <a:cubicBezTo>
                  <a:pt x="140" y="51"/>
                  <a:pt x="136" y="43"/>
                  <a:pt x="129" y="36"/>
                </a:cubicBezTo>
                <a:cubicBezTo>
                  <a:pt x="122" y="29"/>
                  <a:pt x="110" y="25"/>
                  <a:pt x="95" y="25"/>
                </a:cubicBezTo>
                <a:lnTo>
                  <a:pt x="28" y="25"/>
                </a:lnTo>
                <a:lnTo>
                  <a:pt x="28" y="100"/>
                </a:lnTo>
                <a:close/>
                <a:moveTo>
                  <a:pt x="310" y="174"/>
                </a:moveTo>
                <a:lnTo>
                  <a:pt x="337" y="178"/>
                </a:lnTo>
                <a:cubicBezTo>
                  <a:pt x="333" y="195"/>
                  <a:pt x="325" y="208"/>
                  <a:pt x="313" y="217"/>
                </a:cubicBezTo>
                <a:cubicBezTo>
                  <a:pt x="302" y="226"/>
                  <a:pt x="287" y="231"/>
                  <a:pt x="269" y="231"/>
                </a:cubicBezTo>
                <a:cubicBezTo>
                  <a:pt x="247" y="231"/>
                  <a:pt x="229" y="224"/>
                  <a:pt x="216" y="209"/>
                </a:cubicBezTo>
                <a:cubicBezTo>
                  <a:pt x="203" y="194"/>
                  <a:pt x="197" y="173"/>
                  <a:pt x="197" y="146"/>
                </a:cubicBezTo>
                <a:cubicBezTo>
                  <a:pt x="197" y="119"/>
                  <a:pt x="203" y="97"/>
                  <a:pt x="216" y="82"/>
                </a:cubicBezTo>
                <a:cubicBezTo>
                  <a:pt x="230" y="67"/>
                  <a:pt x="247" y="59"/>
                  <a:pt x="268" y="59"/>
                </a:cubicBezTo>
                <a:cubicBezTo>
                  <a:pt x="289" y="59"/>
                  <a:pt x="305" y="67"/>
                  <a:pt x="318" y="82"/>
                </a:cubicBezTo>
                <a:cubicBezTo>
                  <a:pt x="331" y="97"/>
                  <a:pt x="338" y="118"/>
                  <a:pt x="338" y="145"/>
                </a:cubicBezTo>
                <a:cubicBezTo>
                  <a:pt x="338" y="146"/>
                  <a:pt x="338" y="149"/>
                  <a:pt x="338" y="152"/>
                </a:cubicBezTo>
                <a:lnTo>
                  <a:pt x="223" y="152"/>
                </a:lnTo>
                <a:cubicBezTo>
                  <a:pt x="224" y="170"/>
                  <a:pt x="229" y="184"/>
                  <a:pt x="238" y="194"/>
                </a:cubicBezTo>
                <a:cubicBezTo>
                  <a:pt x="246" y="203"/>
                  <a:pt x="257" y="208"/>
                  <a:pt x="269" y="208"/>
                </a:cubicBezTo>
                <a:cubicBezTo>
                  <a:pt x="279" y="208"/>
                  <a:pt x="287" y="205"/>
                  <a:pt x="294" y="200"/>
                </a:cubicBezTo>
                <a:cubicBezTo>
                  <a:pt x="301" y="195"/>
                  <a:pt x="306" y="186"/>
                  <a:pt x="310" y="174"/>
                </a:cubicBezTo>
                <a:close/>
                <a:moveTo>
                  <a:pt x="225" y="129"/>
                </a:moveTo>
                <a:lnTo>
                  <a:pt x="310" y="129"/>
                </a:lnTo>
                <a:cubicBezTo>
                  <a:pt x="309" y="116"/>
                  <a:pt x="306" y="105"/>
                  <a:pt x="300" y="98"/>
                </a:cubicBezTo>
                <a:cubicBezTo>
                  <a:pt x="292" y="87"/>
                  <a:pt x="281" y="82"/>
                  <a:pt x="268" y="82"/>
                </a:cubicBezTo>
                <a:cubicBezTo>
                  <a:pt x="256" y="82"/>
                  <a:pt x="246" y="86"/>
                  <a:pt x="238" y="95"/>
                </a:cubicBezTo>
                <a:cubicBezTo>
                  <a:pt x="230" y="104"/>
                  <a:pt x="226" y="115"/>
                  <a:pt x="225" y="129"/>
                </a:cubicBezTo>
                <a:close/>
                <a:moveTo>
                  <a:pt x="426" y="203"/>
                </a:moveTo>
                <a:lnTo>
                  <a:pt x="430" y="227"/>
                </a:lnTo>
                <a:cubicBezTo>
                  <a:pt x="422" y="229"/>
                  <a:pt x="416" y="230"/>
                  <a:pt x="410" y="230"/>
                </a:cubicBezTo>
                <a:cubicBezTo>
                  <a:pt x="401" y="230"/>
                  <a:pt x="393" y="228"/>
                  <a:pt x="388" y="225"/>
                </a:cubicBezTo>
                <a:cubicBezTo>
                  <a:pt x="383" y="222"/>
                  <a:pt x="379" y="217"/>
                  <a:pt x="377" y="212"/>
                </a:cubicBezTo>
                <a:cubicBezTo>
                  <a:pt x="375" y="207"/>
                  <a:pt x="374" y="196"/>
                  <a:pt x="374" y="179"/>
                </a:cubicBezTo>
                <a:lnTo>
                  <a:pt x="374" y="84"/>
                </a:lnTo>
                <a:lnTo>
                  <a:pt x="355" y="84"/>
                </a:lnTo>
                <a:lnTo>
                  <a:pt x="355" y="63"/>
                </a:lnTo>
                <a:lnTo>
                  <a:pt x="374" y="63"/>
                </a:lnTo>
                <a:lnTo>
                  <a:pt x="374" y="22"/>
                </a:lnTo>
                <a:lnTo>
                  <a:pt x="400" y="5"/>
                </a:lnTo>
                <a:lnTo>
                  <a:pt x="400" y="63"/>
                </a:lnTo>
                <a:lnTo>
                  <a:pt x="426" y="63"/>
                </a:lnTo>
                <a:lnTo>
                  <a:pt x="426" y="84"/>
                </a:lnTo>
                <a:lnTo>
                  <a:pt x="400" y="84"/>
                </a:lnTo>
                <a:lnTo>
                  <a:pt x="400" y="181"/>
                </a:lnTo>
                <a:cubicBezTo>
                  <a:pt x="400" y="189"/>
                  <a:pt x="401" y="194"/>
                  <a:pt x="402" y="196"/>
                </a:cubicBezTo>
                <a:cubicBezTo>
                  <a:pt x="402" y="198"/>
                  <a:pt x="404" y="200"/>
                  <a:pt x="406" y="202"/>
                </a:cubicBezTo>
                <a:cubicBezTo>
                  <a:pt x="408" y="203"/>
                  <a:pt x="411" y="204"/>
                  <a:pt x="415" y="204"/>
                </a:cubicBezTo>
                <a:cubicBezTo>
                  <a:pt x="418" y="204"/>
                  <a:pt x="421" y="203"/>
                  <a:pt x="426" y="203"/>
                </a:cubicBezTo>
                <a:close/>
                <a:moveTo>
                  <a:pt x="554" y="207"/>
                </a:moveTo>
                <a:cubicBezTo>
                  <a:pt x="544" y="216"/>
                  <a:pt x="535" y="222"/>
                  <a:pt x="526" y="226"/>
                </a:cubicBezTo>
                <a:cubicBezTo>
                  <a:pt x="517" y="229"/>
                  <a:pt x="507" y="231"/>
                  <a:pt x="497" y="231"/>
                </a:cubicBezTo>
                <a:cubicBezTo>
                  <a:pt x="480" y="231"/>
                  <a:pt x="467" y="227"/>
                  <a:pt x="458" y="218"/>
                </a:cubicBezTo>
                <a:cubicBezTo>
                  <a:pt x="449" y="209"/>
                  <a:pt x="444" y="198"/>
                  <a:pt x="444" y="184"/>
                </a:cubicBezTo>
                <a:cubicBezTo>
                  <a:pt x="444" y="176"/>
                  <a:pt x="446" y="169"/>
                  <a:pt x="450" y="162"/>
                </a:cubicBezTo>
                <a:cubicBezTo>
                  <a:pt x="453" y="155"/>
                  <a:pt x="458" y="150"/>
                  <a:pt x="463" y="146"/>
                </a:cubicBezTo>
                <a:cubicBezTo>
                  <a:pt x="469" y="142"/>
                  <a:pt x="475" y="139"/>
                  <a:pt x="482" y="137"/>
                </a:cubicBezTo>
                <a:cubicBezTo>
                  <a:pt x="487" y="135"/>
                  <a:pt x="495" y="134"/>
                  <a:pt x="505" y="133"/>
                </a:cubicBezTo>
                <a:cubicBezTo>
                  <a:pt x="526" y="130"/>
                  <a:pt x="541" y="127"/>
                  <a:pt x="551" y="123"/>
                </a:cubicBezTo>
                <a:cubicBezTo>
                  <a:pt x="551" y="119"/>
                  <a:pt x="552" y="117"/>
                  <a:pt x="552" y="116"/>
                </a:cubicBezTo>
                <a:cubicBezTo>
                  <a:pt x="552" y="104"/>
                  <a:pt x="549" y="96"/>
                  <a:pt x="544" y="92"/>
                </a:cubicBezTo>
                <a:cubicBezTo>
                  <a:pt x="537" y="86"/>
                  <a:pt x="528" y="82"/>
                  <a:pt x="514" y="82"/>
                </a:cubicBezTo>
                <a:cubicBezTo>
                  <a:pt x="502" y="82"/>
                  <a:pt x="493" y="85"/>
                  <a:pt x="487" y="89"/>
                </a:cubicBezTo>
                <a:cubicBezTo>
                  <a:pt x="481" y="94"/>
                  <a:pt x="477" y="102"/>
                  <a:pt x="474" y="114"/>
                </a:cubicBezTo>
                <a:lnTo>
                  <a:pt x="449" y="110"/>
                </a:lnTo>
                <a:cubicBezTo>
                  <a:pt x="451" y="98"/>
                  <a:pt x="455" y="89"/>
                  <a:pt x="460" y="82"/>
                </a:cubicBezTo>
                <a:cubicBezTo>
                  <a:pt x="466" y="74"/>
                  <a:pt x="473" y="69"/>
                  <a:pt x="483" y="65"/>
                </a:cubicBezTo>
                <a:cubicBezTo>
                  <a:pt x="493" y="61"/>
                  <a:pt x="505" y="59"/>
                  <a:pt x="518" y="59"/>
                </a:cubicBezTo>
                <a:cubicBezTo>
                  <a:pt x="531" y="59"/>
                  <a:pt x="542" y="61"/>
                  <a:pt x="550" y="64"/>
                </a:cubicBezTo>
                <a:cubicBezTo>
                  <a:pt x="559" y="68"/>
                  <a:pt x="565" y="72"/>
                  <a:pt x="568" y="77"/>
                </a:cubicBezTo>
                <a:cubicBezTo>
                  <a:pt x="572" y="82"/>
                  <a:pt x="575" y="88"/>
                  <a:pt x="577" y="96"/>
                </a:cubicBezTo>
                <a:cubicBezTo>
                  <a:pt x="577" y="100"/>
                  <a:pt x="578" y="109"/>
                  <a:pt x="578" y="121"/>
                </a:cubicBezTo>
                <a:lnTo>
                  <a:pt x="578" y="158"/>
                </a:lnTo>
                <a:cubicBezTo>
                  <a:pt x="578" y="184"/>
                  <a:pt x="578" y="201"/>
                  <a:pt x="580" y="208"/>
                </a:cubicBezTo>
                <a:cubicBezTo>
                  <a:pt x="581" y="215"/>
                  <a:pt x="583" y="221"/>
                  <a:pt x="586" y="227"/>
                </a:cubicBezTo>
                <a:lnTo>
                  <a:pt x="559" y="227"/>
                </a:lnTo>
                <a:cubicBezTo>
                  <a:pt x="556" y="222"/>
                  <a:pt x="554" y="215"/>
                  <a:pt x="554" y="207"/>
                </a:cubicBezTo>
                <a:close/>
                <a:moveTo>
                  <a:pt x="552" y="145"/>
                </a:moveTo>
                <a:cubicBezTo>
                  <a:pt x="542" y="149"/>
                  <a:pt x="528" y="153"/>
                  <a:pt x="509" y="155"/>
                </a:cubicBezTo>
                <a:cubicBezTo>
                  <a:pt x="498" y="157"/>
                  <a:pt x="491" y="159"/>
                  <a:pt x="486" y="161"/>
                </a:cubicBezTo>
                <a:cubicBezTo>
                  <a:pt x="482" y="163"/>
                  <a:pt x="478" y="166"/>
                  <a:pt x="476" y="170"/>
                </a:cubicBezTo>
                <a:cubicBezTo>
                  <a:pt x="474" y="174"/>
                  <a:pt x="472" y="178"/>
                  <a:pt x="472" y="183"/>
                </a:cubicBezTo>
                <a:cubicBezTo>
                  <a:pt x="472" y="191"/>
                  <a:pt x="475" y="197"/>
                  <a:pt x="480" y="202"/>
                </a:cubicBezTo>
                <a:cubicBezTo>
                  <a:pt x="485" y="207"/>
                  <a:pt x="493" y="209"/>
                  <a:pt x="503" y="209"/>
                </a:cubicBezTo>
                <a:cubicBezTo>
                  <a:pt x="513" y="209"/>
                  <a:pt x="522" y="207"/>
                  <a:pt x="530" y="202"/>
                </a:cubicBezTo>
                <a:cubicBezTo>
                  <a:pt x="538" y="197"/>
                  <a:pt x="544" y="191"/>
                  <a:pt x="547" y="183"/>
                </a:cubicBezTo>
                <a:cubicBezTo>
                  <a:pt x="550" y="177"/>
                  <a:pt x="551" y="167"/>
                  <a:pt x="551" y="155"/>
                </a:cubicBezTo>
                <a:lnTo>
                  <a:pt x="552" y="145"/>
                </a:lnTo>
                <a:close/>
                <a:moveTo>
                  <a:pt x="618" y="32"/>
                </a:moveTo>
                <a:lnTo>
                  <a:pt x="618" y="0"/>
                </a:lnTo>
                <a:lnTo>
                  <a:pt x="644" y="0"/>
                </a:lnTo>
                <a:lnTo>
                  <a:pt x="644" y="32"/>
                </a:lnTo>
                <a:lnTo>
                  <a:pt x="618" y="32"/>
                </a:lnTo>
                <a:close/>
                <a:moveTo>
                  <a:pt x="618" y="227"/>
                </a:moveTo>
                <a:lnTo>
                  <a:pt x="618" y="63"/>
                </a:lnTo>
                <a:lnTo>
                  <a:pt x="644" y="63"/>
                </a:lnTo>
                <a:lnTo>
                  <a:pt x="644" y="227"/>
                </a:lnTo>
                <a:lnTo>
                  <a:pt x="618" y="227"/>
                </a:lnTo>
                <a:close/>
                <a:moveTo>
                  <a:pt x="683" y="227"/>
                </a:moveTo>
                <a:lnTo>
                  <a:pt x="683" y="0"/>
                </a:lnTo>
                <a:lnTo>
                  <a:pt x="709" y="0"/>
                </a:lnTo>
                <a:lnTo>
                  <a:pt x="709" y="227"/>
                </a:lnTo>
                <a:lnTo>
                  <a:pt x="683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6" name="Freeform 315">
            <a:extLst>
              <a:ext uri="{FF2B5EF4-FFF2-40B4-BE49-F238E27FC236}">
                <a16:creationId xmlns:a16="http://schemas.microsoft.com/office/drawing/2014/main" id="{714A32D9-7E17-430D-9453-99E5302E8C3A}"/>
              </a:ext>
            </a:extLst>
          </p:cNvPr>
          <p:cNvSpPr>
            <a:spLocks noEditPoints="1"/>
          </p:cNvSpPr>
          <p:nvPr/>
        </p:nvSpPr>
        <p:spPr bwMode="auto">
          <a:xfrm>
            <a:off x="5835650" y="3032125"/>
            <a:ext cx="406400" cy="84138"/>
          </a:xfrm>
          <a:custGeom>
            <a:avLst/>
            <a:gdLst>
              <a:gd name="T0" fmla="*/ 80 w 1128"/>
              <a:gd name="T1" fmla="*/ 0 h 231"/>
              <a:gd name="T2" fmla="*/ 155 w 1128"/>
              <a:gd name="T3" fmla="*/ 35 h 231"/>
              <a:gd name="T4" fmla="*/ 82 w 1128"/>
              <a:gd name="T5" fmla="*/ 135 h 231"/>
              <a:gd name="T6" fmla="*/ 0 w 1128"/>
              <a:gd name="T7" fmla="*/ 227 h 231"/>
              <a:gd name="T8" fmla="*/ 121 w 1128"/>
              <a:gd name="T9" fmla="*/ 97 h 231"/>
              <a:gd name="T10" fmla="*/ 108 w 1128"/>
              <a:gd name="T11" fmla="*/ 29 h 231"/>
              <a:gd name="T12" fmla="*/ 28 w 1128"/>
              <a:gd name="T13" fmla="*/ 108 h 231"/>
              <a:gd name="T14" fmla="*/ 217 w 1128"/>
              <a:gd name="T15" fmla="*/ 63 h 231"/>
              <a:gd name="T16" fmla="*/ 250 w 1128"/>
              <a:gd name="T17" fmla="*/ 59 h 231"/>
              <a:gd name="T18" fmla="*/ 249 w 1128"/>
              <a:gd name="T19" fmla="*/ 88 h 231"/>
              <a:gd name="T20" fmla="*/ 219 w 1128"/>
              <a:gd name="T21" fmla="*/ 141 h 231"/>
              <a:gd name="T22" fmla="*/ 278 w 1128"/>
              <a:gd name="T23" fmla="*/ 145 h 231"/>
              <a:gd name="T24" fmla="*/ 402 w 1128"/>
              <a:gd name="T25" fmla="*/ 81 h 231"/>
              <a:gd name="T26" fmla="*/ 387 w 1128"/>
              <a:gd name="T27" fmla="*/ 221 h 231"/>
              <a:gd name="T28" fmla="*/ 278 w 1128"/>
              <a:gd name="T29" fmla="*/ 145 h 231"/>
              <a:gd name="T30" fmla="*/ 350 w 1128"/>
              <a:gd name="T31" fmla="*/ 208 h 231"/>
              <a:gd name="T32" fmla="*/ 382 w 1128"/>
              <a:gd name="T33" fmla="*/ 98 h 231"/>
              <a:gd name="T34" fmla="*/ 304 w 1128"/>
              <a:gd name="T35" fmla="*/ 145 h 231"/>
              <a:gd name="T36" fmla="*/ 508 w 1128"/>
              <a:gd name="T37" fmla="*/ 231 h 231"/>
              <a:gd name="T38" fmla="*/ 442 w 1128"/>
              <a:gd name="T39" fmla="*/ 145 h 231"/>
              <a:gd name="T40" fmla="*/ 507 w 1128"/>
              <a:gd name="T41" fmla="*/ 59 h 231"/>
              <a:gd name="T42" fmla="*/ 549 w 1128"/>
              <a:gd name="T43" fmla="*/ 0 h 231"/>
              <a:gd name="T44" fmla="*/ 551 w 1128"/>
              <a:gd name="T45" fmla="*/ 227 h 231"/>
              <a:gd name="T46" fmla="*/ 511 w 1128"/>
              <a:gd name="T47" fmla="*/ 208 h 231"/>
              <a:gd name="T48" fmla="*/ 540 w 1128"/>
              <a:gd name="T49" fmla="*/ 98 h 231"/>
              <a:gd name="T50" fmla="*/ 469 w 1128"/>
              <a:gd name="T51" fmla="*/ 145 h 231"/>
              <a:gd name="T52" fmla="*/ 668 w 1128"/>
              <a:gd name="T53" fmla="*/ 231 h 231"/>
              <a:gd name="T54" fmla="*/ 618 w 1128"/>
              <a:gd name="T55" fmla="*/ 191 h 231"/>
              <a:gd name="T56" fmla="*/ 642 w 1128"/>
              <a:gd name="T57" fmla="*/ 63 h 231"/>
              <a:gd name="T58" fmla="*/ 654 w 1128"/>
              <a:gd name="T59" fmla="*/ 201 h 231"/>
              <a:gd name="T60" fmla="*/ 710 w 1128"/>
              <a:gd name="T61" fmla="*/ 183 h 231"/>
              <a:gd name="T62" fmla="*/ 740 w 1128"/>
              <a:gd name="T63" fmla="*/ 63 h 231"/>
              <a:gd name="T64" fmla="*/ 881 w 1128"/>
              <a:gd name="T65" fmla="*/ 167 h 231"/>
              <a:gd name="T66" fmla="*/ 843 w 1128"/>
              <a:gd name="T67" fmla="*/ 231 h 231"/>
              <a:gd name="T68" fmla="*/ 782 w 1128"/>
              <a:gd name="T69" fmla="*/ 99 h 231"/>
              <a:gd name="T70" fmla="*/ 884 w 1128"/>
              <a:gd name="T71" fmla="*/ 73 h 231"/>
              <a:gd name="T72" fmla="*/ 867 w 1128"/>
              <a:gd name="T73" fmla="*/ 90 h 231"/>
              <a:gd name="T74" fmla="*/ 800 w 1128"/>
              <a:gd name="T75" fmla="*/ 145 h 231"/>
              <a:gd name="T76" fmla="*/ 868 w 1128"/>
              <a:gd name="T77" fmla="*/ 198 h 231"/>
              <a:gd name="T78" fmla="*/ 989 w 1128"/>
              <a:gd name="T79" fmla="*/ 227 h 231"/>
              <a:gd name="T80" fmla="*/ 937 w 1128"/>
              <a:gd name="T81" fmla="*/ 212 h 231"/>
              <a:gd name="T82" fmla="*/ 914 w 1128"/>
              <a:gd name="T83" fmla="*/ 84 h 231"/>
              <a:gd name="T84" fmla="*/ 934 w 1128"/>
              <a:gd name="T85" fmla="*/ 22 h 231"/>
              <a:gd name="T86" fmla="*/ 986 w 1128"/>
              <a:gd name="T87" fmla="*/ 63 h 231"/>
              <a:gd name="T88" fmla="*/ 960 w 1128"/>
              <a:gd name="T89" fmla="*/ 181 h 231"/>
              <a:gd name="T90" fmla="*/ 974 w 1128"/>
              <a:gd name="T91" fmla="*/ 204 h 231"/>
              <a:gd name="T92" fmla="*/ 1027 w 1128"/>
              <a:gd name="T93" fmla="*/ 174 h 231"/>
              <a:gd name="T94" fmla="*/ 1093 w 1128"/>
              <a:gd name="T95" fmla="*/ 200 h 231"/>
              <a:gd name="T96" fmla="*/ 1067 w 1128"/>
              <a:gd name="T97" fmla="*/ 158 h 231"/>
              <a:gd name="T98" fmla="*/ 1005 w 1128"/>
              <a:gd name="T99" fmla="*/ 107 h 231"/>
              <a:gd name="T100" fmla="*/ 1039 w 1128"/>
              <a:gd name="T101" fmla="*/ 63 h 231"/>
              <a:gd name="T102" fmla="*/ 1114 w 1128"/>
              <a:gd name="T103" fmla="*/ 80 h 231"/>
              <a:gd name="T104" fmla="*/ 1087 w 1128"/>
              <a:gd name="T105" fmla="*/ 89 h 231"/>
              <a:gd name="T106" fmla="*/ 1030 w 1128"/>
              <a:gd name="T107" fmla="*/ 103 h 231"/>
              <a:gd name="T108" fmla="*/ 1067 w 1128"/>
              <a:gd name="T109" fmla="*/ 128 h 231"/>
              <a:gd name="T110" fmla="*/ 1128 w 1128"/>
              <a:gd name="T111" fmla="*/ 179 h 231"/>
              <a:gd name="T112" fmla="*/ 1067 w 1128"/>
              <a:gd name="T113" fmla="*/ 231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128" h="231">
                <a:moveTo>
                  <a:pt x="0" y="227"/>
                </a:moveTo>
                <a:lnTo>
                  <a:pt x="0" y="0"/>
                </a:lnTo>
                <a:lnTo>
                  <a:pt x="80" y="0"/>
                </a:lnTo>
                <a:cubicBezTo>
                  <a:pt x="94" y="0"/>
                  <a:pt x="104" y="1"/>
                  <a:pt x="112" y="2"/>
                </a:cubicBezTo>
                <a:cubicBezTo>
                  <a:pt x="122" y="4"/>
                  <a:pt x="131" y="8"/>
                  <a:pt x="138" y="13"/>
                </a:cubicBezTo>
                <a:cubicBezTo>
                  <a:pt x="145" y="18"/>
                  <a:pt x="151" y="25"/>
                  <a:pt x="155" y="35"/>
                </a:cubicBezTo>
                <a:cubicBezTo>
                  <a:pt x="159" y="44"/>
                  <a:pt x="161" y="55"/>
                  <a:pt x="161" y="66"/>
                </a:cubicBezTo>
                <a:cubicBezTo>
                  <a:pt x="161" y="85"/>
                  <a:pt x="156" y="101"/>
                  <a:pt x="144" y="115"/>
                </a:cubicBezTo>
                <a:cubicBezTo>
                  <a:pt x="133" y="128"/>
                  <a:pt x="112" y="135"/>
                  <a:pt x="82" y="135"/>
                </a:cubicBezTo>
                <a:lnTo>
                  <a:pt x="28" y="135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28" y="108"/>
                </a:moveTo>
                <a:lnTo>
                  <a:pt x="82" y="108"/>
                </a:lnTo>
                <a:cubicBezTo>
                  <a:pt x="101" y="108"/>
                  <a:pt x="113" y="105"/>
                  <a:pt x="121" y="97"/>
                </a:cubicBezTo>
                <a:cubicBezTo>
                  <a:pt x="129" y="90"/>
                  <a:pt x="132" y="80"/>
                  <a:pt x="132" y="67"/>
                </a:cubicBezTo>
                <a:cubicBezTo>
                  <a:pt x="132" y="57"/>
                  <a:pt x="130" y="49"/>
                  <a:pt x="126" y="42"/>
                </a:cubicBezTo>
                <a:cubicBezTo>
                  <a:pt x="121" y="36"/>
                  <a:pt x="115" y="31"/>
                  <a:pt x="108" y="29"/>
                </a:cubicBezTo>
                <a:cubicBezTo>
                  <a:pt x="103" y="28"/>
                  <a:pt x="95" y="27"/>
                  <a:pt x="82" y="27"/>
                </a:cubicBezTo>
                <a:lnTo>
                  <a:pt x="28" y="27"/>
                </a:lnTo>
                <a:lnTo>
                  <a:pt x="28" y="108"/>
                </a:lnTo>
                <a:close/>
                <a:moveTo>
                  <a:pt x="193" y="227"/>
                </a:moveTo>
                <a:lnTo>
                  <a:pt x="193" y="63"/>
                </a:lnTo>
                <a:lnTo>
                  <a:pt x="217" y="63"/>
                </a:lnTo>
                <a:lnTo>
                  <a:pt x="217" y="88"/>
                </a:lnTo>
                <a:cubicBezTo>
                  <a:pt x="223" y="76"/>
                  <a:pt x="228" y="69"/>
                  <a:pt x="233" y="65"/>
                </a:cubicBezTo>
                <a:cubicBezTo>
                  <a:pt x="238" y="61"/>
                  <a:pt x="244" y="59"/>
                  <a:pt x="250" y="59"/>
                </a:cubicBezTo>
                <a:cubicBezTo>
                  <a:pt x="259" y="59"/>
                  <a:pt x="268" y="62"/>
                  <a:pt x="277" y="68"/>
                </a:cubicBezTo>
                <a:lnTo>
                  <a:pt x="267" y="94"/>
                </a:lnTo>
                <a:cubicBezTo>
                  <a:pt x="261" y="90"/>
                  <a:pt x="255" y="88"/>
                  <a:pt x="249" y="88"/>
                </a:cubicBezTo>
                <a:cubicBezTo>
                  <a:pt x="243" y="88"/>
                  <a:pt x="238" y="90"/>
                  <a:pt x="233" y="94"/>
                </a:cubicBezTo>
                <a:cubicBezTo>
                  <a:pt x="229" y="97"/>
                  <a:pt x="226" y="102"/>
                  <a:pt x="224" y="109"/>
                </a:cubicBezTo>
                <a:cubicBezTo>
                  <a:pt x="221" y="119"/>
                  <a:pt x="219" y="130"/>
                  <a:pt x="219" y="141"/>
                </a:cubicBezTo>
                <a:lnTo>
                  <a:pt x="219" y="227"/>
                </a:lnTo>
                <a:lnTo>
                  <a:pt x="193" y="227"/>
                </a:lnTo>
                <a:close/>
                <a:moveTo>
                  <a:pt x="278" y="145"/>
                </a:moveTo>
                <a:cubicBezTo>
                  <a:pt x="278" y="115"/>
                  <a:pt x="286" y="92"/>
                  <a:pt x="302" y="77"/>
                </a:cubicBezTo>
                <a:cubicBezTo>
                  <a:pt x="315" y="65"/>
                  <a:pt x="331" y="59"/>
                  <a:pt x="350" y="59"/>
                </a:cubicBezTo>
                <a:cubicBezTo>
                  <a:pt x="371" y="59"/>
                  <a:pt x="388" y="67"/>
                  <a:pt x="402" y="81"/>
                </a:cubicBezTo>
                <a:cubicBezTo>
                  <a:pt x="415" y="96"/>
                  <a:pt x="422" y="117"/>
                  <a:pt x="422" y="143"/>
                </a:cubicBezTo>
                <a:cubicBezTo>
                  <a:pt x="422" y="164"/>
                  <a:pt x="419" y="181"/>
                  <a:pt x="413" y="193"/>
                </a:cubicBezTo>
                <a:cubicBezTo>
                  <a:pt x="407" y="205"/>
                  <a:pt x="398" y="214"/>
                  <a:pt x="387" y="221"/>
                </a:cubicBezTo>
                <a:cubicBezTo>
                  <a:pt x="376" y="228"/>
                  <a:pt x="363" y="231"/>
                  <a:pt x="350" y="231"/>
                </a:cubicBezTo>
                <a:cubicBezTo>
                  <a:pt x="328" y="231"/>
                  <a:pt x="311" y="224"/>
                  <a:pt x="298" y="209"/>
                </a:cubicBezTo>
                <a:cubicBezTo>
                  <a:pt x="284" y="194"/>
                  <a:pt x="278" y="173"/>
                  <a:pt x="278" y="145"/>
                </a:cubicBezTo>
                <a:close/>
                <a:moveTo>
                  <a:pt x="304" y="145"/>
                </a:moveTo>
                <a:cubicBezTo>
                  <a:pt x="304" y="166"/>
                  <a:pt x="309" y="182"/>
                  <a:pt x="317" y="192"/>
                </a:cubicBezTo>
                <a:cubicBezTo>
                  <a:pt x="326" y="203"/>
                  <a:pt x="337" y="208"/>
                  <a:pt x="350" y="208"/>
                </a:cubicBezTo>
                <a:cubicBezTo>
                  <a:pt x="363" y="208"/>
                  <a:pt x="374" y="203"/>
                  <a:pt x="382" y="192"/>
                </a:cubicBezTo>
                <a:cubicBezTo>
                  <a:pt x="391" y="182"/>
                  <a:pt x="395" y="166"/>
                  <a:pt x="395" y="144"/>
                </a:cubicBezTo>
                <a:cubicBezTo>
                  <a:pt x="395" y="124"/>
                  <a:pt x="391" y="109"/>
                  <a:pt x="382" y="98"/>
                </a:cubicBezTo>
                <a:cubicBezTo>
                  <a:pt x="373" y="88"/>
                  <a:pt x="363" y="82"/>
                  <a:pt x="350" y="82"/>
                </a:cubicBezTo>
                <a:cubicBezTo>
                  <a:pt x="337" y="82"/>
                  <a:pt x="326" y="88"/>
                  <a:pt x="317" y="98"/>
                </a:cubicBezTo>
                <a:cubicBezTo>
                  <a:pt x="309" y="108"/>
                  <a:pt x="304" y="124"/>
                  <a:pt x="304" y="145"/>
                </a:cubicBezTo>
                <a:close/>
                <a:moveTo>
                  <a:pt x="551" y="227"/>
                </a:moveTo>
                <a:lnTo>
                  <a:pt x="551" y="207"/>
                </a:lnTo>
                <a:cubicBezTo>
                  <a:pt x="542" y="223"/>
                  <a:pt x="527" y="231"/>
                  <a:pt x="508" y="231"/>
                </a:cubicBezTo>
                <a:cubicBezTo>
                  <a:pt x="496" y="231"/>
                  <a:pt x="485" y="227"/>
                  <a:pt x="475" y="220"/>
                </a:cubicBezTo>
                <a:cubicBezTo>
                  <a:pt x="464" y="213"/>
                  <a:pt x="456" y="203"/>
                  <a:pt x="451" y="190"/>
                </a:cubicBezTo>
                <a:cubicBezTo>
                  <a:pt x="445" y="177"/>
                  <a:pt x="442" y="162"/>
                  <a:pt x="442" y="145"/>
                </a:cubicBezTo>
                <a:cubicBezTo>
                  <a:pt x="442" y="129"/>
                  <a:pt x="445" y="114"/>
                  <a:pt x="450" y="101"/>
                </a:cubicBezTo>
                <a:cubicBezTo>
                  <a:pt x="455" y="87"/>
                  <a:pt x="463" y="77"/>
                  <a:pt x="473" y="70"/>
                </a:cubicBezTo>
                <a:cubicBezTo>
                  <a:pt x="483" y="63"/>
                  <a:pt x="495" y="59"/>
                  <a:pt x="507" y="59"/>
                </a:cubicBezTo>
                <a:cubicBezTo>
                  <a:pt x="516" y="59"/>
                  <a:pt x="525" y="61"/>
                  <a:pt x="532" y="66"/>
                </a:cubicBezTo>
                <a:cubicBezTo>
                  <a:pt x="539" y="70"/>
                  <a:pt x="545" y="75"/>
                  <a:pt x="549" y="82"/>
                </a:cubicBezTo>
                <a:lnTo>
                  <a:pt x="549" y="0"/>
                </a:lnTo>
                <a:lnTo>
                  <a:pt x="575" y="0"/>
                </a:lnTo>
                <a:lnTo>
                  <a:pt x="575" y="227"/>
                </a:lnTo>
                <a:lnTo>
                  <a:pt x="551" y="227"/>
                </a:lnTo>
                <a:close/>
                <a:moveTo>
                  <a:pt x="469" y="145"/>
                </a:moveTo>
                <a:cubicBezTo>
                  <a:pt x="469" y="166"/>
                  <a:pt x="473" y="182"/>
                  <a:pt x="481" y="193"/>
                </a:cubicBezTo>
                <a:cubicBezTo>
                  <a:pt x="490" y="203"/>
                  <a:pt x="500" y="208"/>
                  <a:pt x="511" y="208"/>
                </a:cubicBezTo>
                <a:cubicBezTo>
                  <a:pt x="522" y="208"/>
                  <a:pt x="532" y="203"/>
                  <a:pt x="540" y="193"/>
                </a:cubicBezTo>
                <a:cubicBezTo>
                  <a:pt x="548" y="183"/>
                  <a:pt x="552" y="168"/>
                  <a:pt x="552" y="148"/>
                </a:cubicBezTo>
                <a:cubicBezTo>
                  <a:pt x="552" y="125"/>
                  <a:pt x="548" y="109"/>
                  <a:pt x="540" y="98"/>
                </a:cubicBezTo>
                <a:cubicBezTo>
                  <a:pt x="532" y="88"/>
                  <a:pt x="522" y="82"/>
                  <a:pt x="510" y="82"/>
                </a:cubicBezTo>
                <a:cubicBezTo>
                  <a:pt x="498" y="82"/>
                  <a:pt x="488" y="87"/>
                  <a:pt x="481" y="98"/>
                </a:cubicBezTo>
                <a:cubicBezTo>
                  <a:pt x="473" y="108"/>
                  <a:pt x="469" y="124"/>
                  <a:pt x="469" y="145"/>
                </a:cubicBezTo>
                <a:close/>
                <a:moveTo>
                  <a:pt x="717" y="227"/>
                </a:moveTo>
                <a:lnTo>
                  <a:pt x="717" y="203"/>
                </a:lnTo>
                <a:cubicBezTo>
                  <a:pt x="705" y="222"/>
                  <a:pt x="689" y="231"/>
                  <a:pt x="668" y="231"/>
                </a:cubicBezTo>
                <a:cubicBezTo>
                  <a:pt x="659" y="231"/>
                  <a:pt x="651" y="229"/>
                  <a:pt x="643" y="225"/>
                </a:cubicBezTo>
                <a:cubicBezTo>
                  <a:pt x="635" y="222"/>
                  <a:pt x="629" y="217"/>
                  <a:pt x="626" y="211"/>
                </a:cubicBezTo>
                <a:cubicBezTo>
                  <a:pt x="622" y="206"/>
                  <a:pt x="619" y="199"/>
                  <a:pt x="618" y="191"/>
                </a:cubicBezTo>
                <a:cubicBezTo>
                  <a:pt x="617" y="185"/>
                  <a:pt x="616" y="177"/>
                  <a:pt x="616" y="165"/>
                </a:cubicBezTo>
                <a:lnTo>
                  <a:pt x="616" y="63"/>
                </a:lnTo>
                <a:lnTo>
                  <a:pt x="642" y="63"/>
                </a:lnTo>
                <a:lnTo>
                  <a:pt x="642" y="154"/>
                </a:lnTo>
                <a:cubicBezTo>
                  <a:pt x="642" y="168"/>
                  <a:pt x="643" y="178"/>
                  <a:pt x="644" y="183"/>
                </a:cubicBezTo>
                <a:cubicBezTo>
                  <a:pt x="645" y="191"/>
                  <a:pt x="649" y="196"/>
                  <a:pt x="654" y="201"/>
                </a:cubicBezTo>
                <a:cubicBezTo>
                  <a:pt x="659" y="205"/>
                  <a:pt x="666" y="207"/>
                  <a:pt x="674" y="207"/>
                </a:cubicBezTo>
                <a:cubicBezTo>
                  <a:pt x="681" y="207"/>
                  <a:pt x="689" y="205"/>
                  <a:pt x="696" y="200"/>
                </a:cubicBezTo>
                <a:cubicBezTo>
                  <a:pt x="702" y="196"/>
                  <a:pt x="707" y="190"/>
                  <a:pt x="710" y="183"/>
                </a:cubicBezTo>
                <a:cubicBezTo>
                  <a:pt x="713" y="176"/>
                  <a:pt x="714" y="165"/>
                  <a:pt x="714" y="151"/>
                </a:cubicBezTo>
                <a:lnTo>
                  <a:pt x="714" y="63"/>
                </a:lnTo>
                <a:lnTo>
                  <a:pt x="740" y="63"/>
                </a:lnTo>
                <a:lnTo>
                  <a:pt x="740" y="227"/>
                </a:lnTo>
                <a:lnTo>
                  <a:pt x="717" y="227"/>
                </a:lnTo>
                <a:close/>
                <a:moveTo>
                  <a:pt x="881" y="167"/>
                </a:moveTo>
                <a:lnTo>
                  <a:pt x="907" y="171"/>
                </a:lnTo>
                <a:cubicBezTo>
                  <a:pt x="904" y="190"/>
                  <a:pt x="897" y="204"/>
                  <a:pt x="886" y="215"/>
                </a:cubicBezTo>
                <a:cubicBezTo>
                  <a:pt x="874" y="226"/>
                  <a:pt x="860" y="231"/>
                  <a:pt x="843" y="231"/>
                </a:cubicBezTo>
                <a:cubicBezTo>
                  <a:pt x="822" y="231"/>
                  <a:pt x="805" y="224"/>
                  <a:pt x="793" y="209"/>
                </a:cubicBezTo>
                <a:cubicBezTo>
                  <a:pt x="780" y="194"/>
                  <a:pt x="773" y="173"/>
                  <a:pt x="773" y="146"/>
                </a:cubicBezTo>
                <a:cubicBezTo>
                  <a:pt x="773" y="128"/>
                  <a:pt x="776" y="112"/>
                  <a:pt x="782" y="99"/>
                </a:cubicBezTo>
                <a:cubicBezTo>
                  <a:pt x="787" y="86"/>
                  <a:pt x="796" y="76"/>
                  <a:pt x="807" y="69"/>
                </a:cubicBezTo>
                <a:cubicBezTo>
                  <a:pt x="818" y="63"/>
                  <a:pt x="830" y="59"/>
                  <a:pt x="843" y="59"/>
                </a:cubicBezTo>
                <a:cubicBezTo>
                  <a:pt x="860" y="59"/>
                  <a:pt x="874" y="64"/>
                  <a:pt x="884" y="73"/>
                </a:cubicBezTo>
                <a:cubicBezTo>
                  <a:pt x="895" y="82"/>
                  <a:pt x="902" y="95"/>
                  <a:pt x="905" y="111"/>
                </a:cubicBezTo>
                <a:lnTo>
                  <a:pt x="879" y="115"/>
                </a:lnTo>
                <a:cubicBezTo>
                  <a:pt x="877" y="104"/>
                  <a:pt x="873" y="96"/>
                  <a:pt x="867" y="90"/>
                </a:cubicBezTo>
                <a:cubicBezTo>
                  <a:pt x="860" y="85"/>
                  <a:pt x="853" y="82"/>
                  <a:pt x="844" y="82"/>
                </a:cubicBezTo>
                <a:cubicBezTo>
                  <a:pt x="831" y="82"/>
                  <a:pt x="821" y="87"/>
                  <a:pt x="812" y="97"/>
                </a:cubicBezTo>
                <a:cubicBezTo>
                  <a:pt x="804" y="107"/>
                  <a:pt x="800" y="123"/>
                  <a:pt x="800" y="145"/>
                </a:cubicBezTo>
                <a:cubicBezTo>
                  <a:pt x="800" y="167"/>
                  <a:pt x="804" y="183"/>
                  <a:pt x="812" y="193"/>
                </a:cubicBezTo>
                <a:cubicBezTo>
                  <a:pt x="820" y="203"/>
                  <a:pt x="830" y="208"/>
                  <a:pt x="843" y="208"/>
                </a:cubicBezTo>
                <a:cubicBezTo>
                  <a:pt x="853" y="208"/>
                  <a:pt x="862" y="205"/>
                  <a:pt x="868" y="198"/>
                </a:cubicBezTo>
                <a:cubicBezTo>
                  <a:pt x="875" y="191"/>
                  <a:pt x="880" y="181"/>
                  <a:pt x="881" y="167"/>
                </a:cubicBezTo>
                <a:close/>
                <a:moveTo>
                  <a:pt x="986" y="203"/>
                </a:moveTo>
                <a:lnTo>
                  <a:pt x="989" y="227"/>
                </a:lnTo>
                <a:cubicBezTo>
                  <a:pt x="982" y="229"/>
                  <a:pt x="975" y="230"/>
                  <a:pt x="970" y="230"/>
                </a:cubicBezTo>
                <a:cubicBezTo>
                  <a:pt x="960" y="230"/>
                  <a:pt x="953" y="228"/>
                  <a:pt x="948" y="225"/>
                </a:cubicBezTo>
                <a:cubicBezTo>
                  <a:pt x="942" y="222"/>
                  <a:pt x="939" y="217"/>
                  <a:pt x="937" y="212"/>
                </a:cubicBezTo>
                <a:cubicBezTo>
                  <a:pt x="935" y="207"/>
                  <a:pt x="934" y="196"/>
                  <a:pt x="934" y="179"/>
                </a:cubicBezTo>
                <a:lnTo>
                  <a:pt x="934" y="84"/>
                </a:lnTo>
                <a:lnTo>
                  <a:pt x="914" y="84"/>
                </a:lnTo>
                <a:lnTo>
                  <a:pt x="914" y="63"/>
                </a:lnTo>
                <a:lnTo>
                  <a:pt x="934" y="63"/>
                </a:lnTo>
                <a:lnTo>
                  <a:pt x="934" y="22"/>
                </a:lnTo>
                <a:lnTo>
                  <a:pt x="960" y="5"/>
                </a:lnTo>
                <a:lnTo>
                  <a:pt x="960" y="63"/>
                </a:lnTo>
                <a:lnTo>
                  <a:pt x="986" y="63"/>
                </a:lnTo>
                <a:lnTo>
                  <a:pt x="986" y="84"/>
                </a:lnTo>
                <a:lnTo>
                  <a:pt x="960" y="84"/>
                </a:lnTo>
                <a:lnTo>
                  <a:pt x="960" y="181"/>
                </a:lnTo>
                <a:cubicBezTo>
                  <a:pt x="960" y="189"/>
                  <a:pt x="960" y="194"/>
                  <a:pt x="961" y="196"/>
                </a:cubicBezTo>
                <a:cubicBezTo>
                  <a:pt x="962" y="198"/>
                  <a:pt x="963" y="200"/>
                  <a:pt x="965" y="202"/>
                </a:cubicBezTo>
                <a:cubicBezTo>
                  <a:pt x="967" y="203"/>
                  <a:pt x="970" y="204"/>
                  <a:pt x="974" y="204"/>
                </a:cubicBezTo>
                <a:cubicBezTo>
                  <a:pt x="977" y="204"/>
                  <a:pt x="981" y="203"/>
                  <a:pt x="986" y="203"/>
                </a:cubicBezTo>
                <a:close/>
                <a:moveTo>
                  <a:pt x="1001" y="178"/>
                </a:moveTo>
                <a:lnTo>
                  <a:pt x="1027" y="174"/>
                </a:lnTo>
                <a:cubicBezTo>
                  <a:pt x="1028" y="185"/>
                  <a:pt x="1032" y="193"/>
                  <a:pt x="1039" y="199"/>
                </a:cubicBezTo>
                <a:cubicBezTo>
                  <a:pt x="1045" y="205"/>
                  <a:pt x="1055" y="208"/>
                  <a:pt x="1066" y="208"/>
                </a:cubicBezTo>
                <a:cubicBezTo>
                  <a:pt x="1078" y="208"/>
                  <a:pt x="1087" y="206"/>
                  <a:pt x="1093" y="200"/>
                </a:cubicBezTo>
                <a:cubicBezTo>
                  <a:pt x="1099" y="195"/>
                  <a:pt x="1102" y="189"/>
                  <a:pt x="1102" y="182"/>
                </a:cubicBezTo>
                <a:cubicBezTo>
                  <a:pt x="1102" y="176"/>
                  <a:pt x="1099" y="171"/>
                  <a:pt x="1094" y="167"/>
                </a:cubicBezTo>
                <a:cubicBezTo>
                  <a:pt x="1090" y="165"/>
                  <a:pt x="1081" y="161"/>
                  <a:pt x="1067" y="158"/>
                </a:cubicBezTo>
                <a:cubicBezTo>
                  <a:pt x="1048" y="152"/>
                  <a:pt x="1035" y="148"/>
                  <a:pt x="1028" y="144"/>
                </a:cubicBezTo>
                <a:cubicBezTo>
                  <a:pt x="1020" y="140"/>
                  <a:pt x="1015" y="135"/>
                  <a:pt x="1011" y="129"/>
                </a:cubicBezTo>
                <a:cubicBezTo>
                  <a:pt x="1007" y="122"/>
                  <a:pt x="1005" y="115"/>
                  <a:pt x="1005" y="107"/>
                </a:cubicBezTo>
                <a:cubicBezTo>
                  <a:pt x="1005" y="99"/>
                  <a:pt x="1007" y="92"/>
                  <a:pt x="1010" y="86"/>
                </a:cubicBezTo>
                <a:cubicBezTo>
                  <a:pt x="1013" y="80"/>
                  <a:pt x="1017" y="75"/>
                  <a:pt x="1023" y="71"/>
                </a:cubicBezTo>
                <a:cubicBezTo>
                  <a:pt x="1027" y="67"/>
                  <a:pt x="1032" y="65"/>
                  <a:pt x="1039" y="63"/>
                </a:cubicBezTo>
                <a:cubicBezTo>
                  <a:pt x="1046" y="60"/>
                  <a:pt x="1054" y="59"/>
                  <a:pt x="1062" y="59"/>
                </a:cubicBezTo>
                <a:cubicBezTo>
                  <a:pt x="1074" y="59"/>
                  <a:pt x="1084" y="61"/>
                  <a:pt x="1093" y="65"/>
                </a:cubicBezTo>
                <a:cubicBezTo>
                  <a:pt x="1103" y="69"/>
                  <a:pt x="1109" y="74"/>
                  <a:pt x="1114" y="80"/>
                </a:cubicBezTo>
                <a:cubicBezTo>
                  <a:pt x="1118" y="86"/>
                  <a:pt x="1121" y="95"/>
                  <a:pt x="1122" y="106"/>
                </a:cubicBezTo>
                <a:lnTo>
                  <a:pt x="1097" y="109"/>
                </a:lnTo>
                <a:cubicBezTo>
                  <a:pt x="1096" y="101"/>
                  <a:pt x="1093" y="94"/>
                  <a:pt x="1087" y="89"/>
                </a:cubicBezTo>
                <a:cubicBezTo>
                  <a:pt x="1082" y="84"/>
                  <a:pt x="1074" y="82"/>
                  <a:pt x="1064" y="82"/>
                </a:cubicBezTo>
                <a:cubicBezTo>
                  <a:pt x="1052" y="82"/>
                  <a:pt x="1043" y="84"/>
                  <a:pt x="1038" y="88"/>
                </a:cubicBezTo>
                <a:cubicBezTo>
                  <a:pt x="1033" y="93"/>
                  <a:pt x="1030" y="98"/>
                  <a:pt x="1030" y="103"/>
                </a:cubicBezTo>
                <a:cubicBezTo>
                  <a:pt x="1030" y="107"/>
                  <a:pt x="1032" y="110"/>
                  <a:pt x="1034" y="113"/>
                </a:cubicBezTo>
                <a:cubicBezTo>
                  <a:pt x="1036" y="116"/>
                  <a:pt x="1039" y="119"/>
                  <a:pt x="1044" y="120"/>
                </a:cubicBezTo>
                <a:cubicBezTo>
                  <a:pt x="1046" y="122"/>
                  <a:pt x="1054" y="124"/>
                  <a:pt x="1067" y="128"/>
                </a:cubicBezTo>
                <a:cubicBezTo>
                  <a:pt x="1085" y="133"/>
                  <a:pt x="1098" y="137"/>
                  <a:pt x="1105" y="141"/>
                </a:cubicBezTo>
                <a:cubicBezTo>
                  <a:pt x="1112" y="144"/>
                  <a:pt x="1118" y="149"/>
                  <a:pt x="1122" y="155"/>
                </a:cubicBezTo>
                <a:cubicBezTo>
                  <a:pt x="1126" y="162"/>
                  <a:pt x="1128" y="169"/>
                  <a:pt x="1128" y="179"/>
                </a:cubicBezTo>
                <a:cubicBezTo>
                  <a:pt x="1128" y="188"/>
                  <a:pt x="1126" y="197"/>
                  <a:pt x="1121" y="205"/>
                </a:cubicBezTo>
                <a:cubicBezTo>
                  <a:pt x="1116" y="213"/>
                  <a:pt x="1108" y="220"/>
                  <a:pt x="1099" y="224"/>
                </a:cubicBezTo>
                <a:cubicBezTo>
                  <a:pt x="1089" y="229"/>
                  <a:pt x="1079" y="231"/>
                  <a:pt x="1067" y="231"/>
                </a:cubicBezTo>
                <a:cubicBezTo>
                  <a:pt x="1047" y="231"/>
                  <a:pt x="1031" y="227"/>
                  <a:pt x="1021" y="218"/>
                </a:cubicBezTo>
                <a:cubicBezTo>
                  <a:pt x="1010" y="209"/>
                  <a:pt x="1004" y="196"/>
                  <a:pt x="1001" y="1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96" name="Group 395">
            <a:extLst>
              <a:ext uri="{FF2B5EF4-FFF2-40B4-BE49-F238E27FC236}">
                <a16:creationId xmlns:a16="http://schemas.microsoft.com/office/drawing/2014/main" id="{41916084-EE0C-4F76-927C-570A5F078550}"/>
              </a:ext>
            </a:extLst>
          </p:cNvPr>
          <p:cNvGrpSpPr/>
          <p:nvPr/>
        </p:nvGrpSpPr>
        <p:grpSpPr>
          <a:xfrm>
            <a:off x="4222750" y="2419350"/>
            <a:ext cx="576263" cy="577850"/>
            <a:chOff x="4222750" y="2419350"/>
            <a:chExt cx="576263" cy="577850"/>
          </a:xfrm>
          <a:solidFill>
            <a:schemeClr val="accent1"/>
          </a:solidFill>
        </p:grpSpPr>
        <p:sp>
          <p:nvSpPr>
            <p:cNvPr id="117" name="Freeform 316">
              <a:extLst>
                <a:ext uri="{FF2B5EF4-FFF2-40B4-BE49-F238E27FC236}">
                  <a16:creationId xmlns:a16="http://schemas.microsoft.com/office/drawing/2014/main" id="{62391B97-28D8-4EF6-8462-158EDA11F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2750" y="2940050"/>
              <a:ext cx="576263" cy="57150"/>
            </a:xfrm>
            <a:custGeom>
              <a:avLst/>
              <a:gdLst>
                <a:gd name="T0" fmla="*/ 160 w 1604"/>
                <a:gd name="T1" fmla="*/ 160 h 160"/>
                <a:gd name="T2" fmla="*/ 0 w 1604"/>
                <a:gd name="T3" fmla="*/ 0 h 160"/>
                <a:gd name="T4" fmla="*/ 1604 w 1604"/>
                <a:gd name="T5" fmla="*/ 0 h 160"/>
                <a:gd name="T6" fmla="*/ 1443 w 1604"/>
                <a:gd name="T7" fmla="*/ 160 h 160"/>
                <a:gd name="T8" fmla="*/ 160 w 1604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4" h="160">
                  <a:moveTo>
                    <a:pt x="160" y="160"/>
                  </a:moveTo>
                  <a:lnTo>
                    <a:pt x="0" y="0"/>
                  </a:lnTo>
                  <a:lnTo>
                    <a:pt x="1604" y="0"/>
                  </a:lnTo>
                  <a:lnTo>
                    <a:pt x="1443" y="160"/>
                  </a:lnTo>
                  <a:lnTo>
                    <a:pt x="160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8" name="Freeform 317">
              <a:extLst>
                <a:ext uri="{FF2B5EF4-FFF2-40B4-BE49-F238E27FC236}">
                  <a16:creationId xmlns:a16="http://schemas.microsoft.com/office/drawing/2014/main" id="{DCB8DBD8-A13F-4880-B900-10CB92AA1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2750" y="2419350"/>
              <a:ext cx="260350" cy="520700"/>
            </a:xfrm>
            <a:custGeom>
              <a:avLst/>
              <a:gdLst>
                <a:gd name="T0" fmla="*/ 160 w 723"/>
                <a:gd name="T1" fmla="*/ 1444 h 1444"/>
                <a:gd name="T2" fmla="*/ 160 w 723"/>
                <a:gd name="T3" fmla="*/ 1342 h 1444"/>
                <a:gd name="T4" fmla="*/ 723 w 723"/>
                <a:gd name="T5" fmla="*/ 780 h 1444"/>
                <a:gd name="T6" fmla="*/ 722 w 723"/>
                <a:gd name="T7" fmla="*/ 0 h 1444"/>
                <a:gd name="T8" fmla="*/ 561 w 723"/>
                <a:gd name="T9" fmla="*/ 0 h 1444"/>
                <a:gd name="T10" fmla="*/ 561 w 723"/>
                <a:gd name="T11" fmla="*/ 722 h 1444"/>
                <a:gd name="T12" fmla="*/ 0 w 723"/>
                <a:gd name="T13" fmla="*/ 1283 h 1444"/>
                <a:gd name="T14" fmla="*/ 0 w 723"/>
                <a:gd name="T15" fmla="*/ 1444 h 1444"/>
                <a:gd name="T16" fmla="*/ 160 w 723"/>
                <a:gd name="T17" fmla="*/ 1444 h 1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3" h="1444">
                  <a:moveTo>
                    <a:pt x="160" y="1444"/>
                  </a:moveTo>
                  <a:lnTo>
                    <a:pt x="160" y="1342"/>
                  </a:lnTo>
                  <a:lnTo>
                    <a:pt x="723" y="780"/>
                  </a:lnTo>
                  <a:lnTo>
                    <a:pt x="722" y="0"/>
                  </a:lnTo>
                  <a:lnTo>
                    <a:pt x="561" y="0"/>
                  </a:lnTo>
                  <a:lnTo>
                    <a:pt x="561" y="722"/>
                  </a:lnTo>
                  <a:lnTo>
                    <a:pt x="0" y="1283"/>
                  </a:lnTo>
                  <a:lnTo>
                    <a:pt x="0" y="1444"/>
                  </a:lnTo>
                  <a:lnTo>
                    <a:pt x="160" y="14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9" name="Freeform 318">
              <a:extLst>
                <a:ext uri="{FF2B5EF4-FFF2-40B4-BE49-F238E27FC236}">
                  <a16:creationId xmlns:a16="http://schemas.microsoft.com/office/drawing/2014/main" id="{DE64B0CD-ADCD-44CE-8E89-93E01C0FD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663" y="2419350"/>
              <a:ext cx="260350" cy="520700"/>
            </a:xfrm>
            <a:custGeom>
              <a:avLst/>
              <a:gdLst>
                <a:gd name="T0" fmla="*/ 562 w 723"/>
                <a:gd name="T1" fmla="*/ 1444 h 1444"/>
                <a:gd name="T2" fmla="*/ 562 w 723"/>
                <a:gd name="T3" fmla="*/ 1342 h 1444"/>
                <a:gd name="T4" fmla="*/ 0 w 723"/>
                <a:gd name="T5" fmla="*/ 780 h 1444"/>
                <a:gd name="T6" fmla="*/ 1 w 723"/>
                <a:gd name="T7" fmla="*/ 0 h 1444"/>
                <a:gd name="T8" fmla="*/ 161 w 723"/>
                <a:gd name="T9" fmla="*/ 0 h 1444"/>
                <a:gd name="T10" fmla="*/ 161 w 723"/>
                <a:gd name="T11" fmla="*/ 722 h 1444"/>
                <a:gd name="T12" fmla="*/ 723 w 723"/>
                <a:gd name="T13" fmla="*/ 1283 h 1444"/>
                <a:gd name="T14" fmla="*/ 723 w 723"/>
                <a:gd name="T15" fmla="*/ 1444 h 1444"/>
                <a:gd name="T16" fmla="*/ 562 w 723"/>
                <a:gd name="T17" fmla="*/ 1444 h 1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3" h="1444">
                  <a:moveTo>
                    <a:pt x="562" y="1444"/>
                  </a:moveTo>
                  <a:lnTo>
                    <a:pt x="562" y="1342"/>
                  </a:lnTo>
                  <a:lnTo>
                    <a:pt x="0" y="780"/>
                  </a:lnTo>
                  <a:lnTo>
                    <a:pt x="1" y="0"/>
                  </a:lnTo>
                  <a:lnTo>
                    <a:pt x="161" y="0"/>
                  </a:lnTo>
                  <a:lnTo>
                    <a:pt x="161" y="722"/>
                  </a:lnTo>
                  <a:lnTo>
                    <a:pt x="723" y="1283"/>
                  </a:lnTo>
                  <a:lnTo>
                    <a:pt x="723" y="1444"/>
                  </a:lnTo>
                  <a:lnTo>
                    <a:pt x="562" y="14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0" name="Oval 319">
              <a:extLst>
                <a:ext uri="{FF2B5EF4-FFF2-40B4-BE49-F238E27FC236}">
                  <a16:creationId xmlns:a16="http://schemas.microsoft.com/office/drawing/2014/main" id="{F0E7075E-7F6F-44B4-B630-F7DC717F52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5788" y="2824163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1" name="Oval 320">
              <a:extLst>
                <a:ext uri="{FF2B5EF4-FFF2-40B4-BE49-F238E27FC236}">
                  <a16:creationId xmlns:a16="http://schemas.microsoft.com/office/drawing/2014/main" id="{3689B429-CCCE-4D82-9022-294BD37A9D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0250" y="2824163"/>
              <a:ext cx="57150" cy="571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2" name="Oval 321">
              <a:extLst>
                <a:ext uri="{FF2B5EF4-FFF2-40B4-BE49-F238E27FC236}">
                  <a16:creationId xmlns:a16="http://schemas.microsoft.com/office/drawing/2014/main" id="{6F0BBE4C-6FAC-4341-803E-6C5F616C6A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1513" y="2736850"/>
              <a:ext cx="58738" cy="587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7" name="Group 396">
            <a:extLst>
              <a:ext uri="{FF2B5EF4-FFF2-40B4-BE49-F238E27FC236}">
                <a16:creationId xmlns:a16="http://schemas.microsoft.com/office/drawing/2014/main" id="{12DC3982-E864-48DD-A0A9-8CCF68359F08}"/>
              </a:ext>
            </a:extLst>
          </p:cNvPr>
          <p:cNvGrpSpPr/>
          <p:nvPr/>
        </p:nvGrpSpPr>
        <p:grpSpPr>
          <a:xfrm>
            <a:off x="4983163" y="2419350"/>
            <a:ext cx="576263" cy="577851"/>
            <a:chOff x="4983163" y="2419350"/>
            <a:chExt cx="576263" cy="577851"/>
          </a:xfrm>
          <a:solidFill>
            <a:schemeClr val="accent1"/>
          </a:solidFill>
        </p:grpSpPr>
        <p:sp>
          <p:nvSpPr>
            <p:cNvPr id="123" name="Freeform 322">
              <a:extLst>
                <a:ext uri="{FF2B5EF4-FFF2-40B4-BE49-F238E27FC236}">
                  <a16:creationId xmlns:a16="http://schemas.microsoft.com/office/drawing/2014/main" id="{A8E5C6E5-6830-40B0-9CC6-A61F8DD93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800" y="2419350"/>
              <a:ext cx="80963" cy="263525"/>
            </a:xfrm>
            <a:custGeom>
              <a:avLst/>
              <a:gdLst>
                <a:gd name="T0" fmla="*/ 223 w 223"/>
                <a:gd name="T1" fmla="*/ 0 h 732"/>
                <a:gd name="T2" fmla="*/ 48 w 223"/>
                <a:gd name="T3" fmla="*/ 159 h 732"/>
                <a:gd name="T4" fmla="*/ 0 w 223"/>
                <a:gd name="T5" fmla="*/ 718 h 732"/>
                <a:gd name="T6" fmla="*/ 159 w 223"/>
                <a:gd name="T7" fmla="*/ 732 h 732"/>
                <a:gd name="T8" fmla="*/ 223 w 223"/>
                <a:gd name="T9" fmla="*/ 0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732">
                  <a:moveTo>
                    <a:pt x="223" y="0"/>
                  </a:moveTo>
                  <a:lnTo>
                    <a:pt x="48" y="159"/>
                  </a:lnTo>
                  <a:lnTo>
                    <a:pt x="0" y="718"/>
                  </a:lnTo>
                  <a:lnTo>
                    <a:pt x="159" y="732"/>
                  </a:lnTo>
                  <a:lnTo>
                    <a:pt x="2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4" name="Freeform 323">
              <a:extLst>
                <a:ext uri="{FF2B5EF4-FFF2-40B4-BE49-F238E27FC236}">
                  <a16:creationId xmlns:a16="http://schemas.microsoft.com/office/drawing/2014/main" id="{D40F14D9-F7DC-42F1-BA99-21493C91A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475" y="2419350"/>
              <a:ext cx="80963" cy="263525"/>
            </a:xfrm>
            <a:custGeom>
              <a:avLst/>
              <a:gdLst>
                <a:gd name="T0" fmla="*/ 0 w 223"/>
                <a:gd name="T1" fmla="*/ 0 h 732"/>
                <a:gd name="T2" fmla="*/ 175 w 223"/>
                <a:gd name="T3" fmla="*/ 159 h 732"/>
                <a:gd name="T4" fmla="*/ 223 w 223"/>
                <a:gd name="T5" fmla="*/ 718 h 732"/>
                <a:gd name="T6" fmla="*/ 64 w 223"/>
                <a:gd name="T7" fmla="*/ 732 h 732"/>
                <a:gd name="T8" fmla="*/ 0 w 223"/>
                <a:gd name="T9" fmla="*/ 0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732">
                  <a:moveTo>
                    <a:pt x="0" y="0"/>
                  </a:moveTo>
                  <a:lnTo>
                    <a:pt x="175" y="159"/>
                  </a:lnTo>
                  <a:lnTo>
                    <a:pt x="223" y="718"/>
                  </a:lnTo>
                  <a:lnTo>
                    <a:pt x="64" y="7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5" name="Freeform 324">
              <a:extLst>
                <a:ext uri="{FF2B5EF4-FFF2-40B4-BE49-F238E27FC236}">
                  <a16:creationId xmlns:a16="http://schemas.microsoft.com/office/drawing/2014/main" id="{4EBB6EF8-AB3B-44AE-9DB1-A4FF9B6C5B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5413" y="2419350"/>
              <a:ext cx="123825" cy="58738"/>
            </a:xfrm>
            <a:custGeom>
              <a:avLst/>
              <a:gdLst>
                <a:gd name="T0" fmla="*/ 330 w 343"/>
                <a:gd name="T1" fmla="*/ 0 h 160"/>
                <a:gd name="T2" fmla="*/ 343 w 343"/>
                <a:gd name="T3" fmla="*/ 160 h 160"/>
                <a:gd name="T4" fmla="*/ 0 w 343"/>
                <a:gd name="T5" fmla="*/ 160 h 160"/>
                <a:gd name="T6" fmla="*/ 15 w 343"/>
                <a:gd name="T7" fmla="*/ 0 h 160"/>
                <a:gd name="T8" fmla="*/ 330 w 343"/>
                <a:gd name="T9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3" h="160">
                  <a:moveTo>
                    <a:pt x="330" y="0"/>
                  </a:moveTo>
                  <a:lnTo>
                    <a:pt x="343" y="160"/>
                  </a:lnTo>
                  <a:lnTo>
                    <a:pt x="0" y="160"/>
                  </a:lnTo>
                  <a:lnTo>
                    <a:pt x="15" y="0"/>
                  </a:lnTo>
                  <a:lnTo>
                    <a:pt x="33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6" name="Freeform 325">
              <a:extLst>
                <a:ext uri="{FF2B5EF4-FFF2-40B4-BE49-F238E27FC236}">
                  <a16:creationId xmlns:a16="http://schemas.microsoft.com/office/drawing/2014/main" id="{12874C63-E2DD-47A6-AB81-8A7A1E6445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8088" y="2535238"/>
              <a:ext cx="457200" cy="57150"/>
            </a:xfrm>
            <a:custGeom>
              <a:avLst/>
              <a:gdLst>
                <a:gd name="T0" fmla="*/ 0 w 1271"/>
                <a:gd name="T1" fmla="*/ 159 h 161"/>
                <a:gd name="T2" fmla="*/ 175 w 1271"/>
                <a:gd name="T3" fmla="*/ 0 h 161"/>
                <a:gd name="T4" fmla="*/ 1271 w 1271"/>
                <a:gd name="T5" fmla="*/ 0 h 161"/>
                <a:gd name="T6" fmla="*/ 1190 w 1271"/>
                <a:gd name="T7" fmla="*/ 161 h 161"/>
                <a:gd name="T8" fmla="*/ 0 w 1271"/>
                <a:gd name="T9" fmla="*/ 159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1" h="161">
                  <a:moveTo>
                    <a:pt x="0" y="159"/>
                  </a:moveTo>
                  <a:lnTo>
                    <a:pt x="175" y="0"/>
                  </a:lnTo>
                  <a:lnTo>
                    <a:pt x="1271" y="0"/>
                  </a:lnTo>
                  <a:lnTo>
                    <a:pt x="1190" y="161"/>
                  </a:lnTo>
                  <a:lnTo>
                    <a:pt x="0" y="1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7" name="Freeform 326">
              <a:extLst>
                <a:ext uri="{FF2B5EF4-FFF2-40B4-BE49-F238E27FC236}">
                  <a16:creationId xmlns:a16="http://schemas.microsoft.com/office/drawing/2014/main" id="{36F894F7-8500-4CD2-8F1A-40D800149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3163" y="2592388"/>
              <a:ext cx="522288" cy="404813"/>
            </a:xfrm>
            <a:custGeom>
              <a:avLst/>
              <a:gdLst>
                <a:gd name="T0" fmla="*/ 257 w 1449"/>
                <a:gd name="T1" fmla="*/ 2 h 1124"/>
                <a:gd name="T2" fmla="*/ 96 w 1449"/>
                <a:gd name="T3" fmla="*/ 0 h 1124"/>
                <a:gd name="T4" fmla="*/ 0 w 1449"/>
                <a:gd name="T5" fmla="*/ 1124 h 1124"/>
                <a:gd name="T6" fmla="*/ 1449 w 1449"/>
                <a:gd name="T7" fmla="*/ 1124 h 1124"/>
                <a:gd name="T8" fmla="*/ 1436 w 1449"/>
                <a:gd name="T9" fmla="*/ 958 h 1124"/>
                <a:gd name="T10" fmla="*/ 173 w 1449"/>
                <a:gd name="T11" fmla="*/ 958 h 1124"/>
                <a:gd name="T12" fmla="*/ 257 w 1449"/>
                <a:gd name="T13" fmla="*/ 2 h 1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9" h="1124">
                  <a:moveTo>
                    <a:pt x="257" y="2"/>
                  </a:moveTo>
                  <a:lnTo>
                    <a:pt x="96" y="0"/>
                  </a:lnTo>
                  <a:lnTo>
                    <a:pt x="0" y="1124"/>
                  </a:lnTo>
                  <a:lnTo>
                    <a:pt x="1449" y="1124"/>
                  </a:lnTo>
                  <a:lnTo>
                    <a:pt x="1436" y="958"/>
                  </a:lnTo>
                  <a:lnTo>
                    <a:pt x="173" y="958"/>
                  </a:lnTo>
                  <a:lnTo>
                    <a:pt x="25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8" name="Freeform 327">
              <a:extLst>
                <a:ext uri="{FF2B5EF4-FFF2-40B4-BE49-F238E27FC236}">
                  <a16:creationId xmlns:a16="http://schemas.microsoft.com/office/drawing/2014/main" id="{17B99B18-2016-4A56-B8E7-2D300735F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5288" y="2547938"/>
              <a:ext cx="84138" cy="449263"/>
            </a:xfrm>
            <a:custGeom>
              <a:avLst/>
              <a:gdLst>
                <a:gd name="T0" fmla="*/ 0 w 233"/>
                <a:gd name="T1" fmla="*/ 260 h 1245"/>
                <a:gd name="T2" fmla="*/ 138 w 233"/>
                <a:gd name="T3" fmla="*/ 0 h 1245"/>
                <a:gd name="T4" fmla="*/ 233 w 233"/>
                <a:gd name="T5" fmla="*/ 1081 h 1245"/>
                <a:gd name="T6" fmla="*/ 84 w 233"/>
                <a:gd name="T7" fmla="*/ 1245 h 1245"/>
                <a:gd name="T8" fmla="*/ 0 w 233"/>
                <a:gd name="T9" fmla="*/ 260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1245">
                  <a:moveTo>
                    <a:pt x="0" y="260"/>
                  </a:moveTo>
                  <a:lnTo>
                    <a:pt x="138" y="0"/>
                  </a:lnTo>
                  <a:lnTo>
                    <a:pt x="233" y="1081"/>
                  </a:lnTo>
                  <a:lnTo>
                    <a:pt x="84" y="1245"/>
                  </a:lnTo>
                  <a:lnTo>
                    <a:pt x="0" y="2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8" name="Group 397">
            <a:extLst>
              <a:ext uri="{FF2B5EF4-FFF2-40B4-BE49-F238E27FC236}">
                <a16:creationId xmlns:a16="http://schemas.microsoft.com/office/drawing/2014/main" id="{C03EA845-8B0D-4B9C-B8CB-AD5C1E701555}"/>
              </a:ext>
            </a:extLst>
          </p:cNvPr>
          <p:cNvGrpSpPr/>
          <p:nvPr/>
        </p:nvGrpSpPr>
        <p:grpSpPr>
          <a:xfrm>
            <a:off x="5746750" y="2417763"/>
            <a:ext cx="579438" cy="581025"/>
            <a:chOff x="5746750" y="2417763"/>
            <a:chExt cx="579438" cy="581025"/>
          </a:xfrm>
          <a:solidFill>
            <a:schemeClr val="accent1"/>
          </a:solidFill>
        </p:grpSpPr>
        <p:sp>
          <p:nvSpPr>
            <p:cNvPr id="129" name="Freeform 328">
              <a:extLst>
                <a:ext uri="{FF2B5EF4-FFF2-40B4-BE49-F238E27FC236}">
                  <a16:creationId xmlns:a16="http://schemas.microsoft.com/office/drawing/2014/main" id="{7A58EA92-A4FB-4FA1-813A-CD8A55F4B8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6750" y="2417763"/>
              <a:ext cx="579438" cy="200025"/>
            </a:xfrm>
            <a:custGeom>
              <a:avLst/>
              <a:gdLst>
                <a:gd name="T0" fmla="*/ 0 w 1608"/>
                <a:gd name="T1" fmla="*/ 377 h 554"/>
                <a:gd name="T2" fmla="*/ 0 w 1608"/>
                <a:gd name="T3" fmla="*/ 553 h 554"/>
                <a:gd name="T4" fmla="*/ 804 w 1608"/>
                <a:gd name="T5" fmla="*/ 178 h 554"/>
                <a:gd name="T6" fmla="*/ 1608 w 1608"/>
                <a:gd name="T7" fmla="*/ 554 h 554"/>
                <a:gd name="T8" fmla="*/ 1608 w 1608"/>
                <a:gd name="T9" fmla="*/ 376 h 554"/>
                <a:gd name="T10" fmla="*/ 804 w 1608"/>
                <a:gd name="T11" fmla="*/ 0 h 554"/>
                <a:gd name="T12" fmla="*/ 0 w 1608"/>
                <a:gd name="T13" fmla="*/ 377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8" h="554">
                  <a:moveTo>
                    <a:pt x="0" y="377"/>
                  </a:moveTo>
                  <a:lnTo>
                    <a:pt x="0" y="553"/>
                  </a:lnTo>
                  <a:lnTo>
                    <a:pt x="804" y="178"/>
                  </a:lnTo>
                  <a:lnTo>
                    <a:pt x="1608" y="554"/>
                  </a:lnTo>
                  <a:lnTo>
                    <a:pt x="1608" y="376"/>
                  </a:lnTo>
                  <a:lnTo>
                    <a:pt x="804" y="0"/>
                  </a:lnTo>
                  <a:lnTo>
                    <a:pt x="0" y="3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0" name="Freeform 329">
              <a:extLst>
                <a:ext uri="{FF2B5EF4-FFF2-40B4-BE49-F238E27FC236}">
                  <a16:creationId xmlns:a16="http://schemas.microsoft.com/office/drawing/2014/main" id="{6D83A9E3-06A8-41AC-8B62-2855B8ED81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6750" y="2552700"/>
              <a:ext cx="579438" cy="446088"/>
            </a:xfrm>
            <a:custGeom>
              <a:avLst/>
              <a:gdLst>
                <a:gd name="T0" fmla="*/ 724 w 1610"/>
                <a:gd name="T1" fmla="*/ 1018 h 1235"/>
                <a:gd name="T2" fmla="*/ 161 w 1610"/>
                <a:gd name="T3" fmla="*/ 756 h 1235"/>
                <a:gd name="T4" fmla="*/ 161 w 1610"/>
                <a:gd name="T5" fmla="*/ 253 h 1235"/>
                <a:gd name="T6" fmla="*/ 724 w 1610"/>
                <a:gd name="T7" fmla="*/ 515 h 1235"/>
                <a:gd name="T8" fmla="*/ 724 w 1610"/>
                <a:gd name="T9" fmla="*/ 1018 h 1235"/>
                <a:gd name="T10" fmla="*/ 1127 w 1610"/>
                <a:gd name="T11" fmla="*/ 225 h 1235"/>
                <a:gd name="T12" fmla="*/ 1127 w 1610"/>
                <a:gd name="T13" fmla="*/ 403 h 1235"/>
                <a:gd name="T14" fmla="*/ 1449 w 1610"/>
                <a:gd name="T15" fmla="*/ 253 h 1235"/>
                <a:gd name="T16" fmla="*/ 1449 w 1610"/>
                <a:gd name="T17" fmla="*/ 756 h 1235"/>
                <a:gd name="T18" fmla="*/ 886 w 1610"/>
                <a:gd name="T19" fmla="*/ 1019 h 1235"/>
                <a:gd name="T20" fmla="*/ 885 w 1610"/>
                <a:gd name="T21" fmla="*/ 1020 h 1235"/>
                <a:gd name="T22" fmla="*/ 886 w 1610"/>
                <a:gd name="T23" fmla="*/ 412 h 1235"/>
                <a:gd name="T24" fmla="*/ 0 w 1610"/>
                <a:gd name="T25" fmla="*/ 1 h 1235"/>
                <a:gd name="T26" fmla="*/ 0 w 1610"/>
                <a:gd name="T27" fmla="*/ 859 h 1235"/>
                <a:gd name="T28" fmla="*/ 805 w 1610"/>
                <a:gd name="T29" fmla="*/ 1235 h 1235"/>
                <a:gd name="T30" fmla="*/ 1610 w 1610"/>
                <a:gd name="T31" fmla="*/ 858 h 1235"/>
                <a:gd name="T32" fmla="*/ 1610 w 1610"/>
                <a:gd name="T33" fmla="*/ 0 h 1235"/>
                <a:gd name="T34" fmla="*/ 1127 w 1610"/>
                <a:gd name="T35" fmla="*/ 225 h 1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0" h="1235">
                  <a:moveTo>
                    <a:pt x="724" y="1018"/>
                  </a:moveTo>
                  <a:lnTo>
                    <a:pt x="161" y="756"/>
                  </a:lnTo>
                  <a:lnTo>
                    <a:pt x="161" y="253"/>
                  </a:lnTo>
                  <a:lnTo>
                    <a:pt x="724" y="515"/>
                  </a:lnTo>
                  <a:lnTo>
                    <a:pt x="724" y="1018"/>
                  </a:lnTo>
                  <a:close/>
                  <a:moveTo>
                    <a:pt x="1127" y="225"/>
                  </a:moveTo>
                  <a:lnTo>
                    <a:pt x="1127" y="403"/>
                  </a:lnTo>
                  <a:lnTo>
                    <a:pt x="1449" y="253"/>
                  </a:lnTo>
                  <a:lnTo>
                    <a:pt x="1449" y="756"/>
                  </a:lnTo>
                  <a:lnTo>
                    <a:pt x="886" y="1019"/>
                  </a:lnTo>
                  <a:lnTo>
                    <a:pt x="885" y="1020"/>
                  </a:lnTo>
                  <a:lnTo>
                    <a:pt x="886" y="412"/>
                  </a:lnTo>
                  <a:lnTo>
                    <a:pt x="0" y="1"/>
                  </a:lnTo>
                  <a:lnTo>
                    <a:pt x="0" y="859"/>
                  </a:lnTo>
                  <a:lnTo>
                    <a:pt x="805" y="1235"/>
                  </a:lnTo>
                  <a:lnTo>
                    <a:pt x="1610" y="858"/>
                  </a:lnTo>
                  <a:lnTo>
                    <a:pt x="1610" y="0"/>
                  </a:lnTo>
                  <a:lnTo>
                    <a:pt x="1127" y="2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31" name="Freeform 330">
            <a:extLst>
              <a:ext uri="{FF2B5EF4-FFF2-40B4-BE49-F238E27FC236}">
                <a16:creationId xmlns:a16="http://schemas.microsoft.com/office/drawing/2014/main" id="{E2BA3C93-7C2D-4FFC-8CF4-F840FE711FB0}"/>
              </a:ext>
            </a:extLst>
          </p:cNvPr>
          <p:cNvSpPr>
            <a:spLocks noEditPoints="1"/>
          </p:cNvSpPr>
          <p:nvPr/>
        </p:nvSpPr>
        <p:spPr bwMode="auto">
          <a:xfrm>
            <a:off x="7310438" y="3032125"/>
            <a:ext cx="501650" cy="104775"/>
          </a:xfrm>
          <a:custGeom>
            <a:avLst/>
            <a:gdLst>
              <a:gd name="T0" fmla="*/ 198 w 1393"/>
              <a:gd name="T1" fmla="*/ 228 h 291"/>
              <a:gd name="T2" fmla="*/ 30 w 1393"/>
              <a:gd name="T3" fmla="*/ 228 h 291"/>
              <a:gd name="T4" fmla="*/ 111 w 1393"/>
              <a:gd name="T5" fmla="*/ 71 h 291"/>
              <a:gd name="T6" fmla="*/ 318 w 1393"/>
              <a:gd name="T7" fmla="*/ 174 h 291"/>
              <a:gd name="T8" fmla="*/ 224 w 1393"/>
              <a:gd name="T9" fmla="*/ 209 h 291"/>
              <a:gd name="T10" fmla="*/ 326 w 1393"/>
              <a:gd name="T11" fmla="*/ 82 h 291"/>
              <a:gd name="T12" fmla="*/ 245 w 1393"/>
              <a:gd name="T13" fmla="*/ 194 h 291"/>
              <a:gd name="T14" fmla="*/ 232 w 1393"/>
              <a:gd name="T15" fmla="*/ 130 h 291"/>
              <a:gd name="T16" fmla="*/ 246 w 1393"/>
              <a:gd name="T17" fmla="*/ 95 h 291"/>
              <a:gd name="T18" fmla="*/ 400 w 1393"/>
              <a:gd name="T19" fmla="*/ 63 h 291"/>
              <a:gd name="T20" fmla="*/ 461 w 1393"/>
              <a:gd name="T21" fmla="*/ 68 h 291"/>
              <a:gd name="T22" fmla="*/ 407 w 1393"/>
              <a:gd name="T23" fmla="*/ 109 h 291"/>
              <a:gd name="T24" fmla="*/ 462 w 1393"/>
              <a:gd name="T25" fmla="*/ 145 h 291"/>
              <a:gd name="T26" fmla="*/ 605 w 1393"/>
              <a:gd name="T27" fmla="*/ 143 h 291"/>
              <a:gd name="T28" fmla="*/ 482 w 1393"/>
              <a:gd name="T29" fmla="*/ 209 h 291"/>
              <a:gd name="T30" fmla="*/ 534 w 1393"/>
              <a:gd name="T31" fmla="*/ 208 h 291"/>
              <a:gd name="T32" fmla="*/ 534 w 1393"/>
              <a:gd name="T33" fmla="*/ 83 h 291"/>
              <a:gd name="T34" fmla="*/ 651 w 1393"/>
              <a:gd name="T35" fmla="*/ 174 h 291"/>
              <a:gd name="T36" fmla="*/ 727 w 1393"/>
              <a:gd name="T37" fmla="*/ 182 h 291"/>
              <a:gd name="T38" fmla="*/ 636 w 1393"/>
              <a:gd name="T39" fmla="*/ 129 h 291"/>
              <a:gd name="T40" fmla="*/ 664 w 1393"/>
              <a:gd name="T41" fmla="*/ 63 h 291"/>
              <a:gd name="T42" fmla="*/ 747 w 1393"/>
              <a:gd name="T43" fmla="*/ 106 h 291"/>
              <a:gd name="T44" fmla="*/ 663 w 1393"/>
              <a:gd name="T45" fmla="*/ 89 h 291"/>
              <a:gd name="T46" fmla="*/ 691 w 1393"/>
              <a:gd name="T47" fmla="*/ 128 h 291"/>
              <a:gd name="T48" fmla="*/ 746 w 1393"/>
              <a:gd name="T49" fmla="*/ 205 h 291"/>
              <a:gd name="T50" fmla="*/ 626 w 1393"/>
              <a:gd name="T51" fmla="*/ 178 h 291"/>
              <a:gd name="T52" fmla="*/ 808 w 1393"/>
              <a:gd name="T53" fmla="*/ 84 h 291"/>
              <a:gd name="T54" fmla="*/ 909 w 1393"/>
              <a:gd name="T55" fmla="*/ 101 h 291"/>
              <a:gd name="T56" fmla="*/ 850 w 1393"/>
              <a:gd name="T57" fmla="*/ 231 h 291"/>
              <a:gd name="T58" fmla="*/ 784 w 1393"/>
              <a:gd name="T59" fmla="*/ 291 h 291"/>
              <a:gd name="T60" fmla="*/ 878 w 1393"/>
              <a:gd name="T61" fmla="*/ 193 h 291"/>
              <a:gd name="T62" fmla="*/ 820 w 1393"/>
              <a:gd name="T63" fmla="*/ 98 h 291"/>
              <a:gd name="T64" fmla="*/ 992 w 1393"/>
              <a:gd name="T65" fmla="*/ 231 h 291"/>
              <a:gd name="T66" fmla="*/ 958 w 1393"/>
              <a:gd name="T67" fmla="*/ 146 h 291"/>
              <a:gd name="T68" fmla="*/ 1047 w 1393"/>
              <a:gd name="T69" fmla="*/ 116 h 291"/>
              <a:gd name="T70" fmla="*/ 969 w 1393"/>
              <a:gd name="T71" fmla="*/ 114 h 291"/>
              <a:gd name="T72" fmla="*/ 1013 w 1393"/>
              <a:gd name="T73" fmla="*/ 59 h 291"/>
              <a:gd name="T74" fmla="*/ 1073 w 1393"/>
              <a:gd name="T75" fmla="*/ 122 h 291"/>
              <a:gd name="T76" fmla="*/ 1054 w 1393"/>
              <a:gd name="T77" fmla="*/ 228 h 291"/>
              <a:gd name="T78" fmla="*/ 981 w 1393"/>
              <a:gd name="T79" fmla="*/ 161 h 291"/>
              <a:gd name="T80" fmla="*/ 998 w 1393"/>
              <a:gd name="T81" fmla="*/ 209 h 291"/>
              <a:gd name="T82" fmla="*/ 1047 w 1393"/>
              <a:gd name="T83" fmla="*/ 145 h 291"/>
              <a:gd name="T84" fmla="*/ 1175 w 1393"/>
              <a:gd name="T85" fmla="*/ 231 h 291"/>
              <a:gd name="T86" fmla="*/ 1139 w 1393"/>
              <a:gd name="T87" fmla="*/ 69 h 291"/>
              <a:gd name="T88" fmla="*/ 1211 w 1393"/>
              <a:gd name="T89" fmla="*/ 116 h 291"/>
              <a:gd name="T90" fmla="*/ 1132 w 1393"/>
              <a:gd name="T91" fmla="*/ 145 h 291"/>
              <a:gd name="T92" fmla="*/ 1213 w 1393"/>
              <a:gd name="T93" fmla="*/ 167 h 291"/>
              <a:gd name="T94" fmla="*/ 1325 w 1393"/>
              <a:gd name="T95" fmla="*/ 231 h 291"/>
              <a:gd name="T96" fmla="*/ 1324 w 1393"/>
              <a:gd name="T97" fmla="*/ 59 h 291"/>
              <a:gd name="T98" fmla="*/ 1279 w 1393"/>
              <a:gd name="T99" fmla="*/ 152 h 291"/>
              <a:gd name="T100" fmla="*/ 1366 w 1393"/>
              <a:gd name="T101" fmla="*/ 174 h 291"/>
              <a:gd name="T102" fmla="*/ 1324 w 1393"/>
              <a:gd name="T103" fmla="*/ 82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93" h="291">
                <a:moveTo>
                  <a:pt x="0" y="228"/>
                </a:moveTo>
                <a:lnTo>
                  <a:pt x="81" y="0"/>
                </a:lnTo>
                <a:lnTo>
                  <a:pt x="112" y="0"/>
                </a:lnTo>
                <a:lnTo>
                  <a:pt x="198" y="228"/>
                </a:lnTo>
                <a:lnTo>
                  <a:pt x="166" y="228"/>
                </a:lnTo>
                <a:lnTo>
                  <a:pt x="142" y="159"/>
                </a:lnTo>
                <a:lnTo>
                  <a:pt x="53" y="159"/>
                </a:lnTo>
                <a:lnTo>
                  <a:pt x="30" y="228"/>
                </a:lnTo>
                <a:lnTo>
                  <a:pt x="0" y="228"/>
                </a:lnTo>
                <a:close/>
                <a:moveTo>
                  <a:pt x="61" y="134"/>
                </a:moveTo>
                <a:lnTo>
                  <a:pt x="133" y="134"/>
                </a:lnTo>
                <a:lnTo>
                  <a:pt x="111" y="71"/>
                </a:lnTo>
                <a:cubicBezTo>
                  <a:pt x="104" y="52"/>
                  <a:pt x="99" y="36"/>
                  <a:pt x="96" y="24"/>
                </a:cubicBezTo>
                <a:cubicBezTo>
                  <a:pt x="93" y="39"/>
                  <a:pt x="89" y="53"/>
                  <a:pt x="84" y="68"/>
                </a:cubicBezTo>
                <a:lnTo>
                  <a:pt x="61" y="134"/>
                </a:lnTo>
                <a:close/>
                <a:moveTo>
                  <a:pt x="318" y="174"/>
                </a:moveTo>
                <a:lnTo>
                  <a:pt x="345" y="178"/>
                </a:lnTo>
                <a:cubicBezTo>
                  <a:pt x="340" y="195"/>
                  <a:pt x="332" y="208"/>
                  <a:pt x="321" y="217"/>
                </a:cubicBezTo>
                <a:cubicBezTo>
                  <a:pt x="310" y="226"/>
                  <a:pt x="295" y="231"/>
                  <a:pt x="277" y="231"/>
                </a:cubicBezTo>
                <a:cubicBezTo>
                  <a:pt x="255" y="231"/>
                  <a:pt x="237" y="224"/>
                  <a:pt x="224" y="209"/>
                </a:cubicBezTo>
                <a:cubicBezTo>
                  <a:pt x="211" y="194"/>
                  <a:pt x="204" y="173"/>
                  <a:pt x="204" y="147"/>
                </a:cubicBezTo>
                <a:cubicBezTo>
                  <a:pt x="204" y="119"/>
                  <a:pt x="211" y="98"/>
                  <a:pt x="224" y="82"/>
                </a:cubicBezTo>
                <a:cubicBezTo>
                  <a:pt x="237" y="67"/>
                  <a:pt x="255" y="59"/>
                  <a:pt x="276" y="59"/>
                </a:cubicBezTo>
                <a:cubicBezTo>
                  <a:pt x="296" y="59"/>
                  <a:pt x="313" y="67"/>
                  <a:pt x="326" y="82"/>
                </a:cubicBezTo>
                <a:cubicBezTo>
                  <a:pt x="339" y="97"/>
                  <a:pt x="345" y="118"/>
                  <a:pt x="345" y="145"/>
                </a:cubicBezTo>
                <a:cubicBezTo>
                  <a:pt x="345" y="147"/>
                  <a:pt x="345" y="149"/>
                  <a:pt x="345" y="152"/>
                </a:cubicBezTo>
                <a:lnTo>
                  <a:pt x="231" y="152"/>
                </a:lnTo>
                <a:cubicBezTo>
                  <a:pt x="232" y="170"/>
                  <a:pt x="237" y="184"/>
                  <a:pt x="245" y="194"/>
                </a:cubicBezTo>
                <a:cubicBezTo>
                  <a:pt x="254" y="203"/>
                  <a:pt x="264" y="208"/>
                  <a:pt x="277" y="208"/>
                </a:cubicBezTo>
                <a:cubicBezTo>
                  <a:pt x="287" y="208"/>
                  <a:pt x="295" y="206"/>
                  <a:pt x="302" y="200"/>
                </a:cubicBezTo>
                <a:cubicBezTo>
                  <a:pt x="308" y="195"/>
                  <a:pt x="314" y="186"/>
                  <a:pt x="318" y="174"/>
                </a:cubicBezTo>
                <a:close/>
                <a:moveTo>
                  <a:pt x="232" y="130"/>
                </a:moveTo>
                <a:lnTo>
                  <a:pt x="318" y="130"/>
                </a:lnTo>
                <a:cubicBezTo>
                  <a:pt x="317" y="116"/>
                  <a:pt x="313" y="105"/>
                  <a:pt x="308" y="98"/>
                </a:cubicBezTo>
                <a:cubicBezTo>
                  <a:pt x="300" y="88"/>
                  <a:pt x="289" y="82"/>
                  <a:pt x="276" y="82"/>
                </a:cubicBezTo>
                <a:cubicBezTo>
                  <a:pt x="264" y="82"/>
                  <a:pt x="254" y="87"/>
                  <a:pt x="246" y="95"/>
                </a:cubicBezTo>
                <a:cubicBezTo>
                  <a:pt x="238" y="104"/>
                  <a:pt x="233" y="115"/>
                  <a:pt x="232" y="130"/>
                </a:cubicBezTo>
                <a:close/>
                <a:moveTo>
                  <a:pt x="377" y="228"/>
                </a:moveTo>
                <a:lnTo>
                  <a:pt x="377" y="63"/>
                </a:lnTo>
                <a:lnTo>
                  <a:pt x="400" y="63"/>
                </a:lnTo>
                <a:lnTo>
                  <a:pt x="400" y="88"/>
                </a:lnTo>
                <a:cubicBezTo>
                  <a:pt x="406" y="76"/>
                  <a:pt x="412" y="69"/>
                  <a:pt x="417" y="65"/>
                </a:cubicBezTo>
                <a:cubicBezTo>
                  <a:pt x="422" y="61"/>
                  <a:pt x="428" y="59"/>
                  <a:pt x="434" y="59"/>
                </a:cubicBezTo>
                <a:cubicBezTo>
                  <a:pt x="443" y="59"/>
                  <a:pt x="451" y="62"/>
                  <a:pt x="461" y="68"/>
                </a:cubicBezTo>
                <a:lnTo>
                  <a:pt x="451" y="94"/>
                </a:lnTo>
                <a:cubicBezTo>
                  <a:pt x="445" y="90"/>
                  <a:pt x="439" y="88"/>
                  <a:pt x="432" y="88"/>
                </a:cubicBezTo>
                <a:cubicBezTo>
                  <a:pt x="427" y="88"/>
                  <a:pt x="422" y="90"/>
                  <a:pt x="417" y="94"/>
                </a:cubicBezTo>
                <a:cubicBezTo>
                  <a:pt x="413" y="97"/>
                  <a:pt x="409" y="102"/>
                  <a:pt x="407" y="109"/>
                </a:cubicBezTo>
                <a:cubicBezTo>
                  <a:pt x="405" y="119"/>
                  <a:pt x="403" y="130"/>
                  <a:pt x="403" y="142"/>
                </a:cubicBezTo>
                <a:lnTo>
                  <a:pt x="403" y="228"/>
                </a:lnTo>
                <a:lnTo>
                  <a:pt x="377" y="228"/>
                </a:lnTo>
                <a:close/>
                <a:moveTo>
                  <a:pt x="462" y="145"/>
                </a:moveTo>
                <a:cubicBezTo>
                  <a:pt x="462" y="115"/>
                  <a:pt x="470" y="92"/>
                  <a:pt x="485" y="78"/>
                </a:cubicBezTo>
                <a:cubicBezTo>
                  <a:pt x="499" y="65"/>
                  <a:pt x="515" y="59"/>
                  <a:pt x="534" y="59"/>
                </a:cubicBezTo>
                <a:cubicBezTo>
                  <a:pt x="555" y="59"/>
                  <a:pt x="572" y="67"/>
                  <a:pt x="585" y="82"/>
                </a:cubicBezTo>
                <a:cubicBezTo>
                  <a:pt x="599" y="96"/>
                  <a:pt x="605" y="117"/>
                  <a:pt x="605" y="143"/>
                </a:cubicBezTo>
                <a:cubicBezTo>
                  <a:pt x="605" y="164"/>
                  <a:pt x="603" y="181"/>
                  <a:pt x="597" y="193"/>
                </a:cubicBezTo>
                <a:cubicBezTo>
                  <a:pt x="591" y="205"/>
                  <a:pt x="582" y="214"/>
                  <a:pt x="571" y="221"/>
                </a:cubicBezTo>
                <a:cubicBezTo>
                  <a:pt x="559" y="228"/>
                  <a:pt x="547" y="231"/>
                  <a:pt x="534" y="231"/>
                </a:cubicBezTo>
                <a:cubicBezTo>
                  <a:pt x="512" y="231"/>
                  <a:pt x="495" y="224"/>
                  <a:pt x="482" y="209"/>
                </a:cubicBezTo>
                <a:cubicBezTo>
                  <a:pt x="468" y="194"/>
                  <a:pt x="462" y="173"/>
                  <a:pt x="462" y="145"/>
                </a:cubicBezTo>
                <a:close/>
                <a:moveTo>
                  <a:pt x="488" y="145"/>
                </a:moveTo>
                <a:cubicBezTo>
                  <a:pt x="488" y="166"/>
                  <a:pt x="493" y="182"/>
                  <a:pt x="501" y="193"/>
                </a:cubicBezTo>
                <a:cubicBezTo>
                  <a:pt x="510" y="203"/>
                  <a:pt x="521" y="208"/>
                  <a:pt x="534" y="208"/>
                </a:cubicBezTo>
                <a:cubicBezTo>
                  <a:pt x="547" y="208"/>
                  <a:pt x="557" y="203"/>
                  <a:pt x="566" y="192"/>
                </a:cubicBezTo>
                <a:cubicBezTo>
                  <a:pt x="575" y="182"/>
                  <a:pt x="579" y="166"/>
                  <a:pt x="579" y="144"/>
                </a:cubicBezTo>
                <a:cubicBezTo>
                  <a:pt x="579" y="124"/>
                  <a:pt x="575" y="109"/>
                  <a:pt x="566" y="98"/>
                </a:cubicBezTo>
                <a:cubicBezTo>
                  <a:pt x="557" y="88"/>
                  <a:pt x="547" y="83"/>
                  <a:pt x="534" y="83"/>
                </a:cubicBezTo>
                <a:cubicBezTo>
                  <a:pt x="521" y="83"/>
                  <a:pt x="510" y="88"/>
                  <a:pt x="501" y="98"/>
                </a:cubicBezTo>
                <a:cubicBezTo>
                  <a:pt x="493" y="109"/>
                  <a:pt x="488" y="124"/>
                  <a:pt x="488" y="145"/>
                </a:cubicBezTo>
                <a:close/>
                <a:moveTo>
                  <a:pt x="626" y="178"/>
                </a:moveTo>
                <a:lnTo>
                  <a:pt x="651" y="174"/>
                </a:lnTo>
                <a:cubicBezTo>
                  <a:pt x="653" y="185"/>
                  <a:pt x="657" y="194"/>
                  <a:pt x="663" y="199"/>
                </a:cubicBezTo>
                <a:cubicBezTo>
                  <a:pt x="670" y="205"/>
                  <a:pt x="679" y="208"/>
                  <a:pt x="691" y="208"/>
                </a:cubicBezTo>
                <a:cubicBezTo>
                  <a:pt x="703" y="208"/>
                  <a:pt x="712" y="206"/>
                  <a:pt x="718" y="200"/>
                </a:cubicBezTo>
                <a:cubicBezTo>
                  <a:pt x="724" y="195"/>
                  <a:pt x="727" y="189"/>
                  <a:pt x="727" y="182"/>
                </a:cubicBezTo>
                <a:cubicBezTo>
                  <a:pt x="727" y="176"/>
                  <a:pt x="724" y="171"/>
                  <a:pt x="719" y="167"/>
                </a:cubicBezTo>
                <a:cubicBezTo>
                  <a:pt x="715" y="165"/>
                  <a:pt x="706" y="162"/>
                  <a:pt x="692" y="158"/>
                </a:cubicBezTo>
                <a:cubicBezTo>
                  <a:pt x="673" y="153"/>
                  <a:pt x="660" y="148"/>
                  <a:pt x="653" y="144"/>
                </a:cubicBezTo>
                <a:cubicBezTo>
                  <a:pt x="645" y="141"/>
                  <a:pt x="640" y="135"/>
                  <a:pt x="636" y="129"/>
                </a:cubicBezTo>
                <a:cubicBezTo>
                  <a:pt x="632" y="122"/>
                  <a:pt x="630" y="115"/>
                  <a:pt x="630" y="107"/>
                </a:cubicBezTo>
                <a:cubicBezTo>
                  <a:pt x="630" y="99"/>
                  <a:pt x="632" y="93"/>
                  <a:pt x="635" y="86"/>
                </a:cubicBezTo>
                <a:cubicBezTo>
                  <a:pt x="638" y="80"/>
                  <a:pt x="642" y="75"/>
                  <a:pt x="648" y="71"/>
                </a:cubicBezTo>
                <a:cubicBezTo>
                  <a:pt x="652" y="68"/>
                  <a:pt x="657" y="65"/>
                  <a:pt x="664" y="63"/>
                </a:cubicBezTo>
                <a:cubicBezTo>
                  <a:pt x="671" y="60"/>
                  <a:pt x="678" y="59"/>
                  <a:pt x="686" y="59"/>
                </a:cubicBezTo>
                <a:cubicBezTo>
                  <a:pt x="699" y="59"/>
                  <a:pt x="709" y="61"/>
                  <a:pt x="718" y="65"/>
                </a:cubicBezTo>
                <a:cubicBezTo>
                  <a:pt x="727" y="69"/>
                  <a:pt x="734" y="74"/>
                  <a:pt x="738" y="80"/>
                </a:cubicBezTo>
                <a:cubicBezTo>
                  <a:pt x="743" y="87"/>
                  <a:pt x="746" y="95"/>
                  <a:pt x="747" y="106"/>
                </a:cubicBezTo>
                <a:lnTo>
                  <a:pt x="722" y="110"/>
                </a:lnTo>
                <a:cubicBezTo>
                  <a:pt x="721" y="101"/>
                  <a:pt x="717" y="94"/>
                  <a:pt x="712" y="89"/>
                </a:cubicBezTo>
                <a:cubicBezTo>
                  <a:pt x="706" y="85"/>
                  <a:pt x="698" y="82"/>
                  <a:pt x="688" y="82"/>
                </a:cubicBezTo>
                <a:cubicBezTo>
                  <a:pt x="676" y="82"/>
                  <a:pt x="668" y="84"/>
                  <a:pt x="663" y="89"/>
                </a:cubicBezTo>
                <a:cubicBezTo>
                  <a:pt x="658" y="93"/>
                  <a:pt x="655" y="98"/>
                  <a:pt x="655" y="103"/>
                </a:cubicBezTo>
                <a:cubicBezTo>
                  <a:pt x="655" y="107"/>
                  <a:pt x="656" y="110"/>
                  <a:pt x="658" y="113"/>
                </a:cubicBezTo>
                <a:cubicBezTo>
                  <a:pt x="660" y="116"/>
                  <a:pt x="664" y="119"/>
                  <a:pt x="668" y="121"/>
                </a:cubicBezTo>
                <a:cubicBezTo>
                  <a:pt x="671" y="122"/>
                  <a:pt x="679" y="124"/>
                  <a:pt x="691" y="128"/>
                </a:cubicBezTo>
                <a:cubicBezTo>
                  <a:pt x="710" y="133"/>
                  <a:pt x="722" y="137"/>
                  <a:pt x="730" y="141"/>
                </a:cubicBezTo>
                <a:cubicBezTo>
                  <a:pt x="737" y="144"/>
                  <a:pt x="743" y="149"/>
                  <a:pt x="747" y="155"/>
                </a:cubicBezTo>
                <a:cubicBezTo>
                  <a:pt x="751" y="162"/>
                  <a:pt x="753" y="170"/>
                  <a:pt x="753" y="179"/>
                </a:cubicBezTo>
                <a:cubicBezTo>
                  <a:pt x="753" y="188"/>
                  <a:pt x="751" y="197"/>
                  <a:pt x="746" y="205"/>
                </a:cubicBezTo>
                <a:cubicBezTo>
                  <a:pt x="740" y="214"/>
                  <a:pt x="733" y="220"/>
                  <a:pt x="724" y="224"/>
                </a:cubicBezTo>
                <a:cubicBezTo>
                  <a:pt x="714" y="229"/>
                  <a:pt x="703" y="231"/>
                  <a:pt x="691" y="231"/>
                </a:cubicBezTo>
                <a:cubicBezTo>
                  <a:pt x="671" y="231"/>
                  <a:pt x="656" y="227"/>
                  <a:pt x="646" y="218"/>
                </a:cubicBezTo>
                <a:cubicBezTo>
                  <a:pt x="635" y="209"/>
                  <a:pt x="629" y="196"/>
                  <a:pt x="626" y="178"/>
                </a:cubicBezTo>
                <a:close/>
                <a:moveTo>
                  <a:pt x="784" y="291"/>
                </a:moveTo>
                <a:lnTo>
                  <a:pt x="784" y="63"/>
                </a:lnTo>
                <a:lnTo>
                  <a:pt x="808" y="63"/>
                </a:lnTo>
                <a:lnTo>
                  <a:pt x="808" y="84"/>
                </a:lnTo>
                <a:cubicBezTo>
                  <a:pt x="813" y="76"/>
                  <a:pt x="819" y="70"/>
                  <a:pt x="827" y="66"/>
                </a:cubicBezTo>
                <a:cubicBezTo>
                  <a:pt x="834" y="61"/>
                  <a:pt x="842" y="59"/>
                  <a:pt x="852" y="59"/>
                </a:cubicBezTo>
                <a:cubicBezTo>
                  <a:pt x="865" y="59"/>
                  <a:pt x="877" y="63"/>
                  <a:pt x="887" y="70"/>
                </a:cubicBezTo>
                <a:cubicBezTo>
                  <a:pt x="897" y="77"/>
                  <a:pt x="904" y="88"/>
                  <a:pt x="909" y="101"/>
                </a:cubicBezTo>
                <a:cubicBezTo>
                  <a:pt x="914" y="114"/>
                  <a:pt x="917" y="128"/>
                  <a:pt x="917" y="144"/>
                </a:cubicBezTo>
                <a:cubicBezTo>
                  <a:pt x="917" y="161"/>
                  <a:pt x="914" y="176"/>
                  <a:pt x="909" y="189"/>
                </a:cubicBezTo>
                <a:cubicBezTo>
                  <a:pt x="903" y="203"/>
                  <a:pt x="895" y="213"/>
                  <a:pt x="884" y="220"/>
                </a:cubicBezTo>
                <a:cubicBezTo>
                  <a:pt x="873" y="228"/>
                  <a:pt x="862" y="231"/>
                  <a:pt x="850" y="231"/>
                </a:cubicBezTo>
                <a:cubicBezTo>
                  <a:pt x="842" y="231"/>
                  <a:pt x="834" y="229"/>
                  <a:pt x="827" y="225"/>
                </a:cubicBezTo>
                <a:cubicBezTo>
                  <a:pt x="820" y="221"/>
                  <a:pt x="814" y="216"/>
                  <a:pt x="810" y="210"/>
                </a:cubicBezTo>
                <a:lnTo>
                  <a:pt x="810" y="291"/>
                </a:lnTo>
                <a:lnTo>
                  <a:pt x="784" y="291"/>
                </a:lnTo>
                <a:close/>
                <a:moveTo>
                  <a:pt x="808" y="146"/>
                </a:moveTo>
                <a:cubicBezTo>
                  <a:pt x="808" y="167"/>
                  <a:pt x="812" y="183"/>
                  <a:pt x="819" y="193"/>
                </a:cubicBezTo>
                <a:cubicBezTo>
                  <a:pt x="827" y="203"/>
                  <a:pt x="837" y="208"/>
                  <a:pt x="848" y="208"/>
                </a:cubicBezTo>
                <a:cubicBezTo>
                  <a:pt x="860" y="208"/>
                  <a:pt x="870" y="203"/>
                  <a:pt x="878" y="193"/>
                </a:cubicBezTo>
                <a:cubicBezTo>
                  <a:pt x="886" y="182"/>
                  <a:pt x="890" y="166"/>
                  <a:pt x="890" y="144"/>
                </a:cubicBezTo>
                <a:cubicBezTo>
                  <a:pt x="890" y="123"/>
                  <a:pt x="886" y="107"/>
                  <a:pt x="878" y="97"/>
                </a:cubicBezTo>
                <a:cubicBezTo>
                  <a:pt x="870" y="86"/>
                  <a:pt x="861" y="81"/>
                  <a:pt x="850" y="81"/>
                </a:cubicBezTo>
                <a:cubicBezTo>
                  <a:pt x="839" y="81"/>
                  <a:pt x="829" y="87"/>
                  <a:pt x="820" y="98"/>
                </a:cubicBezTo>
                <a:cubicBezTo>
                  <a:pt x="812" y="109"/>
                  <a:pt x="808" y="125"/>
                  <a:pt x="808" y="146"/>
                </a:cubicBezTo>
                <a:close/>
                <a:moveTo>
                  <a:pt x="1049" y="207"/>
                </a:moveTo>
                <a:cubicBezTo>
                  <a:pt x="1039" y="216"/>
                  <a:pt x="1030" y="222"/>
                  <a:pt x="1021" y="226"/>
                </a:cubicBezTo>
                <a:cubicBezTo>
                  <a:pt x="1012" y="229"/>
                  <a:pt x="1002" y="231"/>
                  <a:pt x="992" y="231"/>
                </a:cubicBezTo>
                <a:cubicBezTo>
                  <a:pt x="975" y="231"/>
                  <a:pt x="962" y="227"/>
                  <a:pt x="953" y="218"/>
                </a:cubicBezTo>
                <a:cubicBezTo>
                  <a:pt x="944" y="209"/>
                  <a:pt x="940" y="198"/>
                  <a:pt x="940" y="184"/>
                </a:cubicBezTo>
                <a:cubicBezTo>
                  <a:pt x="940" y="176"/>
                  <a:pt x="941" y="169"/>
                  <a:pt x="945" y="162"/>
                </a:cubicBezTo>
                <a:cubicBezTo>
                  <a:pt x="948" y="155"/>
                  <a:pt x="953" y="150"/>
                  <a:pt x="958" y="146"/>
                </a:cubicBezTo>
                <a:cubicBezTo>
                  <a:pt x="964" y="142"/>
                  <a:pt x="970" y="139"/>
                  <a:pt x="977" y="137"/>
                </a:cubicBezTo>
                <a:cubicBezTo>
                  <a:pt x="982" y="136"/>
                  <a:pt x="990" y="134"/>
                  <a:pt x="1000" y="133"/>
                </a:cubicBezTo>
                <a:cubicBezTo>
                  <a:pt x="1021" y="130"/>
                  <a:pt x="1037" y="127"/>
                  <a:pt x="1046" y="123"/>
                </a:cubicBezTo>
                <a:cubicBezTo>
                  <a:pt x="1047" y="119"/>
                  <a:pt x="1047" y="117"/>
                  <a:pt x="1047" y="116"/>
                </a:cubicBezTo>
                <a:cubicBezTo>
                  <a:pt x="1047" y="105"/>
                  <a:pt x="1044" y="97"/>
                  <a:pt x="1039" y="92"/>
                </a:cubicBezTo>
                <a:cubicBezTo>
                  <a:pt x="1033" y="86"/>
                  <a:pt x="1023" y="83"/>
                  <a:pt x="1010" y="83"/>
                </a:cubicBezTo>
                <a:cubicBezTo>
                  <a:pt x="997" y="83"/>
                  <a:pt x="988" y="85"/>
                  <a:pt x="982" y="89"/>
                </a:cubicBezTo>
                <a:cubicBezTo>
                  <a:pt x="977" y="94"/>
                  <a:pt x="972" y="102"/>
                  <a:pt x="969" y="114"/>
                </a:cubicBezTo>
                <a:lnTo>
                  <a:pt x="944" y="110"/>
                </a:lnTo>
                <a:cubicBezTo>
                  <a:pt x="946" y="98"/>
                  <a:pt x="950" y="89"/>
                  <a:pt x="955" y="82"/>
                </a:cubicBezTo>
                <a:cubicBezTo>
                  <a:pt x="961" y="75"/>
                  <a:pt x="968" y="69"/>
                  <a:pt x="978" y="65"/>
                </a:cubicBezTo>
                <a:cubicBezTo>
                  <a:pt x="989" y="61"/>
                  <a:pt x="1000" y="59"/>
                  <a:pt x="1013" y="59"/>
                </a:cubicBezTo>
                <a:cubicBezTo>
                  <a:pt x="1027" y="59"/>
                  <a:pt x="1037" y="61"/>
                  <a:pt x="1045" y="64"/>
                </a:cubicBezTo>
                <a:cubicBezTo>
                  <a:pt x="1054" y="68"/>
                  <a:pt x="1060" y="72"/>
                  <a:pt x="1064" y="77"/>
                </a:cubicBezTo>
                <a:cubicBezTo>
                  <a:pt x="1067" y="82"/>
                  <a:pt x="1070" y="88"/>
                  <a:pt x="1072" y="96"/>
                </a:cubicBezTo>
                <a:cubicBezTo>
                  <a:pt x="1073" y="101"/>
                  <a:pt x="1073" y="109"/>
                  <a:pt x="1073" y="122"/>
                </a:cubicBezTo>
                <a:lnTo>
                  <a:pt x="1073" y="159"/>
                </a:lnTo>
                <a:cubicBezTo>
                  <a:pt x="1073" y="184"/>
                  <a:pt x="1073" y="201"/>
                  <a:pt x="1075" y="208"/>
                </a:cubicBezTo>
                <a:cubicBezTo>
                  <a:pt x="1076" y="215"/>
                  <a:pt x="1078" y="221"/>
                  <a:pt x="1081" y="228"/>
                </a:cubicBezTo>
                <a:lnTo>
                  <a:pt x="1054" y="228"/>
                </a:lnTo>
                <a:cubicBezTo>
                  <a:pt x="1051" y="222"/>
                  <a:pt x="1049" y="215"/>
                  <a:pt x="1049" y="207"/>
                </a:cubicBezTo>
                <a:close/>
                <a:moveTo>
                  <a:pt x="1047" y="145"/>
                </a:moveTo>
                <a:cubicBezTo>
                  <a:pt x="1037" y="149"/>
                  <a:pt x="1023" y="153"/>
                  <a:pt x="1004" y="156"/>
                </a:cubicBezTo>
                <a:cubicBezTo>
                  <a:pt x="993" y="157"/>
                  <a:pt x="986" y="159"/>
                  <a:pt x="981" y="161"/>
                </a:cubicBezTo>
                <a:cubicBezTo>
                  <a:pt x="977" y="163"/>
                  <a:pt x="973" y="166"/>
                  <a:pt x="971" y="170"/>
                </a:cubicBezTo>
                <a:cubicBezTo>
                  <a:pt x="969" y="174"/>
                  <a:pt x="967" y="178"/>
                  <a:pt x="967" y="183"/>
                </a:cubicBezTo>
                <a:cubicBezTo>
                  <a:pt x="967" y="191"/>
                  <a:pt x="970" y="197"/>
                  <a:pt x="975" y="202"/>
                </a:cubicBezTo>
                <a:cubicBezTo>
                  <a:pt x="981" y="207"/>
                  <a:pt x="988" y="209"/>
                  <a:pt x="998" y="209"/>
                </a:cubicBezTo>
                <a:cubicBezTo>
                  <a:pt x="1008" y="209"/>
                  <a:pt x="1017" y="207"/>
                  <a:pt x="1025" y="202"/>
                </a:cubicBezTo>
                <a:cubicBezTo>
                  <a:pt x="1033" y="198"/>
                  <a:pt x="1039" y="191"/>
                  <a:pt x="1042" y="183"/>
                </a:cubicBezTo>
                <a:cubicBezTo>
                  <a:pt x="1045" y="177"/>
                  <a:pt x="1046" y="167"/>
                  <a:pt x="1046" y="155"/>
                </a:cubicBezTo>
                <a:lnTo>
                  <a:pt x="1047" y="145"/>
                </a:lnTo>
                <a:close/>
                <a:moveTo>
                  <a:pt x="1213" y="167"/>
                </a:moveTo>
                <a:lnTo>
                  <a:pt x="1239" y="171"/>
                </a:lnTo>
                <a:cubicBezTo>
                  <a:pt x="1236" y="190"/>
                  <a:pt x="1229" y="205"/>
                  <a:pt x="1217" y="215"/>
                </a:cubicBezTo>
                <a:cubicBezTo>
                  <a:pt x="1206" y="226"/>
                  <a:pt x="1192" y="231"/>
                  <a:pt x="1175" y="231"/>
                </a:cubicBezTo>
                <a:cubicBezTo>
                  <a:pt x="1154" y="231"/>
                  <a:pt x="1137" y="224"/>
                  <a:pt x="1124" y="209"/>
                </a:cubicBezTo>
                <a:cubicBezTo>
                  <a:pt x="1112" y="194"/>
                  <a:pt x="1105" y="173"/>
                  <a:pt x="1105" y="146"/>
                </a:cubicBezTo>
                <a:cubicBezTo>
                  <a:pt x="1105" y="128"/>
                  <a:pt x="1108" y="113"/>
                  <a:pt x="1113" y="99"/>
                </a:cubicBezTo>
                <a:cubicBezTo>
                  <a:pt x="1119" y="86"/>
                  <a:pt x="1127" y="76"/>
                  <a:pt x="1139" y="69"/>
                </a:cubicBezTo>
                <a:cubicBezTo>
                  <a:pt x="1150" y="63"/>
                  <a:pt x="1162" y="59"/>
                  <a:pt x="1175" y="59"/>
                </a:cubicBezTo>
                <a:cubicBezTo>
                  <a:pt x="1192" y="59"/>
                  <a:pt x="1205" y="64"/>
                  <a:pt x="1216" y="73"/>
                </a:cubicBezTo>
                <a:cubicBezTo>
                  <a:pt x="1227" y="82"/>
                  <a:pt x="1233" y="95"/>
                  <a:pt x="1236" y="111"/>
                </a:cubicBezTo>
                <a:lnTo>
                  <a:pt x="1211" y="116"/>
                </a:lnTo>
                <a:cubicBezTo>
                  <a:pt x="1209" y="104"/>
                  <a:pt x="1204" y="96"/>
                  <a:pt x="1198" y="91"/>
                </a:cubicBezTo>
                <a:cubicBezTo>
                  <a:pt x="1192" y="85"/>
                  <a:pt x="1185" y="82"/>
                  <a:pt x="1176" y="82"/>
                </a:cubicBezTo>
                <a:cubicBezTo>
                  <a:pt x="1163" y="82"/>
                  <a:pt x="1152" y="87"/>
                  <a:pt x="1144" y="97"/>
                </a:cubicBezTo>
                <a:cubicBezTo>
                  <a:pt x="1136" y="107"/>
                  <a:pt x="1132" y="123"/>
                  <a:pt x="1132" y="145"/>
                </a:cubicBezTo>
                <a:cubicBezTo>
                  <a:pt x="1132" y="167"/>
                  <a:pt x="1136" y="183"/>
                  <a:pt x="1144" y="193"/>
                </a:cubicBezTo>
                <a:cubicBezTo>
                  <a:pt x="1152" y="203"/>
                  <a:pt x="1162" y="208"/>
                  <a:pt x="1175" y="208"/>
                </a:cubicBezTo>
                <a:cubicBezTo>
                  <a:pt x="1185" y="208"/>
                  <a:pt x="1193" y="205"/>
                  <a:pt x="1200" y="198"/>
                </a:cubicBezTo>
                <a:cubicBezTo>
                  <a:pt x="1207" y="192"/>
                  <a:pt x="1211" y="181"/>
                  <a:pt x="1213" y="167"/>
                </a:cubicBezTo>
                <a:close/>
                <a:moveTo>
                  <a:pt x="1366" y="174"/>
                </a:moveTo>
                <a:lnTo>
                  <a:pt x="1392" y="178"/>
                </a:lnTo>
                <a:cubicBezTo>
                  <a:pt x="1388" y="195"/>
                  <a:pt x="1380" y="208"/>
                  <a:pt x="1369" y="217"/>
                </a:cubicBezTo>
                <a:cubicBezTo>
                  <a:pt x="1358" y="226"/>
                  <a:pt x="1343" y="231"/>
                  <a:pt x="1325" y="231"/>
                </a:cubicBezTo>
                <a:cubicBezTo>
                  <a:pt x="1303" y="231"/>
                  <a:pt x="1285" y="224"/>
                  <a:pt x="1272" y="209"/>
                </a:cubicBezTo>
                <a:cubicBezTo>
                  <a:pt x="1259" y="194"/>
                  <a:pt x="1252" y="173"/>
                  <a:pt x="1252" y="147"/>
                </a:cubicBezTo>
                <a:cubicBezTo>
                  <a:pt x="1252" y="119"/>
                  <a:pt x="1259" y="98"/>
                  <a:pt x="1272" y="82"/>
                </a:cubicBezTo>
                <a:cubicBezTo>
                  <a:pt x="1285" y="67"/>
                  <a:pt x="1303" y="59"/>
                  <a:pt x="1324" y="59"/>
                </a:cubicBezTo>
                <a:cubicBezTo>
                  <a:pt x="1344" y="59"/>
                  <a:pt x="1361" y="67"/>
                  <a:pt x="1374" y="82"/>
                </a:cubicBezTo>
                <a:cubicBezTo>
                  <a:pt x="1387" y="97"/>
                  <a:pt x="1393" y="118"/>
                  <a:pt x="1393" y="145"/>
                </a:cubicBezTo>
                <a:cubicBezTo>
                  <a:pt x="1393" y="147"/>
                  <a:pt x="1393" y="149"/>
                  <a:pt x="1393" y="152"/>
                </a:cubicBezTo>
                <a:lnTo>
                  <a:pt x="1279" y="152"/>
                </a:lnTo>
                <a:cubicBezTo>
                  <a:pt x="1280" y="170"/>
                  <a:pt x="1285" y="184"/>
                  <a:pt x="1293" y="194"/>
                </a:cubicBezTo>
                <a:cubicBezTo>
                  <a:pt x="1302" y="203"/>
                  <a:pt x="1312" y="208"/>
                  <a:pt x="1325" y="208"/>
                </a:cubicBezTo>
                <a:cubicBezTo>
                  <a:pt x="1335" y="208"/>
                  <a:pt x="1343" y="206"/>
                  <a:pt x="1350" y="200"/>
                </a:cubicBezTo>
                <a:cubicBezTo>
                  <a:pt x="1356" y="195"/>
                  <a:pt x="1362" y="186"/>
                  <a:pt x="1366" y="174"/>
                </a:cubicBezTo>
                <a:close/>
                <a:moveTo>
                  <a:pt x="1280" y="130"/>
                </a:moveTo>
                <a:lnTo>
                  <a:pt x="1366" y="130"/>
                </a:lnTo>
                <a:cubicBezTo>
                  <a:pt x="1365" y="116"/>
                  <a:pt x="1361" y="105"/>
                  <a:pt x="1356" y="98"/>
                </a:cubicBezTo>
                <a:cubicBezTo>
                  <a:pt x="1348" y="88"/>
                  <a:pt x="1337" y="82"/>
                  <a:pt x="1324" y="82"/>
                </a:cubicBezTo>
                <a:cubicBezTo>
                  <a:pt x="1312" y="82"/>
                  <a:pt x="1302" y="87"/>
                  <a:pt x="1294" y="95"/>
                </a:cubicBezTo>
                <a:cubicBezTo>
                  <a:pt x="1286" y="104"/>
                  <a:pt x="1281" y="115"/>
                  <a:pt x="1280" y="13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0" name="Group 399">
            <a:extLst>
              <a:ext uri="{FF2B5EF4-FFF2-40B4-BE49-F238E27FC236}">
                <a16:creationId xmlns:a16="http://schemas.microsoft.com/office/drawing/2014/main" id="{EF3EA2D5-2353-4414-BFDE-ED6970EB1C31}"/>
              </a:ext>
            </a:extLst>
          </p:cNvPr>
          <p:cNvGrpSpPr/>
          <p:nvPr/>
        </p:nvGrpSpPr>
        <p:grpSpPr>
          <a:xfrm>
            <a:off x="7358063" y="2419350"/>
            <a:ext cx="404813" cy="577850"/>
            <a:chOff x="7358063" y="2419350"/>
            <a:chExt cx="404813" cy="577850"/>
          </a:xfrm>
          <a:solidFill>
            <a:schemeClr val="accent1"/>
          </a:solidFill>
        </p:grpSpPr>
        <p:sp>
          <p:nvSpPr>
            <p:cNvPr id="132" name="Freeform 331">
              <a:extLst>
                <a:ext uri="{FF2B5EF4-FFF2-40B4-BE49-F238E27FC236}">
                  <a16:creationId xmlns:a16="http://schemas.microsoft.com/office/drawing/2014/main" id="{5B20B388-33EF-4924-8E66-5A68B1AB3C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3950" y="2940050"/>
              <a:ext cx="173038" cy="57150"/>
            </a:xfrm>
            <a:custGeom>
              <a:avLst/>
              <a:gdLst>
                <a:gd name="T0" fmla="*/ 0 w 481"/>
                <a:gd name="T1" fmla="*/ 0 h 160"/>
                <a:gd name="T2" fmla="*/ 481 w 481"/>
                <a:gd name="T3" fmla="*/ 0 h 160"/>
                <a:gd name="T4" fmla="*/ 240 w 481"/>
                <a:gd name="T5" fmla="*/ 160 h 160"/>
                <a:gd name="T6" fmla="*/ 0 w 481"/>
                <a:gd name="T7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160">
                  <a:moveTo>
                    <a:pt x="0" y="0"/>
                  </a:moveTo>
                  <a:lnTo>
                    <a:pt x="481" y="0"/>
                  </a:lnTo>
                  <a:lnTo>
                    <a:pt x="240" y="16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3" name="Oval 332">
              <a:extLst>
                <a:ext uri="{FF2B5EF4-FFF2-40B4-BE49-F238E27FC236}">
                  <a16:creationId xmlns:a16="http://schemas.microsoft.com/office/drawing/2014/main" id="{67FA2BDE-C9F6-48C6-870A-FB37052F5C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16813" y="2592388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4" name="Oval 333">
              <a:extLst>
                <a:ext uri="{FF2B5EF4-FFF2-40B4-BE49-F238E27FC236}">
                  <a16:creationId xmlns:a16="http://schemas.microsoft.com/office/drawing/2014/main" id="{689B6CF5-56DC-4E45-BED4-9BE0D3D021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1100" y="2708275"/>
              <a:ext cx="58738" cy="587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5" name="Freeform 334">
              <a:extLst>
                <a:ext uri="{FF2B5EF4-FFF2-40B4-BE49-F238E27FC236}">
                  <a16:creationId xmlns:a16="http://schemas.microsoft.com/office/drawing/2014/main" id="{984929AA-CEA4-4CC0-B86C-8401F3D25A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8063" y="2419350"/>
              <a:ext cx="404813" cy="492125"/>
            </a:xfrm>
            <a:custGeom>
              <a:avLst/>
              <a:gdLst>
                <a:gd name="T0" fmla="*/ 863 w 1123"/>
                <a:gd name="T1" fmla="*/ 1042 h 1363"/>
                <a:gd name="T2" fmla="*/ 888 w 1123"/>
                <a:gd name="T3" fmla="*/ 905 h 1363"/>
                <a:gd name="T4" fmla="*/ 953 w 1123"/>
                <a:gd name="T5" fmla="*/ 1042 h 1363"/>
                <a:gd name="T6" fmla="*/ 863 w 1123"/>
                <a:gd name="T7" fmla="*/ 1042 h 1363"/>
                <a:gd name="T8" fmla="*/ 172 w 1123"/>
                <a:gd name="T9" fmla="*/ 1042 h 1363"/>
                <a:gd name="T10" fmla="*/ 235 w 1123"/>
                <a:gd name="T11" fmla="*/ 905 h 1363"/>
                <a:gd name="T12" fmla="*/ 260 w 1123"/>
                <a:gd name="T13" fmla="*/ 1042 h 1363"/>
                <a:gd name="T14" fmla="*/ 172 w 1123"/>
                <a:gd name="T15" fmla="*/ 1042 h 1363"/>
                <a:gd name="T16" fmla="*/ 644 w 1123"/>
                <a:gd name="T17" fmla="*/ 0 h 1363"/>
                <a:gd name="T18" fmla="*/ 481 w 1123"/>
                <a:gd name="T19" fmla="*/ 0 h 1363"/>
                <a:gd name="T20" fmla="*/ 0 w 1123"/>
                <a:gd name="T21" fmla="*/ 1030 h 1363"/>
                <a:gd name="T22" fmla="*/ 1 w 1123"/>
                <a:gd name="T23" fmla="*/ 1223 h 1363"/>
                <a:gd name="T24" fmla="*/ 290 w 1123"/>
                <a:gd name="T25" fmla="*/ 1223 h 1363"/>
                <a:gd name="T26" fmla="*/ 430 w 1123"/>
                <a:gd name="T27" fmla="*/ 1083 h 1363"/>
                <a:gd name="T28" fmla="*/ 354 w 1123"/>
                <a:gd name="T29" fmla="*/ 651 h 1363"/>
                <a:gd name="T30" fmla="*/ 562 w 1123"/>
                <a:gd name="T31" fmla="*/ 206 h 1363"/>
                <a:gd name="T32" fmla="*/ 770 w 1123"/>
                <a:gd name="T33" fmla="*/ 650 h 1363"/>
                <a:gd name="T34" fmla="*/ 672 w 1123"/>
                <a:gd name="T35" fmla="*/ 1202 h 1363"/>
                <a:gd name="T36" fmla="*/ 476 w 1123"/>
                <a:gd name="T37" fmla="*/ 1202 h 1363"/>
                <a:gd name="T38" fmla="*/ 316 w 1123"/>
                <a:gd name="T39" fmla="*/ 1363 h 1363"/>
                <a:gd name="T40" fmla="*/ 806 w 1123"/>
                <a:gd name="T41" fmla="*/ 1363 h 1363"/>
                <a:gd name="T42" fmla="*/ 831 w 1123"/>
                <a:gd name="T43" fmla="*/ 1223 h 1363"/>
                <a:gd name="T44" fmla="*/ 1123 w 1123"/>
                <a:gd name="T45" fmla="*/ 1223 h 1363"/>
                <a:gd name="T46" fmla="*/ 1123 w 1123"/>
                <a:gd name="T47" fmla="*/ 1029 h 1363"/>
                <a:gd name="T48" fmla="*/ 644 w 1123"/>
                <a:gd name="T49" fmla="*/ 0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3" h="1363">
                  <a:moveTo>
                    <a:pt x="863" y="1042"/>
                  </a:moveTo>
                  <a:lnTo>
                    <a:pt x="888" y="905"/>
                  </a:lnTo>
                  <a:lnTo>
                    <a:pt x="953" y="1042"/>
                  </a:lnTo>
                  <a:lnTo>
                    <a:pt x="863" y="1042"/>
                  </a:lnTo>
                  <a:close/>
                  <a:moveTo>
                    <a:pt x="172" y="1042"/>
                  </a:moveTo>
                  <a:lnTo>
                    <a:pt x="235" y="905"/>
                  </a:lnTo>
                  <a:lnTo>
                    <a:pt x="260" y="1042"/>
                  </a:lnTo>
                  <a:lnTo>
                    <a:pt x="172" y="1042"/>
                  </a:lnTo>
                  <a:close/>
                  <a:moveTo>
                    <a:pt x="644" y="0"/>
                  </a:moveTo>
                  <a:lnTo>
                    <a:pt x="481" y="0"/>
                  </a:lnTo>
                  <a:lnTo>
                    <a:pt x="0" y="1030"/>
                  </a:lnTo>
                  <a:lnTo>
                    <a:pt x="1" y="1223"/>
                  </a:lnTo>
                  <a:lnTo>
                    <a:pt x="290" y="1223"/>
                  </a:lnTo>
                  <a:lnTo>
                    <a:pt x="430" y="1083"/>
                  </a:lnTo>
                  <a:lnTo>
                    <a:pt x="354" y="651"/>
                  </a:lnTo>
                  <a:lnTo>
                    <a:pt x="562" y="206"/>
                  </a:lnTo>
                  <a:lnTo>
                    <a:pt x="770" y="650"/>
                  </a:lnTo>
                  <a:lnTo>
                    <a:pt x="672" y="1202"/>
                  </a:lnTo>
                  <a:lnTo>
                    <a:pt x="476" y="1202"/>
                  </a:lnTo>
                  <a:lnTo>
                    <a:pt x="316" y="1363"/>
                  </a:lnTo>
                  <a:lnTo>
                    <a:pt x="806" y="1363"/>
                  </a:lnTo>
                  <a:lnTo>
                    <a:pt x="831" y="1223"/>
                  </a:lnTo>
                  <a:lnTo>
                    <a:pt x="1123" y="1223"/>
                  </a:lnTo>
                  <a:lnTo>
                    <a:pt x="1123" y="1029"/>
                  </a:lnTo>
                  <a:lnTo>
                    <a:pt x="6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6" name="Freeform 335">
              <a:extLst>
                <a:ext uri="{FF2B5EF4-FFF2-40B4-BE49-F238E27FC236}">
                  <a16:creationId xmlns:a16="http://schemas.microsoft.com/office/drawing/2014/main" id="{A75A986A-75E5-4B28-88AB-938EEC577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8063" y="2649538"/>
              <a:ext cx="84138" cy="146050"/>
            </a:xfrm>
            <a:custGeom>
              <a:avLst/>
              <a:gdLst>
                <a:gd name="T0" fmla="*/ 181 w 234"/>
                <a:gd name="T1" fmla="*/ 0 h 402"/>
                <a:gd name="T2" fmla="*/ 234 w 234"/>
                <a:gd name="T3" fmla="*/ 267 h 402"/>
                <a:gd name="T4" fmla="*/ 170 w 234"/>
                <a:gd name="T5" fmla="*/ 402 h 402"/>
                <a:gd name="T6" fmla="*/ 0 w 234"/>
                <a:gd name="T7" fmla="*/ 390 h 402"/>
                <a:gd name="T8" fmla="*/ 181 w 234"/>
                <a:gd name="T9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402">
                  <a:moveTo>
                    <a:pt x="181" y="0"/>
                  </a:moveTo>
                  <a:lnTo>
                    <a:pt x="234" y="267"/>
                  </a:lnTo>
                  <a:lnTo>
                    <a:pt x="170" y="402"/>
                  </a:lnTo>
                  <a:lnTo>
                    <a:pt x="0" y="390"/>
                  </a:lnTo>
                  <a:lnTo>
                    <a:pt x="18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7" name="Freeform 336">
              <a:extLst>
                <a:ext uri="{FF2B5EF4-FFF2-40B4-BE49-F238E27FC236}">
                  <a16:creationId xmlns:a16="http://schemas.microsoft.com/office/drawing/2014/main" id="{495E3BAE-0027-4EB7-ACFE-162258A864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7150" y="2649538"/>
              <a:ext cx="85725" cy="144463"/>
            </a:xfrm>
            <a:custGeom>
              <a:avLst/>
              <a:gdLst>
                <a:gd name="T0" fmla="*/ 52 w 235"/>
                <a:gd name="T1" fmla="*/ 0 h 402"/>
                <a:gd name="T2" fmla="*/ 0 w 235"/>
                <a:gd name="T3" fmla="*/ 267 h 402"/>
                <a:gd name="T4" fmla="*/ 63 w 235"/>
                <a:gd name="T5" fmla="*/ 402 h 402"/>
                <a:gd name="T6" fmla="*/ 235 w 235"/>
                <a:gd name="T7" fmla="*/ 392 h 402"/>
                <a:gd name="T8" fmla="*/ 52 w 235"/>
                <a:gd name="T9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5" h="402">
                  <a:moveTo>
                    <a:pt x="52" y="0"/>
                  </a:moveTo>
                  <a:lnTo>
                    <a:pt x="0" y="267"/>
                  </a:lnTo>
                  <a:lnTo>
                    <a:pt x="63" y="402"/>
                  </a:lnTo>
                  <a:lnTo>
                    <a:pt x="235" y="392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38" name="Freeform 337">
            <a:extLst>
              <a:ext uri="{FF2B5EF4-FFF2-40B4-BE49-F238E27FC236}">
                <a16:creationId xmlns:a16="http://schemas.microsoft.com/office/drawing/2014/main" id="{289F129E-6338-416B-82D2-41F246E1E70C}"/>
              </a:ext>
            </a:extLst>
          </p:cNvPr>
          <p:cNvSpPr>
            <a:spLocks noEditPoints="1"/>
          </p:cNvSpPr>
          <p:nvPr/>
        </p:nvSpPr>
        <p:spPr bwMode="auto">
          <a:xfrm>
            <a:off x="8918575" y="3032125"/>
            <a:ext cx="333375" cy="106363"/>
          </a:xfrm>
          <a:custGeom>
            <a:avLst/>
            <a:gdLst>
              <a:gd name="T0" fmla="*/ 28 w 923"/>
              <a:gd name="T1" fmla="*/ 0 h 294"/>
              <a:gd name="T2" fmla="*/ 173 w 923"/>
              <a:gd name="T3" fmla="*/ 228 h 294"/>
              <a:gd name="T4" fmla="*/ 96 w 923"/>
              <a:gd name="T5" fmla="*/ 220 h 294"/>
              <a:gd name="T6" fmla="*/ 72 w 923"/>
              <a:gd name="T7" fmla="*/ 101 h 294"/>
              <a:gd name="T8" fmla="*/ 154 w 923"/>
              <a:gd name="T9" fmla="*/ 66 h 294"/>
              <a:gd name="T10" fmla="*/ 197 w 923"/>
              <a:gd name="T11" fmla="*/ 0 h 294"/>
              <a:gd name="T12" fmla="*/ 91 w 923"/>
              <a:gd name="T13" fmla="*/ 145 h 294"/>
              <a:gd name="T14" fmla="*/ 162 w 923"/>
              <a:gd name="T15" fmla="*/ 193 h 294"/>
              <a:gd name="T16" fmla="*/ 131 w 923"/>
              <a:gd name="T17" fmla="*/ 83 h 294"/>
              <a:gd name="T18" fmla="*/ 343 w 923"/>
              <a:gd name="T19" fmla="*/ 174 h 294"/>
              <a:gd name="T20" fmla="*/ 303 w 923"/>
              <a:gd name="T21" fmla="*/ 231 h 294"/>
              <a:gd name="T22" fmla="*/ 250 w 923"/>
              <a:gd name="T23" fmla="*/ 82 h 294"/>
              <a:gd name="T24" fmla="*/ 371 w 923"/>
              <a:gd name="T25" fmla="*/ 145 h 294"/>
              <a:gd name="T26" fmla="*/ 271 w 923"/>
              <a:gd name="T27" fmla="*/ 194 h 294"/>
              <a:gd name="T28" fmla="*/ 343 w 923"/>
              <a:gd name="T29" fmla="*/ 174 h 294"/>
              <a:gd name="T30" fmla="*/ 334 w 923"/>
              <a:gd name="T31" fmla="*/ 98 h 294"/>
              <a:gd name="T32" fmla="*/ 258 w 923"/>
              <a:gd name="T33" fmla="*/ 130 h 294"/>
              <a:gd name="T34" fmla="*/ 426 w 923"/>
              <a:gd name="T35" fmla="*/ 63 h 294"/>
              <a:gd name="T36" fmla="*/ 501 w 923"/>
              <a:gd name="T37" fmla="*/ 65 h 294"/>
              <a:gd name="T38" fmla="*/ 527 w 923"/>
              <a:gd name="T39" fmla="*/ 126 h 294"/>
              <a:gd name="T40" fmla="*/ 501 w 923"/>
              <a:gd name="T41" fmla="*/ 128 h 294"/>
              <a:gd name="T42" fmla="*/ 470 w 923"/>
              <a:gd name="T43" fmla="*/ 83 h 294"/>
              <a:gd name="T44" fmla="*/ 429 w 923"/>
              <a:gd name="T45" fmla="*/ 228 h 294"/>
              <a:gd name="T46" fmla="*/ 628 w 923"/>
              <a:gd name="T47" fmla="*/ 227 h 294"/>
              <a:gd name="T48" fmla="*/ 575 w 923"/>
              <a:gd name="T49" fmla="*/ 212 h 294"/>
              <a:gd name="T50" fmla="*/ 553 w 923"/>
              <a:gd name="T51" fmla="*/ 84 h 294"/>
              <a:gd name="T52" fmla="*/ 572 w 923"/>
              <a:gd name="T53" fmla="*/ 22 h 294"/>
              <a:gd name="T54" fmla="*/ 624 w 923"/>
              <a:gd name="T55" fmla="*/ 63 h 294"/>
              <a:gd name="T56" fmla="*/ 598 w 923"/>
              <a:gd name="T57" fmla="*/ 181 h 294"/>
              <a:gd name="T58" fmla="*/ 613 w 923"/>
              <a:gd name="T59" fmla="*/ 204 h 294"/>
              <a:gd name="T60" fmla="*/ 650 w 923"/>
              <a:gd name="T61" fmla="*/ 0 h 294"/>
              <a:gd name="T62" fmla="*/ 650 w 923"/>
              <a:gd name="T63" fmla="*/ 32 h 294"/>
              <a:gd name="T64" fmla="*/ 676 w 923"/>
              <a:gd name="T65" fmla="*/ 63 h 294"/>
              <a:gd name="T66" fmla="*/ 772 w 923"/>
              <a:gd name="T67" fmla="*/ 203 h 294"/>
              <a:gd name="T68" fmla="*/ 734 w 923"/>
              <a:gd name="T69" fmla="*/ 225 h 294"/>
              <a:gd name="T70" fmla="*/ 720 w 923"/>
              <a:gd name="T71" fmla="*/ 84 h 294"/>
              <a:gd name="T72" fmla="*/ 720 w 923"/>
              <a:gd name="T73" fmla="*/ 63 h 294"/>
              <a:gd name="T74" fmla="*/ 746 w 923"/>
              <a:gd name="T75" fmla="*/ 63 h 294"/>
              <a:gd name="T76" fmla="*/ 746 w 923"/>
              <a:gd name="T77" fmla="*/ 84 h 294"/>
              <a:gd name="T78" fmla="*/ 752 w 923"/>
              <a:gd name="T79" fmla="*/ 202 h 294"/>
              <a:gd name="T80" fmla="*/ 796 w 923"/>
              <a:gd name="T81" fmla="*/ 291 h 294"/>
              <a:gd name="T82" fmla="*/ 822 w 923"/>
              <a:gd name="T83" fmla="*/ 265 h 294"/>
              <a:gd name="T84" fmla="*/ 841 w 923"/>
              <a:gd name="T85" fmla="*/ 228 h 294"/>
              <a:gd name="T86" fmla="*/ 843 w 923"/>
              <a:gd name="T87" fmla="*/ 158 h 294"/>
              <a:gd name="T88" fmla="*/ 897 w 923"/>
              <a:gd name="T89" fmla="*/ 63 h 294"/>
              <a:gd name="T90" fmla="*/ 851 w 923"/>
              <a:gd name="T91" fmla="*/ 268 h 294"/>
              <a:gd name="T92" fmla="*/ 796 w 923"/>
              <a:gd name="T93" fmla="*/ 291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923" h="294">
                <a:moveTo>
                  <a:pt x="0" y="228"/>
                </a:moveTo>
                <a:lnTo>
                  <a:pt x="0" y="0"/>
                </a:lnTo>
                <a:lnTo>
                  <a:pt x="28" y="0"/>
                </a:lnTo>
                <a:lnTo>
                  <a:pt x="28" y="228"/>
                </a:lnTo>
                <a:lnTo>
                  <a:pt x="0" y="228"/>
                </a:lnTo>
                <a:close/>
                <a:moveTo>
                  <a:pt x="173" y="228"/>
                </a:moveTo>
                <a:lnTo>
                  <a:pt x="173" y="207"/>
                </a:lnTo>
                <a:cubicBezTo>
                  <a:pt x="163" y="223"/>
                  <a:pt x="149" y="231"/>
                  <a:pt x="130" y="231"/>
                </a:cubicBezTo>
                <a:cubicBezTo>
                  <a:pt x="118" y="231"/>
                  <a:pt x="107" y="228"/>
                  <a:pt x="96" y="220"/>
                </a:cubicBezTo>
                <a:cubicBezTo>
                  <a:pt x="86" y="213"/>
                  <a:pt x="78" y="203"/>
                  <a:pt x="73" y="190"/>
                </a:cubicBezTo>
                <a:cubicBezTo>
                  <a:pt x="67" y="177"/>
                  <a:pt x="64" y="162"/>
                  <a:pt x="64" y="145"/>
                </a:cubicBezTo>
                <a:cubicBezTo>
                  <a:pt x="64" y="129"/>
                  <a:pt x="67" y="114"/>
                  <a:pt x="72" y="101"/>
                </a:cubicBezTo>
                <a:cubicBezTo>
                  <a:pt x="77" y="87"/>
                  <a:pt x="85" y="77"/>
                  <a:pt x="95" y="70"/>
                </a:cubicBezTo>
                <a:cubicBezTo>
                  <a:pt x="105" y="63"/>
                  <a:pt x="116" y="59"/>
                  <a:pt x="129" y="59"/>
                </a:cubicBezTo>
                <a:cubicBezTo>
                  <a:pt x="138" y="59"/>
                  <a:pt x="146" y="61"/>
                  <a:pt x="154" y="66"/>
                </a:cubicBezTo>
                <a:cubicBezTo>
                  <a:pt x="161" y="70"/>
                  <a:pt x="167" y="75"/>
                  <a:pt x="171" y="82"/>
                </a:cubicBezTo>
                <a:lnTo>
                  <a:pt x="171" y="0"/>
                </a:lnTo>
                <a:lnTo>
                  <a:pt x="197" y="0"/>
                </a:lnTo>
                <a:lnTo>
                  <a:pt x="197" y="228"/>
                </a:lnTo>
                <a:lnTo>
                  <a:pt x="173" y="228"/>
                </a:lnTo>
                <a:close/>
                <a:moveTo>
                  <a:pt x="91" y="145"/>
                </a:moveTo>
                <a:cubicBezTo>
                  <a:pt x="91" y="167"/>
                  <a:pt x="95" y="182"/>
                  <a:pt x="103" y="193"/>
                </a:cubicBezTo>
                <a:cubicBezTo>
                  <a:pt x="112" y="203"/>
                  <a:pt x="121" y="208"/>
                  <a:pt x="133" y="208"/>
                </a:cubicBezTo>
                <a:cubicBezTo>
                  <a:pt x="144" y="208"/>
                  <a:pt x="154" y="203"/>
                  <a:pt x="162" y="193"/>
                </a:cubicBezTo>
                <a:cubicBezTo>
                  <a:pt x="170" y="183"/>
                  <a:pt x="174" y="168"/>
                  <a:pt x="174" y="148"/>
                </a:cubicBezTo>
                <a:cubicBezTo>
                  <a:pt x="174" y="125"/>
                  <a:pt x="170" y="109"/>
                  <a:pt x="161" y="98"/>
                </a:cubicBezTo>
                <a:cubicBezTo>
                  <a:pt x="153" y="88"/>
                  <a:pt x="143" y="83"/>
                  <a:pt x="131" y="83"/>
                </a:cubicBezTo>
                <a:cubicBezTo>
                  <a:pt x="120" y="83"/>
                  <a:pt x="110" y="88"/>
                  <a:pt x="102" y="98"/>
                </a:cubicBezTo>
                <a:cubicBezTo>
                  <a:pt x="95" y="108"/>
                  <a:pt x="91" y="124"/>
                  <a:pt x="91" y="145"/>
                </a:cubicBezTo>
                <a:close/>
                <a:moveTo>
                  <a:pt x="343" y="174"/>
                </a:moveTo>
                <a:lnTo>
                  <a:pt x="370" y="178"/>
                </a:lnTo>
                <a:cubicBezTo>
                  <a:pt x="366" y="195"/>
                  <a:pt x="358" y="208"/>
                  <a:pt x="347" y="217"/>
                </a:cubicBezTo>
                <a:cubicBezTo>
                  <a:pt x="335" y="226"/>
                  <a:pt x="321" y="231"/>
                  <a:pt x="303" y="231"/>
                </a:cubicBezTo>
                <a:cubicBezTo>
                  <a:pt x="280" y="231"/>
                  <a:pt x="263" y="224"/>
                  <a:pt x="250" y="209"/>
                </a:cubicBezTo>
                <a:cubicBezTo>
                  <a:pt x="236" y="194"/>
                  <a:pt x="230" y="173"/>
                  <a:pt x="230" y="147"/>
                </a:cubicBezTo>
                <a:cubicBezTo>
                  <a:pt x="230" y="119"/>
                  <a:pt x="236" y="98"/>
                  <a:pt x="250" y="82"/>
                </a:cubicBezTo>
                <a:cubicBezTo>
                  <a:pt x="263" y="67"/>
                  <a:pt x="280" y="59"/>
                  <a:pt x="301" y="59"/>
                </a:cubicBezTo>
                <a:cubicBezTo>
                  <a:pt x="322" y="59"/>
                  <a:pt x="339" y="67"/>
                  <a:pt x="351" y="82"/>
                </a:cubicBezTo>
                <a:cubicBezTo>
                  <a:pt x="364" y="97"/>
                  <a:pt x="371" y="118"/>
                  <a:pt x="371" y="145"/>
                </a:cubicBezTo>
                <a:cubicBezTo>
                  <a:pt x="371" y="147"/>
                  <a:pt x="371" y="149"/>
                  <a:pt x="371" y="152"/>
                </a:cubicBezTo>
                <a:lnTo>
                  <a:pt x="256" y="152"/>
                </a:lnTo>
                <a:cubicBezTo>
                  <a:pt x="257" y="170"/>
                  <a:pt x="262" y="184"/>
                  <a:pt x="271" y="194"/>
                </a:cubicBezTo>
                <a:cubicBezTo>
                  <a:pt x="279" y="203"/>
                  <a:pt x="290" y="208"/>
                  <a:pt x="303" y="208"/>
                </a:cubicBezTo>
                <a:cubicBezTo>
                  <a:pt x="312" y="208"/>
                  <a:pt x="320" y="206"/>
                  <a:pt x="327" y="200"/>
                </a:cubicBezTo>
                <a:cubicBezTo>
                  <a:pt x="334" y="195"/>
                  <a:pt x="339" y="186"/>
                  <a:pt x="343" y="174"/>
                </a:cubicBezTo>
                <a:close/>
                <a:moveTo>
                  <a:pt x="258" y="130"/>
                </a:moveTo>
                <a:lnTo>
                  <a:pt x="343" y="130"/>
                </a:lnTo>
                <a:cubicBezTo>
                  <a:pt x="342" y="116"/>
                  <a:pt x="339" y="105"/>
                  <a:pt x="334" y="98"/>
                </a:cubicBezTo>
                <a:cubicBezTo>
                  <a:pt x="325" y="88"/>
                  <a:pt x="315" y="82"/>
                  <a:pt x="301" y="82"/>
                </a:cubicBezTo>
                <a:cubicBezTo>
                  <a:pt x="290" y="82"/>
                  <a:pt x="280" y="87"/>
                  <a:pt x="271" y="95"/>
                </a:cubicBezTo>
                <a:cubicBezTo>
                  <a:pt x="263" y="104"/>
                  <a:pt x="259" y="115"/>
                  <a:pt x="258" y="130"/>
                </a:cubicBezTo>
                <a:close/>
                <a:moveTo>
                  <a:pt x="403" y="228"/>
                </a:moveTo>
                <a:lnTo>
                  <a:pt x="403" y="63"/>
                </a:lnTo>
                <a:lnTo>
                  <a:pt x="426" y="63"/>
                </a:lnTo>
                <a:lnTo>
                  <a:pt x="426" y="86"/>
                </a:lnTo>
                <a:cubicBezTo>
                  <a:pt x="438" y="68"/>
                  <a:pt x="454" y="59"/>
                  <a:pt x="475" y="59"/>
                </a:cubicBezTo>
                <a:cubicBezTo>
                  <a:pt x="484" y="59"/>
                  <a:pt x="493" y="61"/>
                  <a:pt x="501" y="65"/>
                </a:cubicBezTo>
                <a:cubicBezTo>
                  <a:pt x="508" y="68"/>
                  <a:pt x="514" y="73"/>
                  <a:pt x="518" y="79"/>
                </a:cubicBezTo>
                <a:cubicBezTo>
                  <a:pt x="522" y="84"/>
                  <a:pt x="525" y="91"/>
                  <a:pt x="526" y="99"/>
                </a:cubicBezTo>
                <a:cubicBezTo>
                  <a:pt x="527" y="104"/>
                  <a:pt x="527" y="114"/>
                  <a:pt x="527" y="126"/>
                </a:cubicBezTo>
                <a:lnTo>
                  <a:pt x="527" y="228"/>
                </a:lnTo>
                <a:lnTo>
                  <a:pt x="501" y="228"/>
                </a:lnTo>
                <a:lnTo>
                  <a:pt x="501" y="128"/>
                </a:lnTo>
                <a:cubicBezTo>
                  <a:pt x="501" y="116"/>
                  <a:pt x="500" y="108"/>
                  <a:pt x="498" y="102"/>
                </a:cubicBezTo>
                <a:cubicBezTo>
                  <a:pt x="496" y="96"/>
                  <a:pt x="493" y="92"/>
                  <a:pt x="488" y="89"/>
                </a:cubicBezTo>
                <a:cubicBezTo>
                  <a:pt x="483" y="85"/>
                  <a:pt x="476" y="83"/>
                  <a:pt x="470" y="83"/>
                </a:cubicBezTo>
                <a:cubicBezTo>
                  <a:pt x="459" y="83"/>
                  <a:pt x="449" y="87"/>
                  <a:pt x="441" y="95"/>
                </a:cubicBezTo>
                <a:cubicBezTo>
                  <a:pt x="433" y="102"/>
                  <a:pt x="429" y="117"/>
                  <a:pt x="429" y="138"/>
                </a:cubicBezTo>
                <a:lnTo>
                  <a:pt x="429" y="228"/>
                </a:lnTo>
                <a:lnTo>
                  <a:pt x="403" y="228"/>
                </a:lnTo>
                <a:close/>
                <a:moveTo>
                  <a:pt x="624" y="203"/>
                </a:moveTo>
                <a:lnTo>
                  <a:pt x="628" y="227"/>
                </a:lnTo>
                <a:cubicBezTo>
                  <a:pt x="620" y="229"/>
                  <a:pt x="614" y="230"/>
                  <a:pt x="608" y="230"/>
                </a:cubicBezTo>
                <a:cubicBezTo>
                  <a:pt x="599" y="230"/>
                  <a:pt x="591" y="228"/>
                  <a:pt x="586" y="225"/>
                </a:cubicBezTo>
                <a:cubicBezTo>
                  <a:pt x="581" y="222"/>
                  <a:pt x="577" y="218"/>
                  <a:pt x="575" y="212"/>
                </a:cubicBezTo>
                <a:cubicBezTo>
                  <a:pt x="573" y="207"/>
                  <a:pt x="572" y="196"/>
                  <a:pt x="572" y="179"/>
                </a:cubicBezTo>
                <a:lnTo>
                  <a:pt x="572" y="84"/>
                </a:lnTo>
                <a:lnTo>
                  <a:pt x="553" y="84"/>
                </a:lnTo>
                <a:lnTo>
                  <a:pt x="553" y="63"/>
                </a:lnTo>
                <a:lnTo>
                  <a:pt x="572" y="63"/>
                </a:lnTo>
                <a:lnTo>
                  <a:pt x="572" y="22"/>
                </a:lnTo>
                <a:lnTo>
                  <a:pt x="598" y="5"/>
                </a:lnTo>
                <a:lnTo>
                  <a:pt x="598" y="63"/>
                </a:lnTo>
                <a:lnTo>
                  <a:pt x="624" y="63"/>
                </a:lnTo>
                <a:lnTo>
                  <a:pt x="624" y="84"/>
                </a:lnTo>
                <a:lnTo>
                  <a:pt x="598" y="84"/>
                </a:lnTo>
                <a:lnTo>
                  <a:pt x="598" y="181"/>
                </a:lnTo>
                <a:cubicBezTo>
                  <a:pt x="598" y="189"/>
                  <a:pt x="598" y="194"/>
                  <a:pt x="599" y="196"/>
                </a:cubicBezTo>
                <a:cubicBezTo>
                  <a:pt x="600" y="199"/>
                  <a:pt x="602" y="200"/>
                  <a:pt x="604" y="202"/>
                </a:cubicBezTo>
                <a:cubicBezTo>
                  <a:pt x="606" y="203"/>
                  <a:pt x="609" y="204"/>
                  <a:pt x="613" y="204"/>
                </a:cubicBezTo>
                <a:cubicBezTo>
                  <a:pt x="615" y="204"/>
                  <a:pt x="619" y="203"/>
                  <a:pt x="624" y="203"/>
                </a:cubicBezTo>
                <a:close/>
                <a:moveTo>
                  <a:pt x="650" y="32"/>
                </a:moveTo>
                <a:lnTo>
                  <a:pt x="650" y="0"/>
                </a:lnTo>
                <a:lnTo>
                  <a:pt x="676" y="0"/>
                </a:lnTo>
                <a:lnTo>
                  <a:pt x="676" y="32"/>
                </a:lnTo>
                <a:lnTo>
                  <a:pt x="650" y="32"/>
                </a:lnTo>
                <a:close/>
                <a:moveTo>
                  <a:pt x="650" y="228"/>
                </a:moveTo>
                <a:lnTo>
                  <a:pt x="650" y="63"/>
                </a:lnTo>
                <a:lnTo>
                  <a:pt x="676" y="63"/>
                </a:lnTo>
                <a:lnTo>
                  <a:pt x="676" y="228"/>
                </a:lnTo>
                <a:lnTo>
                  <a:pt x="650" y="228"/>
                </a:lnTo>
                <a:close/>
                <a:moveTo>
                  <a:pt x="772" y="203"/>
                </a:moveTo>
                <a:lnTo>
                  <a:pt x="775" y="227"/>
                </a:lnTo>
                <a:cubicBezTo>
                  <a:pt x="768" y="229"/>
                  <a:pt x="762" y="230"/>
                  <a:pt x="756" y="230"/>
                </a:cubicBezTo>
                <a:cubicBezTo>
                  <a:pt x="746" y="230"/>
                  <a:pt x="739" y="228"/>
                  <a:pt x="734" y="225"/>
                </a:cubicBezTo>
                <a:cubicBezTo>
                  <a:pt x="729" y="222"/>
                  <a:pt x="725" y="218"/>
                  <a:pt x="723" y="212"/>
                </a:cubicBezTo>
                <a:cubicBezTo>
                  <a:pt x="721" y="207"/>
                  <a:pt x="720" y="196"/>
                  <a:pt x="720" y="179"/>
                </a:cubicBezTo>
                <a:lnTo>
                  <a:pt x="720" y="84"/>
                </a:lnTo>
                <a:lnTo>
                  <a:pt x="701" y="84"/>
                </a:lnTo>
                <a:lnTo>
                  <a:pt x="701" y="63"/>
                </a:lnTo>
                <a:lnTo>
                  <a:pt x="720" y="63"/>
                </a:lnTo>
                <a:lnTo>
                  <a:pt x="720" y="22"/>
                </a:lnTo>
                <a:lnTo>
                  <a:pt x="746" y="5"/>
                </a:lnTo>
                <a:lnTo>
                  <a:pt x="746" y="63"/>
                </a:lnTo>
                <a:lnTo>
                  <a:pt x="772" y="63"/>
                </a:lnTo>
                <a:lnTo>
                  <a:pt x="772" y="84"/>
                </a:lnTo>
                <a:lnTo>
                  <a:pt x="746" y="84"/>
                </a:lnTo>
                <a:lnTo>
                  <a:pt x="746" y="181"/>
                </a:lnTo>
                <a:cubicBezTo>
                  <a:pt x="746" y="189"/>
                  <a:pt x="746" y="194"/>
                  <a:pt x="747" y="196"/>
                </a:cubicBezTo>
                <a:cubicBezTo>
                  <a:pt x="748" y="199"/>
                  <a:pt x="750" y="200"/>
                  <a:pt x="752" y="202"/>
                </a:cubicBezTo>
                <a:cubicBezTo>
                  <a:pt x="754" y="203"/>
                  <a:pt x="757" y="204"/>
                  <a:pt x="761" y="204"/>
                </a:cubicBezTo>
                <a:cubicBezTo>
                  <a:pt x="763" y="204"/>
                  <a:pt x="767" y="203"/>
                  <a:pt x="772" y="203"/>
                </a:cubicBezTo>
                <a:close/>
                <a:moveTo>
                  <a:pt x="796" y="291"/>
                </a:moveTo>
                <a:lnTo>
                  <a:pt x="793" y="265"/>
                </a:lnTo>
                <a:cubicBezTo>
                  <a:pt x="799" y="267"/>
                  <a:pt x="804" y="268"/>
                  <a:pt x="808" y="268"/>
                </a:cubicBezTo>
                <a:cubicBezTo>
                  <a:pt x="814" y="268"/>
                  <a:pt x="819" y="267"/>
                  <a:pt x="822" y="265"/>
                </a:cubicBezTo>
                <a:cubicBezTo>
                  <a:pt x="826" y="262"/>
                  <a:pt x="829" y="260"/>
                  <a:pt x="831" y="256"/>
                </a:cubicBezTo>
                <a:cubicBezTo>
                  <a:pt x="832" y="253"/>
                  <a:pt x="835" y="246"/>
                  <a:pt x="839" y="235"/>
                </a:cubicBezTo>
                <a:cubicBezTo>
                  <a:pt x="839" y="233"/>
                  <a:pt x="840" y="231"/>
                  <a:pt x="841" y="228"/>
                </a:cubicBezTo>
                <a:lnTo>
                  <a:pt x="783" y="63"/>
                </a:lnTo>
                <a:lnTo>
                  <a:pt x="811" y="63"/>
                </a:lnTo>
                <a:lnTo>
                  <a:pt x="843" y="158"/>
                </a:lnTo>
                <a:cubicBezTo>
                  <a:pt x="847" y="170"/>
                  <a:pt x="850" y="183"/>
                  <a:pt x="854" y="196"/>
                </a:cubicBezTo>
                <a:cubicBezTo>
                  <a:pt x="857" y="184"/>
                  <a:pt x="860" y="171"/>
                  <a:pt x="864" y="159"/>
                </a:cubicBezTo>
                <a:lnTo>
                  <a:pt x="897" y="63"/>
                </a:lnTo>
                <a:lnTo>
                  <a:pt x="923" y="63"/>
                </a:lnTo>
                <a:lnTo>
                  <a:pt x="865" y="230"/>
                </a:lnTo>
                <a:cubicBezTo>
                  <a:pt x="859" y="249"/>
                  <a:pt x="854" y="261"/>
                  <a:pt x="851" y="268"/>
                </a:cubicBezTo>
                <a:cubicBezTo>
                  <a:pt x="846" y="277"/>
                  <a:pt x="841" y="284"/>
                  <a:pt x="835" y="288"/>
                </a:cubicBezTo>
                <a:cubicBezTo>
                  <a:pt x="829" y="292"/>
                  <a:pt x="821" y="294"/>
                  <a:pt x="813" y="294"/>
                </a:cubicBezTo>
                <a:cubicBezTo>
                  <a:pt x="808" y="294"/>
                  <a:pt x="803" y="293"/>
                  <a:pt x="796" y="29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9" name="Freeform 338">
            <a:extLst>
              <a:ext uri="{FF2B5EF4-FFF2-40B4-BE49-F238E27FC236}">
                <a16:creationId xmlns:a16="http://schemas.microsoft.com/office/drawing/2014/main" id="{B22B4207-99CE-4158-9915-E876DA21E769}"/>
              </a:ext>
            </a:extLst>
          </p:cNvPr>
          <p:cNvSpPr>
            <a:spLocks noEditPoints="1"/>
          </p:cNvSpPr>
          <p:nvPr/>
        </p:nvSpPr>
        <p:spPr bwMode="auto">
          <a:xfrm>
            <a:off x="8162925" y="3030538"/>
            <a:ext cx="323850" cy="85725"/>
          </a:xfrm>
          <a:custGeom>
            <a:avLst/>
            <a:gdLst>
              <a:gd name="T0" fmla="*/ 35 w 898"/>
              <a:gd name="T1" fmla="*/ 184 h 235"/>
              <a:gd name="T2" fmla="*/ 117 w 898"/>
              <a:gd name="T3" fmla="*/ 204 h 235"/>
              <a:gd name="T4" fmla="*/ 135 w 898"/>
              <a:gd name="T5" fmla="*/ 151 h 235"/>
              <a:gd name="T6" fmla="*/ 38 w 898"/>
              <a:gd name="T7" fmla="*/ 113 h 235"/>
              <a:gd name="T8" fmla="*/ 17 w 898"/>
              <a:gd name="T9" fmla="*/ 31 h 235"/>
              <a:gd name="T10" fmla="*/ 124 w 898"/>
              <a:gd name="T11" fmla="*/ 9 h 235"/>
              <a:gd name="T12" fmla="*/ 135 w 898"/>
              <a:gd name="T13" fmla="*/ 71 h 235"/>
              <a:gd name="T14" fmla="*/ 46 w 898"/>
              <a:gd name="T15" fmla="*/ 37 h 235"/>
              <a:gd name="T16" fmla="*/ 85 w 898"/>
              <a:gd name="T17" fmla="*/ 98 h 235"/>
              <a:gd name="T18" fmla="*/ 168 w 898"/>
              <a:gd name="T19" fmla="*/ 167 h 235"/>
              <a:gd name="T20" fmla="*/ 90 w 898"/>
              <a:gd name="T21" fmla="*/ 235 h 235"/>
              <a:gd name="T22" fmla="*/ 0 w 898"/>
              <a:gd name="T23" fmla="*/ 159 h 235"/>
              <a:gd name="T24" fmla="*/ 311 w 898"/>
              <a:gd name="T25" fmla="*/ 221 h 235"/>
              <a:gd name="T26" fmla="*/ 194 w 898"/>
              <a:gd name="T27" fmla="*/ 151 h 235"/>
              <a:gd name="T28" fmla="*/ 316 w 898"/>
              <a:gd name="T29" fmla="*/ 86 h 235"/>
              <a:gd name="T30" fmla="*/ 221 w 898"/>
              <a:gd name="T31" fmla="*/ 156 h 235"/>
              <a:gd name="T32" fmla="*/ 291 w 898"/>
              <a:gd name="T33" fmla="*/ 204 h 235"/>
              <a:gd name="T34" fmla="*/ 308 w 898"/>
              <a:gd name="T35" fmla="*/ 134 h 235"/>
              <a:gd name="T36" fmla="*/ 236 w 898"/>
              <a:gd name="T37" fmla="*/ 99 h 235"/>
              <a:gd name="T38" fmla="*/ 440 w 898"/>
              <a:gd name="T39" fmla="*/ 230 h 235"/>
              <a:gd name="T40" fmla="*/ 358 w 898"/>
              <a:gd name="T41" fmla="*/ 188 h 235"/>
              <a:gd name="T42" fmla="*/ 396 w 898"/>
              <a:gd name="T43" fmla="*/ 141 h 235"/>
              <a:gd name="T44" fmla="*/ 465 w 898"/>
              <a:gd name="T45" fmla="*/ 120 h 235"/>
              <a:gd name="T46" fmla="*/ 401 w 898"/>
              <a:gd name="T47" fmla="*/ 93 h 235"/>
              <a:gd name="T48" fmla="*/ 374 w 898"/>
              <a:gd name="T49" fmla="*/ 86 h 235"/>
              <a:gd name="T50" fmla="*/ 464 w 898"/>
              <a:gd name="T51" fmla="*/ 68 h 235"/>
              <a:gd name="T52" fmla="*/ 492 w 898"/>
              <a:gd name="T53" fmla="*/ 126 h 235"/>
              <a:gd name="T54" fmla="*/ 500 w 898"/>
              <a:gd name="T55" fmla="*/ 232 h 235"/>
              <a:gd name="T56" fmla="*/ 465 w 898"/>
              <a:gd name="T57" fmla="*/ 149 h 235"/>
              <a:gd name="T58" fmla="*/ 390 w 898"/>
              <a:gd name="T59" fmla="*/ 174 h 235"/>
              <a:gd name="T60" fmla="*/ 417 w 898"/>
              <a:gd name="T61" fmla="*/ 213 h 235"/>
              <a:gd name="T62" fmla="*/ 465 w 898"/>
              <a:gd name="T63" fmla="*/ 159 h 235"/>
              <a:gd name="T64" fmla="*/ 532 w 898"/>
              <a:gd name="T65" fmla="*/ 67 h 235"/>
              <a:gd name="T66" fmla="*/ 571 w 898"/>
              <a:gd name="T67" fmla="*/ 69 h 235"/>
              <a:gd name="T68" fmla="*/ 606 w 898"/>
              <a:gd name="T69" fmla="*/ 98 h 235"/>
              <a:gd name="T70" fmla="*/ 562 w 898"/>
              <a:gd name="T71" fmla="*/ 113 h 235"/>
              <a:gd name="T72" fmla="*/ 532 w 898"/>
              <a:gd name="T73" fmla="*/ 232 h 235"/>
              <a:gd name="T74" fmla="*/ 730 w 898"/>
              <a:gd name="T75" fmla="*/ 219 h 235"/>
              <a:gd name="T76" fmla="*/ 618 w 898"/>
              <a:gd name="T77" fmla="*/ 150 h 235"/>
              <a:gd name="T78" fmla="*/ 688 w 898"/>
              <a:gd name="T79" fmla="*/ 63 h 235"/>
              <a:gd name="T80" fmla="*/ 724 w 898"/>
              <a:gd name="T81" fmla="*/ 120 h 235"/>
              <a:gd name="T82" fmla="*/ 657 w 898"/>
              <a:gd name="T83" fmla="*/ 101 h 235"/>
              <a:gd name="T84" fmla="*/ 688 w 898"/>
              <a:gd name="T85" fmla="*/ 212 h 235"/>
              <a:gd name="T86" fmla="*/ 774 w 898"/>
              <a:gd name="T87" fmla="*/ 232 h 235"/>
              <a:gd name="T88" fmla="*/ 800 w 898"/>
              <a:gd name="T89" fmla="*/ 86 h 235"/>
              <a:gd name="T90" fmla="*/ 893 w 898"/>
              <a:gd name="T91" fmla="*/ 90 h 235"/>
              <a:gd name="T92" fmla="*/ 872 w 898"/>
              <a:gd name="T93" fmla="*/ 232 h 235"/>
              <a:gd name="T94" fmla="*/ 840 w 898"/>
              <a:gd name="T95" fmla="*/ 87 h 235"/>
              <a:gd name="T96" fmla="*/ 800 w 898"/>
              <a:gd name="T97" fmla="*/ 142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898" h="235">
                <a:moveTo>
                  <a:pt x="0" y="159"/>
                </a:moveTo>
                <a:lnTo>
                  <a:pt x="26" y="156"/>
                </a:lnTo>
                <a:cubicBezTo>
                  <a:pt x="27" y="167"/>
                  <a:pt x="30" y="177"/>
                  <a:pt x="35" y="184"/>
                </a:cubicBezTo>
                <a:cubicBezTo>
                  <a:pt x="39" y="192"/>
                  <a:pt x="46" y="197"/>
                  <a:pt x="56" y="202"/>
                </a:cubicBezTo>
                <a:cubicBezTo>
                  <a:pt x="66" y="206"/>
                  <a:pt x="76" y="209"/>
                  <a:pt x="88" y="209"/>
                </a:cubicBezTo>
                <a:cubicBezTo>
                  <a:pt x="99" y="209"/>
                  <a:pt x="109" y="207"/>
                  <a:pt x="117" y="204"/>
                </a:cubicBezTo>
                <a:cubicBezTo>
                  <a:pt x="125" y="200"/>
                  <a:pt x="131" y="195"/>
                  <a:pt x="135" y="190"/>
                </a:cubicBezTo>
                <a:cubicBezTo>
                  <a:pt x="139" y="184"/>
                  <a:pt x="141" y="177"/>
                  <a:pt x="141" y="170"/>
                </a:cubicBezTo>
                <a:cubicBezTo>
                  <a:pt x="141" y="163"/>
                  <a:pt x="139" y="157"/>
                  <a:pt x="135" y="151"/>
                </a:cubicBezTo>
                <a:cubicBezTo>
                  <a:pt x="131" y="146"/>
                  <a:pt x="125" y="142"/>
                  <a:pt x="116" y="138"/>
                </a:cubicBezTo>
                <a:cubicBezTo>
                  <a:pt x="110" y="136"/>
                  <a:pt x="98" y="132"/>
                  <a:pt x="78" y="127"/>
                </a:cubicBezTo>
                <a:cubicBezTo>
                  <a:pt x="59" y="122"/>
                  <a:pt x="45" y="117"/>
                  <a:pt x="38" y="113"/>
                </a:cubicBezTo>
                <a:cubicBezTo>
                  <a:pt x="27" y="107"/>
                  <a:pt x="20" y="100"/>
                  <a:pt x="15" y="92"/>
                </a:cubicBezTo>
                <a:cubicBezTo>
                  <a:pt x="10" y="83"/>
                  <a:pt x="8" y="74"/>
                  <a:pt x="8" y="63"/>
                </a:cubicBezTo>
                <a:cubicBezTo>
                  <a:pt x="8" y="52"/>
                  <a:pt x="11" y="41"/>
                  <a:pt x="17" y="31"/>
                </a:cubicBezTo>
                <a:cubicBezTo>
                  <a:pt x="23" y="21"/>
                  <a:pt x="32" y="13"/>
                  <a:pt x="43" y="8"/>
                </a:cubicBezTo>
                <a:cubicBezTo>
                  <a:pt x="55" y="3"/>
                  <a:pt x="68" y="0"/>
                  <a:pt x="82" y="0"/>
                </a:cubicBezTo>
                <a:cubicBezTo>
                  <a:pt x="98" y="0"/>
                  <a:pt x="112" y="3"/>
                  <a:pt x="124" y="9"/>
                </a:cubicBezTo>
                <a:cubicBezTo>
                  <a:pt x="136" y="14"/>
                  <a:pt x="145" y="22"/>
                  <a:pt x="151" y="33"/>
                </a:cubicBezTo>
                <a:cubicBezTo>
                  <a:pt x="158" y="43"/>
                  <a:pt x="161" y="55"/>
                  <a:pt x="162" y="68"/>
                </a:cubicBezTo>
                <a:lnTo>
                  <a:pt x="135" y="71"/>
                </a:lnTo>
                <a:cubicBezTo>
                  <a:pt x="133" y="56"/>
                  <a:pt x="128" y="45"/>
                  <a:pt x="120" y="38"/>
                </a:cubicBezTo>
                <a:cubicBezTo>
                  <a:pt x="112" y="31"/>
                  <a:pt x="99" y="27"/>
                  <a:pt x="83" y="27"/>
                </a:cubicBezTo>
                <a:cubicBezTo>
                  <a:pt x="66" y="27"/>
                  <a:pt x="54" y="30"/>
                  <a:pt x="46" y="37"/>
                </a:cubicBezTo>
                <a:cubicBezTo>
                  <a:pt x="38" y="44"/>
                  <a:pt x="34" y="52"/>
                  <a:pt x="34" y="61"/>
                </a:cubicBezTo>
                <a:cubicBezTo>
                  <a:pt x="34" y="69"/>
                  <a:pt x="37" y="76"/>
                  <a:pt x="43" y="81"/>
                </a:cubicBezTo>
                <a:cubicBezTo>
                  <a:pt x="48" y="87"/>
                  <a:pt x="62" y="92"/>
                  <a:pt x="85" y="98"/>
                </a:cubicBezTo>
                <a:cubicBezTo>
                  <a:pt x="108" y="103"/>
                  <a:pt x="123" y="108"/>
                  <a:pt x="132" y="112"/>
                </a:cubicBezTo>
                <a:cubicBezTo>
                  <a:pt x="144" y="118"/>
                  <a:pt x="153" y="126"/>
                  <a:pt x="159" y="135"/>
                </a:cubicBezTo>
                <a:cubicBezTo>
                  <a:pt x="165" y="145"/>
                  <a:pt x="168" y="155"/>
                  <a:pt x="168" y="167"/>
                </a:cubicBezTo>
                <a:cubicBezTo>
                  <a:pt x="168" y="180"/>
                  <a:pt x="165" y="191"/>
                  <a:pt x="158" y="202"/>
                </a:cubicBezTo>
                <a:cubicBezTo>
                  <a:pt x="152" y="212"/>
                  <a:pt x="143" y="221"/>
                  <a:pt x="130" y="227"/>
                </a:cubicBezTo>
                <a:cubicBezTo>
                  <a:pt x="118" y="232"/>
                  <a:pt x="105" y="235"/>
                  <a:pt x="90" y="235"/>
                </a:cubicBezTo>
                <a:cubicBezTo>
                  <a:pt x="71" y="235"/>
                  <a:pt x="55" y="232"/>
                  <a:pt x="42" y="226"/>
                </a:cubicBezTo>
                <a:cubicBezTo>
                  <a:pt x="29" y="220"/>
                  <a:pt x="19" y="211"/>
                  <a:pt x="11" y="199"/>
                </a:cubicBezTo>
                <a:cubicBezTo>
                  <a:pt x="4" y="187"/>
                  <a:pt x="0" y="174"/>
                  <a:pt x="0" y="159"/>
                </a:cubicBezTo>
                <a:close/>
                <a:moveTo>
                  <a:pt x="307" y="178"/>
                </a:moveTo>
                <a:lnTo>
                  <a:pt x="334" y="182"/>
                </a:lnTo>
                <a:cubicBezTo>
                  <a:pt x="330" y="199"/>
                  <a:pt x="322" y="212"/>
                  <a:pt x="311" y="221"/>
                </a:cubicBezTo>
                <a:cubicBezTo>
                  <a:pt x="299" y="230"/>
                  <a:pt x="285" y="235"/>
                  <a:pt x="267" y="235"/>
                </a:cubicBezTo>
                <a:cubicBezTo>
                  <a:pt x="245" y="235"/>
                  <a:pt x="227" y="228"/>
                  <a:pt x="214" y="213"/>
                </a:cubicBezTo>
                <a:cubicBezTo>
                  <a:pt x="201" y="198"/>
                  <a:pt x="194" y="177"/>
                  <a:pt x="194" y="151"/>
                </a:cubicBezTo>
                <a:cubicBezTo>
                  <a:pt x="194" y="123"/>
                  <a:pt x="201" y="102"/>
                  <a:pt x="214" y="86"/>
                </a:cubicBezTo>
                <a:cubicBezTo>
                  <a:pt x="227" y="71"/>
                  <a:pt x="245" y="63"/>
                  <a:pt x="266" y="63"/>
                </a:cubicBezTo>
                <a:cubicBezTo>
                  <a:pt x="286" y="63"/>
                  <a:pt x="303" y="71"/>
                  <a:pt x="316" y="86"/>
                </a:cubicBezTo>
                <a:cubicBezTo>
                  <a:pt x="329" y="101"/>
                  <a:pt x="335" y="122"/>
                  <a:pt x="335" y="149"/>
                </a:cubicBezTo>
                <a:cubicBezTo>
                  <a:pt x="335" y="151"/>
                  <a:pt x="335" y="153"/>
                  <a:pt x="335" y="156"/>
                </a:cubicBezTo>
                <a:lnTo>
                  <a:pt x="221" y="156"/>
                </a:lnTo>
                <a:cubicBezTo>
                  <a:pt x="222" y="174"/>
                  <a:pt x="227" y="188"/>
                  <a:pt x="235" y="198"/>
                </a:cubicBezTo>
                <a:cubicBezTo>
                  <a:pt x="244" y="207"/>
                  <a:pt x="254" y="212"/>
                  <a:pt x="267" y="212"/>
                </a:cubicBezTo>
                <a:cubicBezTo>
                  <a:pt x="277" y="212"/>
                  <a:pt x="285" y="210"/>
                  <a:pt x="291" y="204"/>
                </a:cubicBezTo>
                <a:cubicBezTo>
                  <a:pt x="298" y="199"/>
                  <a:pt x="304" y="190"/>
                  <a:pt x="307" y="178"/>
                </a:cubicBezTo>
                <a:close/>
                <a:moveTo>
                  <a:pt x="222" y="134"/>
                </a:moveTo>
                <a:lnTo>
                  <a:pt x="308" y="134"/>
                </a:lnTo>
                <a:cubicBezTo>
                  <a:pt x="307" y="120"/>
                  <a:pt x="303" y="109"/>
                  <a:pt x="298" y="102"/>
                </a:cubicBezTo>
                <a:cubicBezTo>
                  <a:pt x="290" y="92"/>
                  <a:pt x="279" y="86"/>
                  <a:pt x="266" y="86"/>
                </a:cubicBezTo>
                <a:cubicBezTo>
                  <a:pt x="254" y="86"/>
                  <a:pt x="244" y="91"/>
                  <a:pt x="236" y="99"/>
                </a:cubicBezTo>
                <a:cubicBezTo>
                  <a:pt x="228" y="108"/>
                  <a:pt x="223" y="119"/>
                  <a:pt x="222" y="134"/>
                </a:cubicBezTo>
                <a:close/>
                <a:moveTo>
                  <a:pt x="468" y="211"/>
                </a:moveTo>
                <a:cubicBezTo>
                  <a:pt x="458" y="220"/>
                  <a:pt x="449" y="226"/>
                  <a:pt x="440" y="230"/>
                </a:cubicBezTo>
                <a:cubicBezTo>
                  <a:pt x="431" y="233"/>
                  <a:pt x="421" y="235"/>
                  <a:pt x="411" y="235"/>
                </a:cubicBezTo>
                <a:cubicBezTo>
                  <a:pt x="394" y="235"/>
                  <a:pt x="381" y="231"/>
                  <a:pt x="372" y="222"/>
                </a:cubicBezTo>
                <a:cubicBezTo>
                  <a:pt x="363" y="213"/>
                  <a:pt x="358" y="202"/>
                  <a:pt x="358" y="188"/>
                </a:cubicBezTo>
                <a:cubicBezTo>
                  <a:pt x="358" y="180"/>
                  <a:pt x="360" y="173"/>
                  <a:pt x="364" y="166"/>
                </a:cubicBezTo>
                <a:cubicBezTo>
                  <a:pt x="367" y="159"/>
                  <a:pt x="371" y="154"/>
                  <a:pt x="377" y="150"/>
                </a:cubicBezTo>
                <a:cubicBezTo>
                  <a:pt x="383" y="146"/>
                  <a:pt x="389" y="143"/>
                  <a:pt x="396" y="141"/>
                </a:cubicBezTo>
                <a:cubicBezTo>
                  <a:pt x="401" y="140"/>
                  <a:pt x="409" y="138"/>
                  <a:pt x="419" y="137"/>
                </a:cubicBezTo>
                <a:cubicBezTo>
                  <a:pt x="440" y="134"/>
                  <a:pt x="455" y="131"/>
                  <a:pt x="465" y="127"/>
                </a:cubicBezTo>
                <a:cubicBezTo>
                  <a:pt x="465" y="123"/>
                  <a:pt x="465" y="121"/>
                  <a:pt x="465" y="120"/>
                </a:cubicBezTo>
                <a:cubicBezTo>
                  <a:pt x="465" y="109"/>
                  <a:pt x="463" y="101"/>
                  <a:pt x="458" y="96"/>
                </a:cubicBezTo>
                <a:cubicBezTo>
                  <a:pt x="451" y="90"/>
                  <a:pt x="442" y="87"/>
                  <a:pt x="428" y="87"/>
                </a:cubicBezTo>
                <a:cubicBezTo>
                  <a:pt x="416" y="87"/>
                  <a:pt x="407" y="89"/>
                  <a:pt x="401" y="93"/>
                </a:cubicBezTo>
                <a:cubicBezTo>
                  <a:pt x="395" y="98"/>
                  <a:pt x="391" y="106"/>
                  <a:pt x="388" y="118"/>
                </a:cubicBezTo>
                <a:lnTo>
                  <a:pt x="363" y="114"/>
                </a:lnTo>
                <a:cubicBezTo>
                  <a:pt x="365" y="102"/>
                  <a:pt x="369" y="93"/>
                  <a:pt x="374" y="86"/>
                </a:cubicBezTo>
                <a:cubicBezTo>
                  <a:pt x="380" y="79"/>
                  <a:pt x="387" y="73"/>
                  <a:pt x="397" y="69"/>
                </a:cubicBezTo>
                <a:cubicBezTo>
                  <a:pt x="407" y="65"/>
                  <a:pt x="419" y="63"/>
                  <a:pt x="432" y="63"/>
                </a:cubicBezTo>
                <a:cubicBezTo>
                  <a:pt x="445" y="63"/>
                  <a:pt x="456" y="65"/>
                  <a:pt x="464" y="68"/>
                </a:cubicBezTo>
                <a:cubicBezTo>
                  <a:pt x="472" y="72"/>
                  <a:pt x="479" y="76"/>
                  <a:pt x="482" y="81"/>
                </a:cubicBezTo>
                <a:cubicBezTo>
                  <a:pt x="486" y="86"/>
                  <a:pt x="489" y="92"/>
                  <a:pt x="491" y="100"/>
                </a:cubicBezTo>
                <a:cubicBezTo>
                  <a:pt x="491" y="105"/>
                  <a:pt x="492" y="113"/>
                  <a:pt x="492" y="126"/>
                </a:cubicBezTo>
                <a:lnTo>
                  <a:pt x="492" y="163"/>
                </a:lnTo>
                <a:cubicBezTo>
                  <a:pt x="492" y="188"/>
                  <a:pt x="492" y="205"/>
                  <a:pt x="493" y="212"/>
                </a:cubicBezTo>
                <a:cubicBezTo>
                  <a:pt x="494" y="219"/>
                  <a:pt x="497" y="225"/>
                  <a:pt x="500" y="232"/>
                </a:cubicBezTo>
                <a:lnTo>
                  <a:pt x="473" y="232"/>
                </a:lnTo>
                <a:cubicBezTo>
                  <a:pt x="470" y="226"/>
                  <a:pt x="468" y="219"/>
                  <a:pt x="468" y="211"/>
                </a:cubicBezTo>
                <a:close/>
                <a:moveTo>
                  <a:pt x="465" y="149"/>
                </a:moveTo>
                <a:cubicBezTo>
                  <a:pt x="456" y="153"/>
                  <a:pt x="442" y="157"/>
                  <a:pt x="423" y="160"/>
                </a:cubicBezTo>
                <a:cubicBezTo>
                  <a:pt x="412" y="161"/>
                  <a:pt x="405" y="163"/>
                  <a:pt x="400" y="165"/>
                </a:cubicBezTo>
                <a:cubicBezTo>
                  <a:pt x="396" y="167"/>
                  <a:pt x="392" y="170"/>
                  <a:pt x="390" y="174"/>
                </a:cubicBezTo>
                <a:cubicBezTo>
                  <a:pt x="387" y="178"/>
                  <a:pt x="386" y="182"/>
                  <a:pt x="386" y="187"/>
                </a:cubicBezTo>
                <a:cubicBezTo>
                  <a:pt x="386" y="195"/>
                  <a:pt x="389" y="201"/>
                  <a:pt x="394" y="206"/>
                </a:cubicBezTo>
                <a:cubicBezTo>
                  <a:pt x="399" y="211"/>
                  <a:pt x="407" y="213"/>
                  <a:pt x="417" y="213"/>
                </a:cubicBezTo>
                <a:cubicBezTo>
                  <a:pt x="427" y="213"/>
                  <a:pt x="436" y="211"/>
                  <a:pt x="444" y="206"/>
                </a:cubicBezTo>
                <a:cubicBezTo>
                  <a:pt x="452" y="202"/>
                  <a:pt x="457" y="195"/>
                  <a:pt x="461" y="187"/>
                </a:cubicBezTo>
                <a:cubicBezTo>
                  <a:pt x="464" y="181"/>
                  <a:pt x="465" y="171"/>
                  <a:pt x="465" y="159"/>
                </a:cubicBezTo>
                <a:lnTo>
                  <a:pt x="465" y="149"/>
                </a:lnTo>
                <a:close/>
                <a:moveTo>
                  <a:pt x="532" y="232"/>
                </a:moveTo>
                <a:lnTo>
                  <a:pt x="532" y="67"/>
                </a:lnTo>
                <a:lnTo>
                  <a:pt x="555" y="67"/>
                </a:lnTo>
                <a:lnTo>
                  <a:pt x="555" y="92"/>
                </a:lnTo>
                <a:cubicBezTo>
                  <a:pt x="561" y="80"/>
                  <a:pt x="566" y="73"/>
                  <a:pt x="571" y="69"/>
                </a:cubicBezTo>
                <a:cubicBezTo>
                  <a:pt x="577" y="65"/>
                  <a:pt x="582" y="63"/>
                  <a:pt x="588" y="63"/>
                </a:cubicBezTo>
                <a:cubicBezTo>
                  <a:pt x="597" y="63"/>
                  <a:pt x="606" y="66"/>
                  <a:pt x="615" y="72"/>
                </a:cubicBezTo>
                <a:lnTo>
                  <a:pt x="606" y="98"/>
                </a:lnTo>
                <a:cubicBezTo>
                  <a:pt x="599" y="94"/>
                  <a:pt x="593" y="92"/>
                  <a:pt x="587" y="92"/>
                </a:cubicBezTo>
                <a:cubicBezTo>
                  <a:pt x="581" y="92"/>
                  <a:pt x="576" y="94"/>
                  <a:pt x="571" y="98"/>
                </a:cubicBezTo>
                <a:cubicBezTo>
                  <a:pt x="567" y="101"/>
                  <a:pt x="564" y="106"/>
                  <a:pt x="562" y="113"/>
                </a:cubicBezTo>
                <a:cubicBezTo>
                  <a:pt x="559" y="123"/>
                  <a:pt x="558" y="134"/>
                  <a:pt x="558" y="146"/>
                </a:cubicBezTo>
                <a:lnTo>
                  <a:pt x="558" y="232"/>
                </a:lnTo>
                <a:lnTo>
                  <a:pt x="532" y="232"/>
                </a:lnTo>
                <a:close/>
                <a:moveTo>
                  <a:pt x="726" y="171"/>
                </a:moveTo>
                <a:lnTo>
                  <a:pt x="752" y="175"/>
                </a:lnTo>
                <a:cubicBezTo>
                  <a:pt x="749" y="194"/>
                  <a:pt x="742" y="209"/>
                  <a:pt x="730" y="219"/>
                </a:cubicBezTo>
                <a:cubicBezTo>
                  <a:pt x="719" y="230"/>
                  <a:pt x="705" y="235"/>
                  <a:pt x="688" y="235"/>
                </a:cubicBezTo>
                <a:cubicBezTo>
                  <a:pt x="667" y="235"/>
                  <a:pt x="650" y="228"/>
                  <a:pt x="637" y="213"/>
                </a:cubicBezTo>
                <a:cubicBezTo>
                  <a:pt x="625" y="198"/>
                  <a:pt x="618" y="177"/>
                  <a:pt x="618" y="150"/>
                </a:cubicBezTo>
                <a:cubicBezTo>
                  <a:pt x="618" y="132"/>
                  <a:pt x="621" y="117"/>
                  <a:pt x="626" y="103"/>
                </a:cubicBezTo>
                <a:cubicBezTo>
                  <a:pt x="632" y="90"/>
                  <a:pt x="640" y="80"/>
                  <a:pt x="651" y="73"/>
                </a:cubicBezTo>
                <a:cubicBezTo>
                  <a:pt x="663" y="67"/>
                  <a:pt x="675" y="63"/>
                  <a:pt x="688" y="63"/>
                </a:cubicBezTo>
                <a:cubicBezTo>
                  <a:pt x="705" y="63"/>
                  <a:pt x="718" y="68"/>
                  <a:pt x="729" y="77"/>
                </a:cubicBezTo>
                <a:cubicBezTo>
                  <a:pt x="739" y="86"/>
                  <a:pt x="746" y="99"/>
                  <a:pt x="749" y="115"/>
                </a:cubicBezTo>
                <a:lnTo>
                  <a:pt x="724" y="120"/>
                </a:lnTo>
                <a:cubicBezTo>
                  <a:pt x="722" y="108"/>
                  <a:pt x="717" y="100"/>
                  <a:pt x="711" y="95"/>
                </a:cubicBezTo>
                <a:cubicBezTo>
                  <a:pt x="705" y="89"/>
                  <a:pt x="698" y="86"/>
                  <a:pt x="689" y="86"/>
                </a:cubicBezTo>
                <a:cubicBezTo>
                  <a:pt x="676" y="86"/>
                  <a:pt x="665" y="91"/>
                  <a:pt x="657" y="101"/>
                </a:cubicBezTo>
                <a:cubicBezTo>
                  <a:pt x="649" y="111"/>
                  <a:pt x="645" y="127"/>
                  <a:pt x="645" y="149"/>
                </a:cubicBezTo>
                <a:cubicBezTo>
                  <a:pt x="645" y="171"/>
                  <a:pt x="649" y="187"/>
                  <a:pt x="657" y="197"/>
                </a:cubicBezTo>
                <a:cubicBezTo>
                  <a:pt x="665" y="207"/>
                  <a:pt x="675" y="212"/>
                  <a:pt x="688" y="212"/>
                </a:cubicBezTo>
                <a:cubicBezTo>
                  <a:pt x="698" y="212"/>
                  <a:pt x="706" y="209"/>
                  <a:pt x="713" y="202"/>
                </a:cubicBezTo>
                <a:cubicBezTo>
                  <a:pt x="720" y="196"/>
                  <a:pt x="724" y="185"/>
                  <a:pt x="726" y="171"/>
                </a:cubicBezTo>
                <a:close/>
                <a:moveTo>
                  <a:pt x="774" y="232"/>
                </a:moveTo>
                <a:lnTo>
                  <a:pt x="774" y="4"/>
                </a:lnTo>
                <a:lnTo>
                  <a:pt x="800" y="4"/>
                </a:lnTo>
                <a:lnTo>
                  <a:pt x="800" y="86"/>
                </a:lnTo>
                <a:cubicBezTo>
                  <a:pt x="812" y="71"/>
                  <a:pt x="827" y="63"/>
                  <a:pt x="846" y="63"/>
                </a:cubicBezTo>
                <a:cubicBezTo>
                  <a:pt x="857" y="63"/>
                  <a:pt x="867" y="66"/>
                  <a:pt x="875" y="71"/>
                </a:cubicBezTo>
                <a:cubicBezTo>
                  <a:pt x="883" y="75"/>
                  <a:pt x="889" y="82"/>
                  <a:pt x="893" y="90"/>
                </a:cubicBezTo>
                <a:cubicBezTo>
                  <a:pt x="897" y="99"/>
                  <a:pt x="898" y="111"/>
                  <a:pt x="898" y="127"/>
                </a:cubicBezTo>
                <a:lnTo>
                  <a:pt x="898" y="232"/>
                </a:lnTo>
                <a:lnTo>
                  <a:pt x="872" y="232"/>
                </a:lnTo>
                <a:lnTo>
                  <a:pt x="872" y="127"/>
                </a:lnTo>
                <a:cubicBezTo>
                  <a:pt x="872" y="114"/>
                  <a:pt x="869" y="103"/>
                  <a:pt x="864" y="97"/>
                </a:cubicBezTo>
                <a:cubicBezTo>
                  <a:pt x="858" y="91"/>
                  <a:pt x="850" y="87"/>
                  <a:pt x="840" y="87"/>
                </a:cubicBezTo>
                <a:cubicBezTo>
                  <a:pt x="832" y="87"/>
                  <a:pt x="825" y="90"/>
                  <a:pt x="819" y="94"/>
                </a:cubicBezTo>
                <a:cubicBezTo>
                  <a:pt x="812" y="98"/>
                  <a:pt x="807" y="104"/>
                  <a:pt x="804" y="111"/>
                </a:cubicBezTo>
                <a:cubicBezTo>
                  <a:pt x="801" y="119"/>
                  <a:pt x="800" y="129"/>
                  <a:pt x="800" y="142"/>
                </a:cubicBezTo>
                <a:lnTo>
                  <a:pt x="800" y="232"/>
                </a:lnTo>
                <a:lnTo>
                  <a:pt x="774" y="23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1" name="Group 400">
            <a:extLst>
              <a:ext uri="{FF2B5EF4-FFF2-40B4-BE49-F238E27FC236}">
                <a16:creationId xmlns:a16="http://schemas.microsoft.com/office/drawing/2014/main" id="{5F0904A2-3360-4CDB-B403-1090824E3E17}"/>
              </a:ext>
            </a:extLst>
          </p:cNvPr>
          <p:cNvGrpSpPr/>
          <p:nvPr/>
        </p:nvGrpSpPr>
        <p:grpSpPr>
          <a:xfrm>
            <a:off x="8034338" y="2419350"/>
            <a:ext cx="577850" cy="577850"/>
            <a:chOff x="8034338" y="2419350"/>
            <a:chExt cx="577850" cy="577850"/>
          </a:xfrm>
          <a:solidFill>
            <a:schemeClr val="accent1"/>
          </a:solidFill>
        </p:grpSpPr>
        <p:sp>
          <p:nvSpPr>
            <p:cNvPr id="140" name="Freeform 339">
              <a:extLst>
                <a:ext uri="{FF2B5EF4-FFF2-40B4-BE49-F238E27FC236}">
                  <a16:creationId xmlns:a16="http://schemas.microsoft.com/office/drawing/2014/main" id="{5051D6A3-5049-4C04-9BFF-3751CB6B59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7088" y="2832100"/>
              <a:ext cx="165100" cy="165100"/>
            </a:xfrm>
            <a:custGeom>
              <a:avLst/>
              <a:gdLst>
                <a:gd name="T0" fmla="*/ 0 w 458"/>
                <a:gd name="T1" fmla="*/ 114 h 458"/>
                <a:gd name="T2" fmla="*/ 114 w 458"/>
                <a:gd name="T3" fmla="*/ 0 h 458"/>
                <a:gd name="T4" fmla="*/ 458 w 458"/>
                <a:gd name="T5" fmla="*/ 345 h 458"/>
                <a:gd name="T6" fmla="*/ 344 w 458"/>
                <a:gd name="T7" fmla="*/ 458 h 458"/>
                <a:gd name="T8" fmla="*/ 0 w 458"/>
                <a:gd name="T9" fmla="*/ 114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8" h="458">
                  <a:moveTo>
                    <a:pt x="0" y="114"/>
                  </a:moveTo>
                  <a:lnTo>
                    <a:pt x="114" y="0"/>
                  </a:lnTo>
                  <a:lnTo>
                    <a:pt x="458" y="345"/>
                  </a:lnTo>
                  <a:lnTo>
                    <a:pt x="344" y="458"/>
                  </a:lnTo>
                  <a:lnTo>
                    <a:pt x="0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1" name="Freeform 340">
              <a:extLst>
                <a:ext uri="{FF2B5EF4-FFF2-40B4-BE49-F238E27FC236}">
                  <a16:creationId xmlns:a16="http://schemas.microsoft.com/office/drawing/2014/main" id="{1C63E3AA-583C-470F-B7A7-FE439718AB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34338" y="2419350"/>
              <a:ext cx="519113" cy="519113"/>
            </a:xfrm>
            <a:custGeom>
              <a:avLst/>
              <a:gdLst>
                <a:gd name="T0" fmla="*/ 722 w 1443"/>
                <a:gd name="T1" fmla="*/ 1442 h 1442"/>
                <a:gd name="T2" fmla="*/ 0 w 1443"/>
                <a:gd name="T3" fmla="*/ 721 h 1442"/>
                <a:gd name="T4" fmla="*/ 722 w 1443"/>
                <a:gd name="T5" fmla="*/ 0 h 1442"/>
                <a:gd name="T6" fmla="*/ 1443 w 1443"/>
                <a:gd name="T7" fmla="*/ 721 h 1442"/>
                <a:gd name="T8" fmla="*/ 722 w 1443"/>
                <a:gd name="T9" fmla="*/ 1442 h 1442"/>
                <a:gd name="T10" fmla="*/ 722 w 1443"/>
                <a:gd name="T11" fmla="*/ 164 h 1442"/>
                <a:gd name="T12" fmla="*/ 165 w 1443"/>
                <a:gd name="T13" fmla="*/ 721 h 1442"/>
                <a:gd name="T14" fmla="*/ 722 w 1443"/>
                <a:gd name="T15" fmla="*/ 1277 h 1442"/>
                <a:gd name="T16" fmla="*/ 1278 w 1443"/>
                <a:gd name="T17" fmla="*/ 721 h 1442"/>
                <a:gd name="T18" fmla="*/ 722 w 1443"/>
                <a:gd name="T19" fmla="*/ 16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3" h="1442">
                  <a:moveTo>
                    <a:pt x="722" y="1442"/>
                  </a:moveTo>
                  <a:cubicBezTo>
                    <a:pt x="324" y="1442"/>
                    <a:pt x="0" y="1118"/>
                    <a:pt x="0" y="721"/>
                  </a:cubicBezTo>
                  <a:cubicBezTo>
                    <a:pt x="0" y="323"/>
                    <a:pt x="324" y="0"/>
                    <a:pt x="722" y="0"/>
                  </a:cubicBezTo>
                  <a:cubicBezTo>
                    <a:pt x="1119" y="0"/>
                    <a:pt x="1443" y="323"/>
                    <a:pt x="1443" y="721"/>
                  </a:cubicBezTo>
                  <a:cubicBezTo>
                    <a:pt x="1443" y="1118"/>
                    <a:pt x="1119" y="1442"/>
                    <a:pt x="722" y="1442"/>
                  </a:cubicBezTo>
                  <a:close/>
                  <a:moveTo>
                    <a:pt x="722" y="164"/>
                  </a:moveTo>
                  <a:cubicBezTo>
                    <a:pt x="415" y="164"/>
                    <a:pt x="165" y="414"/>
                    <a:pt x="165" y="721"/>
                  </a:cubicBezTo>
                  <a:cubicBezTo>
                    <a:pt x="165" y="1028"/>
                    <a:pt x="415" y="1277"/>
                    <a:pt x="722" y="1277"/>
                  </a:cubicBezTo>
                  <a:cubicBezTo>
                    <a:pt x="1029" y="1277"/>
                    <a:pt x="1278" y="1028"/>
                    <a:pt x="1278" y="721"/>
                  </a:cubicBezTo>
                  <a:cubicBezTo>
                    <a:pt x="1278" y="414"/>
                    <a:pt x="1029" y="164"/>
                    <a:pt x="722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02" name="Group 401">
            <a:extLst>
              <a:ext uri="{FF2B5EF4-FFF2-40B4-BE49-F238E27FC236}">
                <a16:creationId xmlns:a16="http://schemas.microsoft.com/office/drawing/2014/main" id="{58D56445-EA91-418B-8EB5-6DCB39563940}"/>
              </a:ext>
            </a:extLst>
          </p:cNvPr>
          <p:cNvGrpSpPr/>
          <p:nvPr/>
        </p:nvGrpSpPr>
        <p:grpSpPr>
          <a:xfrm>
            <a:off x="8796338" y="2419350"/>
            <a:ext cx="577850" cy="577850"/>
            <a:chOff x="8796338" y="2419350"/>
            <a:chExt cx="577850" cy="577850"/>
          </a:xfrm>
          <a:solidFill>
            <a:schemeClr val="accent1"/>
          </a:solidFill>
        </p:grpSpPr>
        <p:sp>
          <p:nvSpPr>
            <p:cNvPr id="142" name="Freeform 341">
              <a:extLst>
                <a:ext uri="{FF2B5EF4-FFF2-40B4-BE49-F238E27FC236}">
                  <a16:creationId xmlns:a16="http://schemas.microsoft.com/office/drawing/2014/main" id="{C2BF1846-1761-4783-9A7D-A04BE1A13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2225" y="2679700"/>
              <a:ext cx="290513" cy="201613"/>
            </a:xfrm>
            <a:custGeom>
              <a:avLst/>
              <a:gdLst>
                <a:gd name="T0" fmla="*/ 0 w 804"/>
                <a:gd name="T1" fmla="*/ 561 h 561"/>
                <a:gd name="T2" fmla="*/ 2 w 804"/>
                <a:gd name="T3" fmla="*/ 160 h 561"/>
                <a:gd name="T4" fmla="*/ 163 w 804"/>
                <a:gd name="T5" fmla="*/ 0 h 561"/>
                <a:gd name="T6" fmla="*/ 243 w 804"/>
                <a:gd name="T7" fmla="*/ 0 h 561"/>
                <a:gd name="T8" fmla="*/ 403 w 804"/>
                <a:gd name="T9" fmla="*/ 160 h 561"/>
                <a:gd name="T10" fmla="*/ 564 w 804"/>
                <a:gd name="T11" fmla="*/ 0 h 561"/>
                <a:gd name="T12" fmla="*/ 644 w 804"/>
                <a:gd name="T13" fmla="*/ 0 h 561"/>
                <a:gd name="T14" fmla="*/ 804 w 804"/>
                <a:gd name="T15" fmla="*/ 160 h 561"/>
                <a:gd name="T16" fmla="*/ 801 w 804"/>
                <a:gd name="T17" fmla="*/ 561 h 561"/>
                <a:gd name="T18" fmla="*/ 641 w 804"/>
                <a:gd name="T19" fmla="*/ 561 h 561"/>
                <a:gd name="T20" fmla="*/ 644 w 804"/>
                <a:gd name="T21" fmla="*/ 160 h 561"/>
                <a:gd name="T22" fmla="*/ 483 w 804"/>
                <a:gd name="T23" fmla="*/ 321 h 561"/>
                <a:gd name="T24" fmla="*/ 323 w 804"/>
                <a:gd name="T25" fmla="*/ 321 h 561"/>
                <a:gd name="T26" fmla="*/ 163 w 804"/>
                <a:gd name="T27" fmla="*/ 160 h 561"/>
                <a:gd name="T28" fmla="*/ 160 w 804"/>
                <a:gd name="T29" fmla="*/ 561 h 561"/>
                <a:gd name="T30" fmla="*/ 0 w 804"/>
                <a:gd name="T31" fmla="*/ 56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04" h="561">
                  <a:moveTo>
                    <a:pt x="0" y="561"/>
                  </a:moveTo>
                  <a:lnTo>
                    <a:pt x="2" y="160"/>
                  </a:lnTo>
                  <a:lnTo>
                    <a:pt x="163" y="0"/>
                  </a:lnTo>
                  <a:lnTo>
                    <a:pt x="243" y="0"/>
                  </a:lnTo>
                  <a:lnTo>
                    <a:pt x="403" y="160"/>
                  </a:lnTo>
                  <a:lnTo>
                    <a:pt x="564" y="0"/>
                  </a:lnTo>
                  <a:lnTo>
                    <a:pt x="644" y="0"/>
                  </a:lnTo>
                  <a:lnTo>
                    <a:pt x="804" y="160"/>
                  </a:lnTo>
                  <a:lnTo>
                    <a:pt x="801" y="561"/>
                  </a:lnTo>
                  <a:lnTo>
                    <a:pt x="641" y="561"/>
                  </a:lnTo>
                  <a:lnTo>
                    <a:pt x="644" y="160"/>
                  </a:lnTo>
                  <a:lnTo>
                    <a:pt x="483" y="321"/>
                  </a:lnTo>
                  <a:lnTo>
                    <a:pt x="323" y="321"/>
                  </a:lnTo>
                  <a:lnTo>
                    <a:pt x="163" y="160"/>
                  </a:lnTo>
                  <a:lnTo>
                    <a:pt x="160" y="561"/>
                  </a:lnTo>
                  <a:lnTo>
                    <a:pt x="0" y="5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3" name="Freeform 342">
              <a:extLst>
                <a:ext uri="{FF2B5EF4-FFF2-40B4-BE49-F238E27FC236}">
                  <a16:creationId xmlns:a16="http://schemas.microsoft.com/office/drawing/2014/main" id="{33FA611C-88BE-410C-8A30-E0694ADB88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09088" y="2832100"/>
              <a:ext cx="165100" cy="165100"/>
            </a:xfrm>
            <a:custGeom>
              <a:avLst/>
              <a:gdLst>
                <a:gd name="T0" fmla="*/ 0 w 458"/>
                <a:gd name="T1" fmla="*/ 114 h 458"/>
                <a:gd name="T2" fmla="*/ 113 w 458"/>
                <a:gd name="T3" fmla="*/ 0 h 458"/>
                <a:gd name="T4" fmla="*/ 458 w 458"/>
                <a:gd name="T5" fmla="*/ 345 h 458"/>
                <a:gd name="T6" fmla="*/ 344 w 458"/>
                <a:gd name="T7" fmla="*/ 458 h 458"/>
                <a:gd name="T8" fmla="*/ 0 w 458"/>
                <a:gd name="T9" fmla="*/ 114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8" h="458">
                  <a:moveTo>
                    <a:pt x="0" y="114"/>
                  </a:moveTo>
                  <a:lnTo>
                    <a:pt x="113" y="0"/>
                  </a:lnTo>
                  <a:lnTo>
                    <a:pt x="458" y="345"/>
                  </a:lnTo>
                  <a:lnTo>
                    <a:pt x="344" y="458"/>
                  </a:lnTo>
                  <a:lnTo>
                    <a:pt x="0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4" name="Freeform 343">
              <a:extLst>
                <a:ext uri="{FF2B5EF4-FFF2-40B4-BE49-F238E27FC236}">
                  <a16:creationId xmlns:a16="http://schemas.microsoft.com/office/drawing/2014/main" id="{7093A367-A125-4DCC-A3CA-FB2C6EFEA3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96338" y="2419350"/>
              <a:ext cx="520700" cy="519113"/>
            </a:xfrm>
            <a:custGeom>
              <a:avLst/>
              <a:gdLst>
                <a:gd name="T0" fmla="*/ 721 w 1443"/>
                <a:gd name="T1" fmla="*/ 1442 h 1442"/>
                <a:gd name="T2" fmla="*/ 0 w 1443"/>
                <a:gd name="T3" fmla="*/ 721 h 1442"/>
                <a:gd name="T4" fmla="*/ 721 w 1443"/>
                <a:gd name="T5" fmla="*/ 0 h 1442"/>
                <a:gd name="T6" fmla="*/ 1443 w 1443"/>
                <a:gd name="T7" fmla="*/ 721 h 1442"/>
                <a:gd name="T8" fmla="*/ 721 w 1443"/>
                <a:gd name="T9" fmla="*/ 1442 h 1442"/>
                <a:gd name="T10" fmla="*/ 721 w 1443"/>
                <a:gd name="T11" fmla="*/ 164 h 1442"/>
                <a:gd name="T12" fmla="*/ 165 w 1443"/>
                <a:gd name="T13" fmla="*/ 721 h 1442"/>
                <a:gd name="T14" fmla="*/ 721 w 1443"/>
                <a:gd name="T15" fmla="*/ 1277 h 1442"/>
                <a:gd name="T16" fmla="*/ 1278 w 1443"/>
                <a:gd name="T17" fmla="*/ 721 h 1442"/>
                <a:gd name="T18" fmla="*/ 721 w 1443"/>
                <a:gd name="T19" fmla="*/ 16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3" h="1442">
                  <a:moveTo>
                    <a:pt x="721" y="1442"/>
                  </a:moveTo>
                  <a:cubicBezTo>
                    <a:pt x="324" y="1442"/>
                    <a:pt x="0" y="1118"/>
                    <a:pt x="0" y="721"/>
                  </a:cubicBezTo>
                  <a:cubicBezTo>
                    <a:pt x="0" y="323"/>
                    <a:pt x="324" y="0"/>
                    <a:pt x="721" y="0"/>
                  </a:cubicBezTo>
                  <a:cubicBezTo>
                    <a:pt x="1119" y="0"/>
                    <a:pt x="1443" y="323"/>
                    <a:pt x="1443" y="721"/>
                  </a:cubicBezTo>
                  <a:cubicBezTo>
                    <a:pt x="1443" y="1118"/>
                    <a:pt x="1119" y="1442"/>
                    <a:pt x="721" y="1442"/>
                  </a:cubicBezTo>
                  <a:close/>
                  <a:moveTo>
                    <a:pt x="721" y="164"/>
                  </a:moveTo>
                  <a:cubicBezTo>
                    <a:pt x="414" y="164"/>
                    <a:pt x="165" y="414"/>
                    <a:pt x="165" y="721"/>
                  </a:cubicBezTo>
                  <a:cubicBezTo>
                    <a:pt x="165" y="1028"/>
                    <a:pt x="414" y="1277"/>
                    <a:pt x="721" y="1277"/>
                  </a:cubicBezTo>
                  <a:cubicBezTo>
                    <a:pt x="1028" y="1277"/>
                    <a:pt x="1278" y="1028"/>
                    <a:pt x="1278" y="721"/>
                  </a:cubicBezTo>
                  <a:cubicBezTo>
                    <a:pt x="1278" y="414"/>
                    <a:pt x="1028" y="164"/>
                    <a:pt x="721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5" name="Freeform 344">
              <a:extLst>
                <a:ext uri="{FF2B5EF4-FFF2-40B4-BE49-F238E27FC236}">
                  <a16:creationId xmlns:a16="http://schemas.microsoft.com/office/drawing/2014/main" id="{2E95A6EF-0D22-42E7-AAAC-B078CA6013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69375" y="2506663"/>
              <a:ext cx="174625" cy="173038"/>
            </a:xfrm>
            <a:custGeom>
              <a:avLst/>
              <a:gdLst>
                <a:gd name="T0" fmla="*/ 241 w 481"/>
                <a:gd name="T1" fmla="*/ 321 h 481"/>
                <a:gd name="T2" fmla="*/ 160 w 481"/>
                <a:gd name="T3" fmla="*/ 241 h 481"/>
                <a:gd name="T4" fmla="*/ 241 w 481"/>
                <a:gd name="T5" fmla="*/ 160 h 481"/>
                <a:gd name="T6" fmla="*/ 321 w 481"/>
                <a:gd name="T7" fmla="*/ 241 h 481"/>
                <a:gd name="T8" fmla="*/ 241 w 481"/>
                <a:gd name="T9" fmla="*/ 321 h 481"/>
                <a:gd name="T10" fmla="*/ 241 w 481"/>
                <a:gd name="T11" fmla="*/ 0 h 481"/>
                <a:gd name="T12" fmla="*/ 0 w 481"/>
                <a:gd name="T13" fmla="*/ 241 h 481"/>
                <a:gd name="T14" fmla="*/ 241 w 481"/>
                <a:gd name="T15" fmla="*/ 481 h 481"/>
                <a:gd name="T16" fmla="*/ 481 w 481"/>
                <a:gd name="T17" fmla="*/ 241 h 481"/>
                <a:gd name="T18" fmla="*/ 241 w 481"/>
                <a:gd name="T19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1" h="481">
                  <a:moveTo>
                    <a:pt x="241" y="321"/>
                  </a:moveTo>
                  <a:cubicBezTo>
                    <a:pt x="196" y="321"/>
                    <a:pt x="160" y="285"/>
                    <a:pt x="160" y="241"/>
                  </a:cubicBezTo>
                  <a:cubicBezTo>
                    <a:pt x="160" y="196"/>
                    <a:pt x="196" y="160"/>
                    <a:pt x="241" y="160"/>
                  </a:cubicBezTo>
                  <a:cubicBezTo>
                    <a:pt x="285" y="160"/>
                    <a:pt x="321" y="196"/>
                    <a:pt x="321" y="241"/>
                  </a:cubicBezTo>
                  <a:cubicBezTo>
                    <a:pt x="321" y="285"/>
                    <a:pt x="285" y="321"/>
                    <a:pt x="241" y="321"/>
                  </a:cubicBezTo>
                  <a:close/>
                  <a:moveTo>
                    <a:pt x="241" y="0"/>
                  </a:moveTo>
                  <a:cubicBezTo>
                    <a:pt x="108" y="0"/>
                    <a:pt x="0" y="108"/>
                    <a:pt x="0" y="241"/>
                  </a:cubicBezTo>
                  <a:cubicBezTo>
                    <a:pt x="0" y="373"/>
                    <a:pt x="108" y="481"/>
                    <a:pt x="241" y="481"/>
                  </a:cubicBezTo>
                  <a:cubicBezTo>
                    <a:pt x="373" y="481"/>
                    <a:pt x="481" y="373"/>
                    <a:pt x="481" y="241"/>
                  </a:cubicBezTo>
                  <a:cubicBezTo>
                    <a:pt x="481" y="108"/>
                    <a:pt x="373" y="0"/>
                    <a:pt x="2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46" name="Freeform 345">
            <a:extLst>
              <a:ext uri="{FF2B5EF4-FFF2-40B4-BE49-F238E27FC236}">
                <a16:creationId xmlns:a16="http://schemas.microsoft.com/office/drawing/2014/main" id="{99345C0F-3652-41F1-A7D3-2DF0B4088C8A}"/>
              </a:ext>
            </a:extLst>
          </p:cNvPr>
          <p:cNvSpPr>
            <a:spLocks noEditPoints="1"/>
          </p:cNvSpPr>
          <p:nvPr/>
        </p:nvSpPr>
        <p:spPr bwMode="auto">
          <a:xfrm>
            <a:off x="3627438" y="4049713"/>
            <a:ext cx="250825" cy="82550"/>
          </a:xfrm>
          <a:custGeom>
            <a:avLst/>
            <a:gdLst>
              <a:gd name="T0" fmla="*/ 0 w 699"/>
              <a:gd name="T1" fmla="*/ 0 h 230"/>
              <a:gd name="T2" fmla="*/ 28 w 699"/>
              <a:gd name="T3" fmla="*/ 93 h 230"/>
              <a:gd name="T4" fmla="*/ 138 w 699"/>
              <a:gd name="T5" fmla="*/ 0 h 230"/>
              <a:gd name="T6" fmla="*/ 166 w 699"/>
              <a:gd name="T7" fmla="*/ 227 h 230"/>
              <a:gd name="T8" fmla="*/ 138 w 699"/>
              <a:gd name="T9" fmla="*/ 120 h 230"/>
              <a:gd name="T10" fmla="*/ 28 w 699"/>
              <a:gd name="T11" fmla="*/ 227 h 230"/>
              <a:gd name="T12" fmla="*/ 314 w 699"/>
              <a:gd name="T13" fmla="*/ 174 h 230"/>
              <a:gd name="T14" fmla="*/ 318 w 699"/>
              <a:gd name="T15" fmla="*/ 216 h 230"/>
              <a:gd name="T16" fmla="*/ 221 w 699"/>
              <a:gd name="T17" fmla="*/ 208 h 230"/>
              <a:gd name="T18" fmla="*/ 221 w 699"/>
              <a:gd name="T19" fmla="*/ 81 h 230"/>
              <a:gd name="T20" fmla="*/ 323 w 699"/>
              <a:gd name="T21" fmla="*/ 81 h 230"/>
              <a:gd name="T22" fmla="*/ 342 w 699"/>
              <a:gd name="T23" fmla="*/ 152 h 230"/>
              <a:gd name="T24" fmla="*/ 242 w 699"/>
              <a:gd name="T25" fmla="*/ 193 h 230"/>
              <a:gd name="T26" fmla="*/ 298 w 699"/>
              <a:gd name="T27" fmla="*/ 199 h 230"/>
              <a:gd name="T28" fmla="*/ 229 w 699"/>
              <a:gd name="T29" fmla="*/ 129 h 230"/>
              <a:gd name="T30" fmla="*/ 305 w 699"/>
              <a:gd name="T31" fmla="*/ 98 h 230"/>
              <a:gd name="T32" fmla="*/ 242 w 699"/>
              <a:gd name="T33" fmla="*/ 94 h 230"/>
              <a:gd name="T34" fmla="*/ 476 w 699"/>
              <a:gd name="T35" fmla="*/ 206 h 230"/>
              <a:gd name="T36" fmla="*/ 419 w 699"/>
              <a:gd name="T37" fmla="*/ 230 h 230"/>
              <a:gd name="T38" fmla="*/ 367 w 699"/>
              <a:gd name="T39" fmla="*/ 183 h 230"/>
              <a:gd name="T40" fmla="*/ 385 w 699"/>
              <a:gd name="T41" fmla="*/ 145 h 230"/>
              <a:gd name="T42" fmla="*/ 427 w 699"/>
              <a:gd name="T43" fmla="*/ 132 h 230"/>
              <a:gd name="T44" fmla="*/ 474 w 699"/>
              <a:gd name="T45" fmla="*/ 115 h 230"/>
              <a:gd name="T46" fmla="*/ 437 w 699"/>
              <a:gd name="T47" fmla="*/ 82 h 230"/>
              <a:gd name="T48" fmla="*/ 397 w 699"/>
              <a:gd name="T49" fmla="*/ 113 h 230"/>
              <a:gd name="T50" fmla="*/ 383 w 699"/>
              <a:gd name="T51" fmla="*/ 81 h 230"/>
              <a:gd name="T52" fmla="*/ 440 w 699"/>
              <a:gd name="T53" fmla="*/ 59 h 230"/>
              <a:gd name="T54" fmla="*/ 491 w 699"/>
              <a:gd name="T55" fmla="*/ 76 h 230"/>
              <a:gd name="T56" fmla="*/ 500 w 699"/>
              <a:gd name="T57" fmla="*/ 121 h 230"/>
              <a:gd name="T58" fmla="*/ 502 w 699"/>
              <a:gd name="T59" fmla="*/ 207 h 230"/>
              <a:gd name="T60" fmla="*/ 481 w 699"/>
              <a:gd name="T61" fmla="*/ 227 h 230"/>
              <a:gd name="T62" fmla="*/ 474 w 699"/>
              <a:gd name="T63" fmla="*/ 144 h 230"/>
              <a:gd name="T64" fmla="*/ 408 w 699"/>
              <a:gd name="T65" fmla="*/ 160 h 230"/>
              <a:gd name="T66" fmla="*/ 394 w 699"/>
              <a:gd name="T67" fmla="*/ 183 h 230"/>
              <a:gd name="T68" fmla="*/ 425 w 699"/>
              <a:gd name="T69" fmla="*/ 208 h 230"/>
              <a:gd name="T70" fmla="*/ 469 w 699"/>
              <a:gd name="T71" fmla="*/ 182 h 230"/>
              <a:gd name="T72" fmla="*/ 474 w 699"/>
              <a:gd name="T73" fmla="*/ 144 h 230"/>
              <a:gd name="T74" fmla="*/ 540 w 699"/>
              <a:gd name="T75" fmla="*/ 62 h 230"/>
              <a:gd name="T76" fmla="*/ 563 w 699"/>
              <a:gd name="T77" fmla="*/ 87 h 230"/>
              <a:gd name="T78" fmla="*/ 596 w 699"/>
              <a:gd name="T79" fmla="*/ 59 h 230"/>
              <a:gd name="T80" fmla="*/ 614 w 699"/>
              <a:gd name="T81" fmla="*/ 93 h 230"/>
              <a:gd name="T82" fmla="*/ 580 w 699"/>
              <a:gd name="T83" fmla="*/ 93 h 230"/>
              <a:gd name="T84" fmla="*/ 566 w 699"/>
              <a:gd name="T85" fmla="*/ 141 h 230"/>
              <a:gd name="T86" fmla="*/ 540 w 699"/>
              <a:gd name="T87" fmla="*/ 227 h 230"/>
              <a:gd name="T88" fmla="*/ 699 w 699"/>
              <a:gd name="T89" fmla="*/ 227 h 230"/>
              <a:gd name="T90" fmla="*/ 657 w 699"/>
              <a:gd name="T91" fmla="*/ 224 h 230"/>
              <a:gd name="T92" fmla="*/ 643 w 699"/>
              <a:gd name="T93" fmla="*/ 179 h 230"/>
              <a:gd name="T94" fmla="*/ 624 w 699"/>
              <a:gd name="T95" fmla="*/ 84 h 230"/>
              <a:gd name="T96" fmla="*/ 643 w 699"/>
              <a:gd name="T97" fmla="*/ 62 h 230"/>
              <a:gd name="T98" fmla="*/ 669 w 699"/>
              <a:gd name="T99" fmla="*/ 5 h 230"/>
              <a:gd name="T100" fmla="*/ 695 w 699"/>
              <a:gd name="T101" fmla="*/ 62 h 230"/>
              <a:gd name="T102" fmla="*/ 669 w 699"/>
              <a:gd name="T103" fmla="*/ 84 h 230"/>
              <a:gd name="T104" fmla="*/ 670 w 699"/>
              <a:gd name="T105" fmla="*/ 196 h 230"/>
              <a:gd name="T106" fmla="*/ 684 w 699"/>
              <a:gd name="T107" fmla="*/ 203 h 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99" h="230">
                <a:moveTo>
                  <a:pt x="0" y="227"/>
                </a:moveTo>
                <a:lnTo>
                  <a:pt x="0" y="0"/>
                </a:lnTo>
                <a:lnTo>
                  <a:pt x="28" y="0"/>
                </a:lnTo>
                <a:lnTo>
                  <a:pt x="28" y="93"/>
                </a:lnTo>
                <a:lnTo>
                  <a:pt x="138" y="93"/>
                </a:lnTo>
                <a:lnTo>
                  <a:pt x="138" y="0"/>
                </a:lnTo>
                <a:lnTo>
                  <a:pt x="166" y="0"/>
                </a:lnTo>
                <a:lnTo>
                  <a:pt x="166" y="227"/>
                </a:lnTo>
                <a:lnTo>
                  <a:pt x="138" y="227"/>
                </a:lnTo>
                <a:lnTo>
                  <a:pt x="138" y="120"/>
                </a:lnTo>
                <a:lnTo>
                  <a:pt x="28" y="120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314" y="174"/>
                </a:moveTo>
                <a:lnTo>
                  <a:pt x="341" y="177"/>
                </a:lnTo>
                <a:cubicBezTo>
                  <a:pt x="337" y="194"/>
                  <a:pt x="329" y="207"/>
                  <a:pt x="318" y="216"/>
                </a:cubicBezTo>
                <a:cubicBezTo>
                  <a:pt x="306" y="226"/>
                  <a:pt x="292" y="230"/>
                  <a:pt x="274" y="230"/>
                </a:cubicBezTo>
                <a:cubicBezTo>
                  <a:pt x="251" y="230"/>
                  <a:pt x="234" y="223"/>
                  <a:pt x="221" y="208"/>
                </a:cubicBezTo>
                <a:cubicBezTo>
                  <a:pt x="207" y="193"/>
                  <a:pt x="201" y="173"/>
                  <a:pt x="201" y="146"/>
                </a:cubicBezTo>
                <a:cubicBezTo>
                  <a:pt x="201" y="118"/>
                  <a:pt x="208" y="97"/>
                  <a:pt x="221" y="81"/>
                </a:cubicBezTo>
                <a:cubicBezTo>
                  <a:pt x="234" y="66"/>
                  <a:pt x="251" y="59"/>
                  <a:pt x="272" y="59"/>
                </a:cubicBezTo>
                <a:cubicBezTo>
                  <a:pt x="293" y="59"/>
                  <a:pt x="310" y="66"/>
                  <a:pt x="323" y="81"/>
                </a:cubicBezTo>
                <a:cubicBezTo>
                  <a:pt x="336" y="96"/>
                  <a:pt x="342" y="117"/>
                  <a:pt x="342" y="144"/>
                </a:cubicBezTo>
                <a:cubicBezTo>
                  <a:pt x="342" y="146"/>
                  <a:pt x="342" y="148"/>
                  <a:pt x="342" y="152"/>
                </a:cubicBezTo>
                <a:lnTo>
                  <a:pt x="228" y="152"/>
                </a:lnTo>
                <a:cubicBezTo>
                  <a:pt x="229" y="170"/>
                  <a:pt x="233" y="184"/>
                  <a:pt x="242" y="193"/>
                </a:cubicBezTo>
                <a:cubicBezTo>
                  <a:pt x="250" y="203"/>
                  <a:pt x="261" y="207"/>
                  <a:pt x="274" y="207"/>
                </a:cubicBezTo>
                <a:cubicBezTo>
                  <a:pt x="283" y="207"/>
                  <a:pt x="292" y="205"/>
                  <a:pt x="298" y="199"/>
                </a:cubicBezTo>
                <a:cubicBezTo>
                  <a:pt x="305" y="194"/>
                  <a:pt x="310" y="185"/>
                  <a:pt x="314" y="174"/>
                </a:cubicBezTo>
                <a:close/>
                <a:moveTo>
                  <a:pt x="229" y="129"/>
                </a:moveTo>
                <a:lnTo>
                  <a:pt x="315" y="129"/>
                </a:lnTo>
                <a:cubicBezTo>
                  <a:pt x="313" y="115"/>
                  <a:pt x="310" y="105"/>
                  <a:pt x="305" y="98"/>
                </a:cubicBezTo>
                <a:cubicBezTo>
                  <a:pt x="296" y="87"/>
                  <a:pt x="286" y="81"/>
                  <a:pt x="273" y="81"/>
                </a:cubicBezTo>
                <a:cubicBezTo>
                  <a:pt x="261" y="81"/>
                  <a:pt x="251" y="86"/>
                  <a:pt x="242" y="94"/>
                </a:cubicBezTo>
                <a:cubicBezTo>
                  <a:pt x="234" y="103"/>
                  <a:pt x="230" y="114"/>
                  <a:pt x="229" y="129"/>
                </a:cubicBezTo>
                <a:close/>
                <a:moveTo>
                  <a:pt x="476" y="206"/>
                </a:moveTo>
                <a:cubicBezTo>
                  <a:pt x="466" y="215"/>
                  <a:pt x="457" y="221"/>
                  <a:pt x="448" y="225"/>
                </a:cubicBezTo>
                <a:cubicBezTo>
                  <a:pt x="439" y="229"/>
                  <a:pt x="429" y="230"/>
                  <a:pt x="419" y="230"/>
                </a:cubicBezTo>
                <a:cubicBezTo>
                  <a:pt x="402" y="230"/>
                  <a:pt x="389" y="226"/>
                  <a:pt x="380" y="217"/>
                </a:cubicBezTo>
                <a:cubicBezTo>
                  <a:pt x="371" y="208"/>
                  <a:pt x="367" y="197"/>
                  <a:pt x="367" y="183"/>
                </a:cubicBezTo>
                <a:cubicBezTo>
                  <a:pt x="367" y="175"/>
                  <a:pt x="368" y="168"/>
                  <a:pt x="372" y="161"/>
                </a:cubicBezTo>
                <a:cubicBezTo>
                  <a:pt x="375" y="155"/>
                  <a:pt x="380" y="149"/>
                  <a:pt x="385" y="145"/>
                </a:cubicBezTo>
                <a:cubicBezTo>
                  <a:pt x="391" y="141"/>
                  <a:pt x="397" y="138"/>
                  <a:pt x="404" y="136"/>
                </a:cubicBezTo>
                <a:cubicBezTo>
                  <a:pt x="409" y="135"/>
                  <a:pt x="417" y="133"/>
                  <a:pt x="427" y="132"/>
                </a:cubicBezTo>
                <a:cubicBezTo>
                  <a:pt x="448" y="129"/>
                  <a:pt x="464" y="126"/>
                  <a:pt x="474" y="122"/>
                </a:cubicBezTo>
                <a:cubicBezTo>
                  <a:pt x="474" y="119"/>
                  <a:pt x="474" y="116"/>
                  <a:pt x="474" y="115"/>
                </a:cubicBezTo>
                <a:cubicBezTo>
                  <a:pt x="474" y="104"/>
                  <a:pt x="471" y="96"/>
                  <a:pt x="466" y="91"/>
                </a:cubicBezTo>
                <a:cubicBezTo>
                  <a:pt x="460" y="85"/>
                  <a:pt x="450" y="82"/>
                  <a:pt x="437" y="82"/>
                </a:cubicBezTo>
                <a:cubicBezTo>
                  <a:pt x="424" y="82"/>
                  <a:pt x="415" y="84"/>
                  <a:pt x="409" y="89"/>
                </a:cubicBezTo>
                <a:cubicBezTo>
                  <a:pt x="404" y="93"/>
                  <a:pt x="399" y="101"/>
                  <a:pt x="397" y="113"/>
                </a:cubicBezTo>
                <a:lnTo>
                  <a:pt x="371" y="109"/>
                </a:lnTo>
                <a:cubicBezTo>
                  <a:pt x="373" y="98"/>
                  <a:pt x="377" y="88"/>
                  <a:pt x="383" y="81"/>
                </a:cubicBezTo>
                <a:cubicBezTo>
                  <a:pt x="388" y="74"/>
                  <a:pt x="396" y="68"/>
                  <a:pt x="406" y="64"/>
                </a:cubicBezTo>
                <a:cubicBezTo>
                  <a:pt x="416" y="61"/>
                  <a:pt x="427" y="59"/>
                  <a:pt x="440" y="59"/>
                </a:cubicBezTo>
                <a:cubicBezTo>
                  <a:pt x="454" y="59"/>
                  <a:pt x="464" y="60"/>
                  <a:pt x="473" y="64"/>
                </a:cubicBezTo>
                <a:cubicBezTo>
                  <a:pt x="481" y="67"/>
                  <a:pt x="487" y="71"/>
                  <a:pt x="491" y="76"/>
                </a:cubicBezTo>
                <a:cubicBezTo>
                  <a:pt x="494" y="81"/>
                  <a:pt x="497" y="87"/>
                  <a:pt x="499" y="95"/>
                </a:cubicBezTo>
                <a:cubicBezTo>
                  <a:pt x="500" y="100"/>
                  <a:pt x="500" y="108"/>
                  <a:pt x="500" y="121"/>
                </a:cubicBezTo>
                <a:lnTo>
                  <a:pt x="500" y="158"/>
                </a:lnTo>
                <a:cubicBezTo>
                  <a:pt x="500" y="184"/>
                  <a:pt x="501" y="200"/>
                  <a:pt x="502" y="207"/>
                </a:cubicBezTo>
                <a:cubicBezTo>
                  <a:pt x="503" y="214"/>
                  <a:pt x="505" y="221"/>
                  <a:pt x="508" y="227"/>
                </a:cubicBezTo>
                <a:lnTo>
                  <a:pt x="481" y="227"/>
                </a:lnTo>
                <a:cubicBezTo>
                  <a:pt x="478" y="221"/>
                  <a:pt x="477" y="214"/>
                  <a:pt x="476" y="206"/>
                </a:cubicBezTo>
                <a:close/>
                <a:moveTo>
                  <a:pt x="474" y="144"/>
                </a:moveTo>
                <a:cubicBezTo>
                  <a:pt x="464" y="148"/>
                  <a:pt x="450" y="152"/>
                  <a:pt x="431" y="155"/>
                </a:cubicBezTo>
                <a:cubicBezTo>
                  <a:pt x="420" y="156"/>
                  <a:pt x="413" y="158"/>
                  <a:pt x="408" y="160"/>
                </a:cubicBezTo>
                <a:cubicBezTo>
                  <a:pt x="404" y="162"/>
                  <a:pt x="401" y="165"/>
                  <a:pt x="398" y="169"/>
                </a:cubicBezTo>
                <a:cubicBezTo>
                  <a:pt x="396" y="173"/>
                  <a:pt x="394" y="178"/>
                  <a:pt x="394" y="183"/>
                </a:cubicBezTo>
                <a:cubicBezTo>
                  <a:pt x="394" y="190"/>
                  <a:pt x="397" y="196"/>
                  <a:pt x="402" y="201"/>
                </a:cubicBezTo>
                <a:cubicBezTo>
                  <a:pt x="408" y="206"/>
                  <a:pt x="415" y="208"/>
                  <a:pt x="425" y="208"/>
                </a:cubicBezTo>
                <a:cubicBezTo>
                  <a:pt x="435" y="208"/>
                  <a:pt x="444" y="206"/>
                  <a:pt x="452" y="201"/>
                </a:cubicBezTo>
                <a:cubicBezTo>
                  <a:pt x="460" y="197"/>
                  <a:pt x="466" y="190"/>
                  <a:pt x="469" y="182"/>
                </a:cubicBezTo>
                <a:cubicBezTo>
                  <a:pt x="472" y="176"/>
                  <a:pt x="474" y="167"/>
                  <a:pt x="474" y="154"/>
                </a:cubicBezTo>
                <a:lnTo>
                  <a:pt x="474" y="144"/>
                </a:lnTo>
                <a:close/>
                <a:moveTo>
                  <a:pt x="540" y="227"/>
                </a:moveTo>
                <a:lnTo>
                  <a:pt x="540" y="62"/>
                </a:lnTo>
                <a:lnTo>
                  <a:pt x="563" y="62"/>
                </a:lnTo>
                <a:lnTo>
                  <a:pt x="563" y="87"/>
                </a:lnTo>
                <a:cubicBezTo>
                  <a:pt x="569" y="76"/>
                  <a:pt x="575" y="68"/>
                  <a:pt x="580" y="64"/>
                </a:cubicBezTo>
                <a:cubicBezTo>
                  <a:pt x="585" y="60"/>
                  <a:pt x="590" y="59"/>
                  <a:pt x="596" y="59"/>
                </a:cubicBezTo>
                <a:cubicBezTo>
                  <a:pt x="605" y="59"/>
                  <a:pt x="614" y="62"/>
                  <a:pt x="623" y="67"/>
                </a:cubicBezTo>
                <a:lnTo>
                  <a:pt x="614" y="93"/>
                </a:lnTo>
                <a:cubicBezTo>
                  <a:pt x="608" y="89"/>
                  <a:pt x="601" y="87"/>
                  <a:pt x="595" y="87"/>
                </a:cubicBezTo>
                <a:cubicBezTo>
                  <a:pt x="589" y="87"/>
                  <a:pt x="584" y="89"/>
                  <a:pt x="580" y="93"/>
                </a:cubicBezTo>
                <a:cubicBezTo>
                  <a:pt x="575" y="97"/>
                  <a:pt x="572" y="102"/>
                  <a:pt x="570" y="108"/>
                </a:cubicBezTo>
                <a:cubicBezTo>
                  <a:pt x="567" y="118"/>
                  <a:pt x="566" y="129"/>
                  <a:pt x="566" y="141"/>
                </a:cubicBezTo>
                <a:lnTo>
                  <a:pt x="566" y="227"/>
                </a:lnTo>
                <a:lnTo>
                  <a:pt x="540" y="227"/>
                </a:lnTo>
                <a:close/>
                <a:moveTo>
                  <a:pt x="695" y="202"/>
                </a:moveTo>
                <a:lnTo>
                  <a:pt x="699" y="227"/>
                </a:lnTo>
                <a:cubicBezTo>
                  <a:pt x="691" y="228"/>
                  <a:pt x="685" y="229"/>
                  <a:pt x="679" y="229"/>
                </a:cubicBezTo>
                <a:cubicBezTo>
                  <a:pt x="670" y="229"/>
                  <a:pt x="662" y="227"/>
                  <a:pt x="657" y="224"/>
                </a:cubicBezTo>
                <a:cubicBezTo>
                  <a:pt x="652" y="221"/>
                  <a:pt x="648" y="217"/>
                  <a:pt x="646" y="212"/>
                </a:cubicBezTo>
                <a:cubicBezTo>
                  <a:pt x="644" y="206"/>
                  <a:pt x="643" y="195"/>
                  <a:pt x="643" y="179"/>
                </a:cubicBezTo>
                <a:lnTo>
                  <a:pt x="643" y="84"/>
                </a:lnTo>
                <a:lnTo>
                  <a:pt x="624" y="84"/>
                </a:lnTo>
                <a:lnTo>
                  <a:pt x="624" y="62"/>
                </a:lnTo>
                <a:lnTo>
                  <a:pt x="643" y="62"/>
                </a:lnTo>
                <a:lnTo>
                  <a:pt x="643" y="21"/>
                </a:lnTo>
                <a:lnTo>
                  <a:pt x="669" y="5"/>
                </a:lnTo>
                <a:lnTo>
                  <a:pt x="669" y="62"/>
                </a:lnTo>
                <a:lnTo>
                  <a:pt x="695" y="62"/>
                </a:lnTo>
                <a:lnTo>
                  <a:pt x="695" y="84"/>
                </a:lnTo>
                <a:lnTo>
                  <a:pt x="669" y="84"/>
                </a:lnTo>
                <a:lnTo>
                  <a:pt x="669" y="180"/>
                </a:lnTo>
                <a:cubicBezTo>
                  <a:pt x="669" y="188"/>
                  <a:pt x="669" y="193"/>
                  <a:pt x="670" y="196"/>
                </a:cubicBezTo>
                <a:cubicBezTo>
                  <a:pt x="671" y="198"/>
                  <a:pt x="673" y="200"/>
                  <a:pt x="675" y="201"/>
                </a:cubicBezTo>
                <a:cubicBezTo>
                  <a:pt x="677" y="202"/>
                  <a:pt x="680" y="203"/>
                  <a:pt x="684" y="203"/>
                </a:cubicBezTo>
                <a:cubicBezTo>
                  <a:pt x="687" y="203"/>
                  <a:pt x="690" y="203"/>
                  <a:pt x="695" y="2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33" name="Group 432">
            <a:extLst>
              <a:ext uri="{FF2B5EF4-FFF2-40B4-BE49-F238E27FC236}">
                <a16:creationId xmlns:a16="http://schemas.microsoft.com/office/drawing/2014/main" id="{1F70105E-8A60-469D-B1EA-9DA652DBC946}"/>
              </a:ext>
            </a:extLst>
          </p:cNvPr>
          <p:cNvGrpSpPr/>
          <p:nvPr/>
        </p:nvGrpSpPr>
        <p:grpSpPr>
          <a:xfrm>
            <a:off x="3459163" y="3494088"/>
            <a:ext cx="577850" cy="461963"/>
            <a:chOff x="3459163" y="3494088"/>
            <a:chExt cx="577850" cy="461963"/>
          </a:xfrm>
          <a:solidFill>
            <a:schemeClr val="accent1"/>
          </a:solidFill>
        </p:grpSpPr>
        <p:sp>
          <p:nvSpPr>
            <p:cNvPr id="147" name="Freeform 346">
              <a:extLst>
                <a:ext uri="{FF2B5EF4-FFF2-40B4-BE49-F238E27FC236}">
                  <a16:creationId xmlns:a16="http://schemas.microsoft.com/office/drawing/2014/main" id="{A83CED8C-AC37-4F04-8BB9-83A299485A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3494088"/>
              <a:ext cx="577850" cy="461963"/>
            </a:xfrm>
            <a:custGeom>
              <a:avLst/>
              <a:gdLst>
                <a:gd name="T0" fmla="*/ 1243 w 1604"/>
                <a:gd name="T1" fmla="*/ 1002 h 1283"/>
                <a:gd name="T2" fmla="*/ 962 w 1604"/>
                <a:gd name="T3" fmla="*/ 1283 h 1283"/>
                <a:gd name="T4" fmla="*/ 642 w 1604"/>
                <a:gd name="T5" fmla="*/ 1283 h 1283"/>
                <a:gd name="T6" fmla="*/ 0 w 1604"/>
                <a:gd name="T7" fmla="*/ 641 h 1283"/>
                <a:gd name="T8" fmla="*/ 0 w 1604"/>
                <a:gd name="T9" fmla="*/ 241 h 1283"/>
                <a:gd name="T10" fmla="*/ 241 w 1604"/>
                <a:gd name="T11" fmla="*/ 0 h 1283"/>
                <a:gd name="T12" fmla="*/ 642 w 1604"/>
                <a:gd name="T13" fmla="*/ 0 h 1283"/>
                <a:gd name="T14" fmla="*/ 802 w 1604"/>
                <a:gd name="T15" fmla="*/ 160 h 1283"/>
                <a:gd name="T16" fmla="*/ 962 w 1604"/>
                <a:gd name="T17" fmla="*/ 0 h 1283"/>
                <a:gd name="T18" fmla="*/ 1363 w 1604"/>
                <a:gd name="T19" fmla="*/ 0 h 1283"/>
                <a:gd name="T20" fmla="*/ 1604 w 1604"/>
                <a:gd name="T21" fmla="*/ 241 h 1283"/>
                <a:gd name="T22" fmla="*/ 1604 w 1604"/>
                <a:gd name="T23" fmla="*/ 641 h 1283"/>
                <a:gd name="T24" fmla="*/ 1403 w 1604"/>
                <a:gd name="T25" fmla="*/ 842 h 1283"/>
                <a:gd name="T26" fmla="*/ 1283 w 1604"/>
                <a:gd name="T27" fmla="*/ 722 h 1283"/>
                <a:gd name="T28" fmla="*/ 1444 w 1604"/>
                <a:gd name="T29" fmla="*/ 561 h 1283"/>
                <a:gd name="T30" fmla="*/ 1444 w 1604"/>
                <a:gd name="T31" fmla="*/ 321 h 1283"/>
                <a:gd name="T32" fmla="*/ 1283 w 1604"/>
                <a:gd name="T33" fmla="*/ 160 h 1283"/>
                <a:gd name="T34" fmla="*/ 1043 w 1604"/>
                <a:gd name="T35" fmla="*/ 160 h 1283"/>
                <a:gd name="T36" fmla="*/ 802 w 1604"/>
                <a:gd name="T37" fmla="*/ 401 h 1283"/>
                <a:gd name="T38" fmla="*/ 562 w 1604"/>
                <a:gd name="T39" fmla="*/ 160 h 1283"/>
                <a:gd name="T40" fmla="*/ 321 w 1604"/>
                <a:gd name="T41" fmla="*/ 160 h 1283"/>
                <a:gd name="T42" fmla="*/ 161 w 1604"/>
                <a:gd name="T43" fmla="*/ 321 h 1283"/>
                <a:gd name="T44" fmla="*/ 161 w 1604"/>
                <a:gd name="T45" fmla="*/ 561 h 1283"/>
                <a:gd name="T46" fmla="*/ 722 w 1604"/>
                <a:gd name="T47" fmla="*/ 1123 h 1283"/>
                <a:gd name="T48" fmla="*/ 882 w 1604"/>
                <a:gd name="T49" fmla="*/ 1123 h 1283"/>
                <a:gd name="T50" fmla="*/ 1123 w 1604"/>
                <a:gd name="T51" fmla="*/ 882 h 1283"/>
                <a:gd name="T52" fmla="*/ 1243 w 1604"/>
                <a:gd name="T53" fmla="*/ 1002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04" h="1283">
                  <a:moveTo>
                    <a:pt x="1243" y="1002"/>
                  </a:moveTo>
                  <a:lnTo>
                    <a:pt x="962" y="1283"/>
                  </a:lnTo>
                  <a:lnTo>
                    <a:pt x="642" y="1283"/>
                  </a:lnTo>
                  <a:cubicBezTo>
                    <a:pt x="642" y="1283"/>
                    <a:pt x="6" y="641"/>
                    <a:pt x="0" y="641"/>
                  </a:cubicBezTo>
                  <a:lnTo>
                    <a:pt x="0" y="241"/>
                  </a:lnTo>
                  <a:lnTo>
                    <a:pt x="241" y="0"/>
                  </a:lnTo>
                  <a:lnTo>
                    <a:pt x="642" y="0"/>
                  </a:lnTo>
                  <a:lnTo>
                    <a:pt x="802" y="160"/>
                  </a:lnTo>
                  <a:lnTo>
                    <a:pt x="962" y="0"/>
                  </a:lnTo>
                  <a:lnTo>
                    <a:pt x="1363" y="0"/>
                  </a:lnTo>
                  <a:lnTo>
                    <a:pt x="1604" y="241"/>
                  </a:lnTo>
                  <a:lnTo>
                    <a:pt x="1604" y="641"/>
                  </a:lnTo>
                  <a:lnTo>
                    <a:pt x="1403" y="842"/>
                  </a:lnTo>
                  <a:lnTo>
                    <a:pt x="1283" y="722"/>
                  </a:lnTo>
                  <a:lnTo>
                    <a:pt x="1444" y="561"/>
                  </a:lnTo>
                  <a:lnTo>
                    <a:pt x="1444" y="321"/>
                  </a:lnTo>
                  <a:lnTo>
                    <a:pt x="1283" y="160"/>
                  </a:lnTo>
                  <a:lnTo>
                    <a:pt x="1043" y="160"/>
                  </a:lnTo>
                  <a:lnTo>
                    <a:pt x="802" y="401"/>
                  </a:lnTo>
                  <a:lnTo>
                    <a:pt x="562" y="160"/>
                  </a:lnTo>
                  <a:lnTo>
                    <a:pt x="321" y="160"/>
                  </a:lnTo>
                  <a:lnTo>
                    <a:pt x="161" y="321"/>
                  </a:lnTo>
                  <a:lnTo>
                    <a:pt x="161" y="561"/>
                  </a:lnTo>
                  <a:lnTo>
                    <a:pt x="722" y="1123"/>
                  </a:lnTo>
                  <a:lnTo>
                    <a:pt x="882" y="1123"/>
                  </a:lnTo>
                  <a:lnTo>
                    <a:pt x="1123" y="882"/>
                  </a:lnTo>
                  <a:lnTo>
                    <a:pt x="1243" y="10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8" name="Freeform 347">
              <a:extLst>
                <a:ext uri="{FF2B5EF4-FFF2-40B4-BE49-F238E27FC236}">
                  <a16:creationId xmlns:a16="http://schemas.microsoft.com/office/drawing/2014/main" id="{ED26F620-632D-4A94-98BD-D59C47B44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8088" y="3508375"/>
              <a:ext cx="87313" cy="87313"/>
            </a:xfrm>
            <a:custGeom>
              <a:avLst/>
              <a:gdLst>
                <a:gd name="T0" fmla="*/ 0 w 241"/>
                <a:gd name="T1" fmla="*/ 120 h 241"/>
                <a:gd name="T2" fmla="*/ 120 w 241"/>
                <a:gd name="T3" fmla="*/ 241 h 241"/>
                <a:gd name="T4" fmla="*/ 241 w 241"/>
                <a:gd name="T5" fmla="*/ 120 h 241"/>
                <a:gd name="T6" fmla="*/ 120 w 241"/>
                <a:gd name="T7" fmla="*/ 0 h 241"/>
                <a:gd name="T8" fmla="*/ 0 w 241"/>
                <a:gd name="T9" fmla="*/ 12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241">
                  <a:moveTo>
                    <a:pt x="0" y="120"/>
                  </a:moveTo>
                  <a:lnTo>
                    <a:pt x="120" y="241"/>
                  </a:lnTo>
                  <a:lnTo>
                    <a:pt x="241" y="120"/>
                  </a:lnTo>
                  <a:lnTo>
                    <a:pt x="120" y="0"/>
                  </a:lnTo>
                  <a:lnTo>
                    <a:pt x="0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49" name="Freeform 348">
            <a:extLst>
              <a:ext uri="{FF2B5EF4-FFF2-40B4-BE49-F238E27FC236}">
                <a16:creationId xmlns:a16="http://schemas.microsoft.com/office/drawing/2014/main" id="{17691979-A3B0-40B9-A020-5A818B4C6E24}"/>
              </a:ext>
            </a:extLst>
          </p:cNvPr>
          <p:cNvSpPr>
            <a:spLocks noEditPoints="1"/>
          </p:cNvSpPr>
          <p:nvPr/>
        </p:nvSpPr>
        <p:spPr bwMode="auto">
          <a:xfrm>
            <a:off x="8231188" y="4048125"/>
            <a:ext cx="192088" cy="84138"/>
          </a:xfrm>
          <a:custGeom>
            <a:avLst/>
            <a:gdLst>
              <a:gd name="T0" fmla="*/ 27 w 533"/>
              <a:gd name="T1" fmla="*/ 155 h 235"/>
              <a:gd name="T2" fmla="*/ 57 w 533"/>
              <a:gd name="T3" fmla="*/ 201 h 235"/>
              <a:gd name="T4" fmla="*/ 117 w 533"/>
              <a:gd name="T5" fmla="*/ 203 h 235"/>
              <a:gd name="T6" fmla="*/ 142 w 533"/>
              <a:gd name="T7" fmla="*/ 169 h 235"/>
              <a:gd name="T8" fmla="*/ 117 w 533"/>
              <a:gd name="T9" fmla="*/ 137 h 235"/>
              <a:gd name="T10" fmla="*/ 38 w 533"/>
              <a:gd name="T11" fmla="*/ 112 h 235"/>
              <a:gd name="T12" fmla="*/ 8 w 533"/>
              <a:gd name="T13" fmla="*/ 62 h 235"/>
              <a:gd name="T14" fmla="*/ 44 w 533"/>
              <a:gd name="T15" fmla="*/ 7 h 235"/>
              <a:gd name="T16" fmla="*/ 124 w 533"/>
              <a:gd name="T17" fmla="*/ 8 h 235"/>
              <a:gd name="T18" fmla="*/ 162 w 533"/>
              <a:gd name="T19" fmla="*/ 68 h 235"/>
              <a:gd name="T20" fmla="*/ 121 w 533"/>
              <a:gd name="T21" fmla="*/ 37 h 235"/>
              <a:gd name="T22" fmla="*/ 47 w 533"/>
              <a:gd name="T23" fmla="*/ 36 h 235"/>
              <a:gd name="T24" fmla="*/ 43 w 533"/>
              <a:gd name="T25" fmla="*/ 81 h 235"/>
              <a:gd name="T26" fmla="*/ 133 w 533"/>
              <a:gd name="T27" fmla="*/ 111 h 235"/>
              <a:gd name="T28" fmla="*/ 169 w 533"/>
              <a:gd name="T29" fmla="*/ 167 h 235"/>
              <a:gd name="T30" fmla="*/ 131 w 533"/>
              <a:gd name="T31" fmla="*/ 226 h 235"/>
              <a:gd name="T32" fmla="*/ 42 w 533"/>
              <a:gd name="T33" fmla="*/ 226 h 235"/>
              <a:gd name="T34" fmla="*/ 0 w 533"/>
              <a:gd name="T35" fmla="*/ 158 h 235"/>
              <a:gd name="T36" fmla="*/ 264 w 533"/>
              <a:gd name="T37" fmla="*/ 231 h 235"/>
              <a:gd name="T38" fmla="*/ 222 w 533"/>
              <a:gd name="T39" fmla="*/ 228 h 235"/>
              <a:gd name="T40" fmla="*/ 208 w 533"/>
              <a:gd name="T41" fmla="*/ 183 h 235"/>
              <a:gd name="T42" fmla="*/ 189 w 533"/>
              <a:gd name="T43" fmla="*/ 88 h 235"/>
              <a:gd name="T44" fmla="*/ 208 w 533"/>
              <a:gd name="T45" fmla="*/ 66 h 235"/>
              <a:gd name="T46" fmla="*/ 234 w 533"/>
              <a:gd name="T47" fmla="*/ 9 h 235"/>
              <a:gd name="T48" fmla="*/ 260 w 533"/>
              <a:gd name="T49" fmla="*/ 66 h 235"/>
              <a:gd name="T50" fmla="*/ 234 w 533"/>
              <a:gd name="T51" fmla="*/ 88 h 235"/>
              <a:gd name="T52" fmla="*/ 235 w 533"/>
              <a:gd name="T53" fmla="*/ 200 h 235"/>
              <a:gd name="T54" fmla="*/ 249 w 533"/>
              <a:gd name="T55" fmla="*/ 207 h 235"/>
              <a:gd name="T56" fmla="*/ 386 w 533"/>
              <a:gd name="T57" fmla="*/ 210 h 235"/>
              <a:gd name="T58" fmla="*/ 329 w 533"/>
              <a:gd name="T59" fmla="*/ 234 h 235"/>
              <a:gd name="T60" fmla="*/ 277 w 533"/>
              <a:gd name="T61" fmla="*/ 187 h 235"/>
              <a:gd name="T62" fmla="*/ 295 w 533"/>
              <a:gd name="T63" fmla="*/ 149 h 235"/>
              <a:gd name="T64" fmla="*/ 337 w 533"/>
              <a:gd name="T65" fmla="*/ 136 h 235"/>
              <a:gd name="T66" fmla="*/ 384 w 533"/>
              <a:gd name="T67" fmla="*/ 119 h 235"/>
              <a:gd name="T68" fmla="*/ 347 w 533"/>
              <a:gd name="T69" fmla="*/ 86 h 235"/>
              <a:gd name="T70" fmla="*/ 307 w 533"/>
              <a:gd name="T71" fmla="*/ 117 h 235"/>
              <a:gd name="T72" fmla="*/ 293 w 533"/>
              <a:gd name="T73" fmla="*/ 85 h 235"/>
              <a:gd name="T74" fmla="*/ 351 w 533"/>
              <a:gd name="T75" fmla="*/ 63 h 235"/>
              <a:gd name="T76" fmla="*/ 401 w 533"/>
              <a:gd name="T77" fmla="*/ 80 h 235"/>
              <a:gd name="T78" fmla="*/ 410 w 533"/>
              <a:gd name="T79" fmla="*/ 125 h 235"/>
              <a:gd name="T80" fmla="*/ 412 w 533"/>
              <a:gd name="T81" fmla="*/ 211 h 235"/>
              <a:gd name="T82" fmla="*/ 391 w 533"/>
              <a:gd name="T83" fmla="*/ 231 h 235"/>
              <a:gd name="T84" fmla="*/ 384 w 533"/>
              <a:gd name="T85" fmla="*/ 148 h 235"/>
              <a:gd name="T86" fmla="*/ 319 w 533"/>
              <a:gd name="T87" fmla="*/ 164 h 235"/>
              <a:gd name="T88" fmla="*/ 305 w 533"/>
              <a:gd name="T89" fmla="*/ 187 h 235"/>
              <a:gd name="T90" fmla="*/ 336 w 533"/>
              <a:gd name="T91" fmla="*/ 212 h 235"/>
              <a:gd name="T92" fmla="*/ 380 w 533"/>
              <a:gd name="T93" fmla="*/ 186 h 235"/>
              <a:gd name="T94" fmla="*/ 384 w 533"/>
              <a:gd name="T95" fmla="*/ 148 h 235"/>
              <a:gd name="T96" fmla="*/ 450 w 533"/>
              <a:gd name="T97" fmla="*/ 66 h 235"/>
              <a:gd name="T98" fmla="*/ 473 w 533"/>
              <a:gd name="T99" fmla="*/ 91 h 235"/>
              <a:gd name="T100" fmla="*/ 507 w 533"/>
              <a:gd name="T101" fmla="*/ 63 h 235"/>
              <a:gd name="T102" fmla="*/ 524 w 533"/>
              <a:gd name="T103" fmla="*/ 97 h 235"/>
              <a:gd name="T104" fmla="*/ 490 w 533"/>
              <a:gd name="T105" fmla="*/ 97 h 235"/>
              <a:gd name="T106" fmla="*/ 476 w 533"/>
              <a:gd name="T107" fmla="*/ 145 h 235"/>
              <a:gd name="T108" fmla="*/ 450 w 533"/>
              <a:gd name="T109" fmla="*/ 231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33" h="235">
                <a:moveTo>
                  <a:pt x="0" y="158"/>
                </a:moveTo>
                <a:lnTo>
                  <a:pt x="27" y="155"/>
                </a:lnTo>
                <a:cubicBezTo>
                  <a:pt x="28" y="167"/>
                  <a:pt x="31" y="176"/>
                  <a:pt x="35" y="183"/>
                </a:cubicBezTo>
                <a:cubicBezTo>
                  <a:pt x="40" y="191"/>
                  <a:pt x="47" y="197"/>
                  <a:pt x="57" y="201"/>
                </a:cubicBezTo>
                <a:cubicBezTo>
                  <a:pt x="66" y="206"/>
                  <a:pt x="77" y="208"/>
                  <a:pt x="89" y="208"/>
                </a:cubicBezTo>
                <a:cubicBezTo>
                  <a:pt x="100" y="208"/>
                  <a:pt x="109" y="206"/>
                  <a:pt x="117" y="203"/>
                </a:cubicBezTo>
                <a:cubicBezTo>
                  <a:pt x="126" y="199"/>
                  <a:pt x="132" y="195"/>
                  <a:pt x="136" y="189"/>
                </a:cubicBezTo>
                <a:cubicBezTo>
                  <a:pt x="140" y="183"/>
                  <a:pt x="142" y="176"/>
                  <a:pt x="142" y="169"/>
                </a:cubicBezTo>
                <a:cubicBezTo>
                  <a:pt x="142" y="162"/>
                  <a:pt x="140" y="156"/>
                  <a:pt x="136" y="151"/>
                </a:cubicBezTo>
                <a:cubicBezTo>
                  <a:pt x="132" y="145"/>
                  <a:pt x="126" y="141"/>
                  <a:pt x="117" y="137"/>
                </a:cubicBezTo>
                <a:cubicBezTo>
                  <a:pt x="111" y="135"/>
                  <a:pt x="99" y="131"/>
                  <a:pt x="79" y="126"/>
                </a:cubicBezTo>
                <a:cubicBezTo>
                  <a:pt x="60" y="121"/>
                  <a:pt x="46" y="116"/>
                  <a:pt x="38" y="112"/>
                </a:cubicBezTo>
                <a:cubicBezTo>
                  <a:pt x="28" y="106"/>
                  <a:pt x="21" y="99"/>
                  <a:pt x="16" y="91"/>
                </a:cubicBezTo>
                <a:cubicBezTo>
                  <a:pt x="11" y="82"/>
                  <a:pt x="8" y="73"/>
                  <a:pt x="8" y="62"/>
                </a:cubicBezTo>
                <a:cubicBezTo>
                  <a:pt x="8" y="51"/>
                  <a:pt x="11" y="40"/>
                  <a:pt x="17" y="30"/>
                </a:cubicBezTo>
                <a:cubicBezTo>
                  <a:pt x="23" y="20"/>
                  <a:pt x="32" y="13"/>
                  <a:pt x="44" y="7"/>
                </a:cubicBezTo>
                <a:cubicBezTo>
                  <a:pt x="56" y="2"/>
                  <a:pt x="69" y="0"/>
                  <a:pt x="83" y="0"/>
                </a:cubicBezTo>
                <a:cubicBezTo>
                  <a:pt x="99" y="0"/>
                  <a:pt x="112" y="2"/>
                  <a:pt x="124" y="8"/>
                </a:cubicBezTo>
                <a:cubicBezTo>
                  <a:pt x="136" y="13"/>
                  <a:pt x="146" y="21"/>
                  <a:pt x="152" y="32"/>
                </a:cubicBezTo>
                <a:cubicBezTo>
                  <a:pt x="158" y="42"/>
                  <a:pt x="162" y="54"/>
                  <a:pt x="162" y="68"/>
                </a:cubicBezTo>
                <a:lnTo>
                  <a:pt x="135" y="70"/>
                </a:lnTo>
                <a:cubicBezTo>
                  <a:pt x="134" y="56"/>
                  <a:pt x="129" y="45"/>
                  <a:pt x="121" y="37"/>
                </a:cubicBezTo>
                <a:cubicBezTo>
                  <a:pt x="113" y="30"/>
                  <a:pt x="100" y="26"/>
                  <a:pt x="84" y="26"/>
                </a:cubicBezTo>
                <a:cubicBezTo>
                  <a:pt x="67" y="26"/>
                  <a:pt x="55" y="30"/>
                  <a:pt x="47" y="36"/>
                </a:cubicBezTo>
                <a:cubicBezTo>
                  <a:pt x="39" y="43"/>
                  <a:pt x="35" y="51"/>
                  <a:pt x="35" y="61"/>
                </a:cubicBezTo>
                <a:cubicBezTo>
                  <a:pt x="35" y="69"/>
                  <a:pt x="38" y="75"/>
                  <a:pt x="43" y="81"/>
                </a:cubicBezTo>
                <a:cubicBezTo>
                  <a:pt x="49" y="86"/>
                  <a:pt x="63" y="91"/>
                  <a:pt x="86" y="97"/>
                </a:cubicBezTo>
                <a:cubicBezTo>
                  <a:pt x="108" y="102"/>
                  <a:pt x="124" y="107"/>
                  <a:pt x="133" y="111"/>
                </a:cubicBezTo>
                <a:cubicBezTo>
                  <a:pt x="145" y="117"/>
                  <a:pt x="154" y="125"/>
                  <a:pt x="160" y="134"/>
                </a:cubicBezTo>
                <a:cubicBezTo>
                  <a:pt x="166" y="144"/>
                  <a:pt x="169" y="155"/>
                  <a:pt x="169" y="167"/>
                </a:cubicBezTo>
                <a:cubicBezTo>
                  <a:pt x="169" y="179"/>
                  <a:pt x="165" y="190"/>
                  <a:pt x="159" y="201"/>
                </a:cubicBezTo>
                <a:cubicBezTo>
                  <a:pt x="153" y="212"/>
                  <a:pt x="143" y="220"/>
                  <a:pt x="131" y="226"/>
                </a:cubicBezTo>
                <a:cubicBezTo>
                  <a:pt x="119" y="232"/>
                  <a:pt x="106" y="235"/>
                  <a:pt x="90" y="235"/>
                </a:cubicBezTo>
                <a:cubicBezTo>
                  <a:pt x="71" y="235"/>
                  <a:pt x="55" y="232"/>
                  <a:pt x="42" y="226"/>
                </a:cubicBezTo>
                <a:cubicBezTo>
                  <a:pt x="29" y="220"/>
                  <a:pt x="19" y="211"/>
                  <a:pt x="12" y="199"/>
                </a:cubicBezTo>
                <a:cubicBezTo>
                  <a:pt x="5" y="187"/>
                  <a:pt x="1" y="173"/>
                  <a:pt x="0" y="158"/>
                </a:cubicBezTo>
                <a:close/>
                <a:moveTo>
                  <a:pt x="260" y="206"/>
                </a:moveTo>
                <a:lnTo>
                  <a:pt x="264" y="231"/>
                </a:lnTo>
                <a:cubicBezTo>
                  <a:pt x="256" y="232"/>
                  <a:pt x="250" y="233"/>
                  <a:pt x="244" y="233"/>
                </a:cubicBezTo>
                <a:cubicBezTo>
                  <a:pt x="235" y="233"/>
                  <a:pt x="227" y="231"/>
                  <a:pt x="222" y="228"/>
                </a:cubicBezTo>
                <a:cubicBezTo>
                  <a:pt x="217" y="225"/>
                  <a:pt x="213" y="221"/>
                  <a:pt x="211" y="216"/>
                </a:cubicBezTo>
                <a:cubicBezTo>
                  <a:pt x="209" y="210"/>
                  <a:pt x="208" y="199"/>
                  <a:pt x="208" y="183"/>
                </a:cubicBezTo>
                <a:lnTo>
                  <a:pt x="208" y="88"/>
                </a:lnTo>
                <a:lnTo>
                  <a:pt x="189" y="88"/>
                </a:lnTo>
                <a:lnTo>
                  <a:pt x="189" y="66"/>
                </a:lnTo>
                <a:lnTo>
                  <a:pt x="208" y="66"/>
                </a:lnTo>
                <a:lnTo>
                  <a:pt x="208" y="25"/>
                </a:lnTo>
                <a:lnTo>
                  <a:pt x="234" y="9"/>
                </a:lnTo>
                <a:lnTo>
                  <a:pt x="234" y="66"/>
                </a:lnTo>
                <a:lnTo>
                  <a:pt x="260" y="66"/>
                </a:lnTo>
                <a:lnTo>
                  <a:pt x="260" y="88"/>
                </a:lnTo>
                <a:lnTo>
                  <a:pt x="234" y="88"/>
                </a:lnTo>
                <a:lnTo>
                  <a:pt x="234" y="184"/>
                </a:lnTo>
                <a:cubicBezTo>
                  <a:pt x="234" y="192"/>
                  <a:pt x="234" y="197"/>
                  <a:pt x="235" y="200"/>
                </a:cubicBezTo>
                <a:cubicBezTo>
                  <a:pt x="236" y="202"/>
                  <a:pt x="238" y="204"/>
                  <a:pt x="240" y="205"/>
                </a:cubicBezTo>
                <a:cubicBezTo>
                  <a:pt x="242" y="206"/>
                  <a:pt x="245" y="207"/>
                  <a:pt x="249" y="207"/>
                </a:cubicBezTo>
                <a:cubicBezTo>
                  <a:pt x="252" y="207"/>
                  <a:pt x="255" y="207"/>
                  <a:pt x="260" y="206"/>
                </a:cubicBezTo>
                <a:close/>
                <a:moveTo>
                  <a:pt x="386" y="210"/>
                </a:moveTo>
                <a:cubicBezTo>
                  <a:pt x="376" y="219"/>
                  <a:pt x="367" y="225"/>
                  <a:pt x="358" y="229"/>
                </a:cubicBezTo>
                <a:cubicBezTo>
                  <a:pt x="349" y="233"/>
                  <a:pt x="340" y="234"/>
                  <a:pt x="329" y="234"/>
                </a:cubicBezTo>
                <a:cubicBezTo>
                  <a:pt x="312" y="234"/>
                  <a:pt x="300" y="230"/>
                  <a:pt x="290" y="221"/>
                </a:cubicBezTo>
                <a:cubicBezTo>
                  <a:pt x="281" y="212"/>
                  <a:pt x="277" y="201"/>
                  <a:pt x="277" y="187"/>
                </a:cubicBezTo>
                <a:cubicBezTo>
                  <a:pt x="277" y="179"/>
                  <a:pt x="279" y="172"/>
                  <a:pt x="282" y="165"/>
                </a:cubicBezTo>
                <a:cubicBezTo>
                  <a:pt x="285" y="159"/>
                  <a:pt x="290" y="153"/>
                  <a:pt x="295" y="149"/>
                </a:cubicBezTo>
                <a:cubicBezTo>
                  <a:pt x="301" y="145"/>
                  <a:pt x="307" y="142"/>
                  <a:pt x="314" y="140"/>
                </a:cubicBezTo>
                <a:cubicBezTo>
                  <a:pt x="319" y="139"/>
                  <a:pt x="327" y="137"/>
                  <a:pt x="337" y="136"/>
                </a:cubicBezTo>
                <a:cubicBezTo>
                  <a:pt x="358" y="133"/>
                  <a:pt x="374" y="130"/>
                  <a:pt x="384" y="126"/>
                </a:cubicBezTo>
                <a:cubicBezTo>
                  <a:pt x="384" y="123"/>
                  <a:pt x="384" y="120"/>
                  <a:pt x="384" y="119"/>
                </a:cubicBezTo>
                <a:cubicBezTo>
                  <a:pt x="384" y="108"/>
                  <a:pt x="381" y="100"/>
                  <a:pt x="377" y="95"/>
                </a:cubicBezTo>
                <a:cubicBezTo>
                  <a:pt x="370" y="89"/>
                  <a:pt x="360" y="86"/>
                  <a:pt x="347" y="86"/>
                </a:cubicBezTo>
                <a:cubicBezTo>
                  <a:pt x="335" y="86"/>
                  <a:pt x="326" y="88"/>
                  <a:pt x="320" y="93"/>
                </a:cubicBezTo>
                <a:cubicBezTo>
                  <a:pt x="314" y="97"/>
                  <a:pt x="310" y="105"/>
                  <a:pt x="307" y="117"/>
                </a:cubicBezTo>
                <a:lnTo>
                  <a:pt x="281" y="113"/>
                </a:lnTo>
                <a:cubicBezTo>
                  <a:pt x="284" y="102"/>
                  <a:pt x="287" y="92"/>
                  <a:pt x="293" y="85"/>
                </a:cubicBezTo>
                <a:cubicBezTo>
                  <a:pt x="298" y="78"/>
                  <a:pt x="306" y="72"/>
                  <a:pt x="316" y="68"/>
                </a:cubicBezTo>
                <a:cubicBezTo>
                  <a:pt x="326" y="65"/>
                  <a:pt x="337" y="63"/>
                  <a:pt x="351" y="63"/>
                </a:cubicBezTo>
                <a:cubicBezTo>
                  <a:pt x="364" y="63"/>
                  <a:pt x="375" y="64"/>
                  <a:pt x="383" y="68"/>
                </a:cubicBezTo>
                <a:cubicBezTo>
                  <a:pt x="391" y="71"/>
                  <a:pt x="397" y="75"/>
                  <a:pt x="401" y="80"/>
                </a:cubicBezTo>
                <a:cubicBezTo>
                  <a:pt x="405" y="85"/>
                  <a:pt x="407" y="91"/>
                  <a:pt x="409" y="99"/>
                </a:cubicBezTo>
                <a:cubicBezTo>
                  <a:pt x="410" y="104"/>
                  <a:pt x="410" y="112"/>
                  <a:pt x="410" y="125"/>
                </a:cubicBezTo>
                <a:lnTo>
                  <a:pt x="410" y="162"/>
                </a:lnTo>
                <a:cubicBezTo>
                  <a:pt x="410" y="188"/>
                  <a:pt x="411" y="204"/>
                  <a:pt x="412" y="211"/>
                </a:cubicBezTo>
                <a:cubicBezTo>
                  <a:pt x="413" y="218"/>
                  <a:pt x="415" y="225"/>
                  <a:pt x="418" y="231"/>
                </a:cubicBezTo>
                <a:lnTo>
                  <a:pt x="391" y="231"/>
                </a:lnTo>
                <a:cubicBezTo>
                  <a:pt x="388" y="225"/>
                  <a:pt x="387" y="218"/>
                  <a:pt x="386" y="210"/>
                </a:cubicBezTo>
                <a:close/>
                <a:moveTo>
                  <a:pt x="384" y="148"/>
                </a:moveTo>
                <a:cubicBezTo>
                  <a:pt x="374" y="152"/>
                  <a:pt x="360" y="156"/>
                  <a:pt x="341" y="159"/>
                </a:cubicBezTo>
                <a:cubicBezTo>
                  <a:pt x="331" y="160"/>
                  <a:pt x="323" y="162"/>
                  <a:pt x="319" y="164"/>
                </a:cubicBezTo>
                <a:cubicBezTo>
                  <a:pt x="314" y="166"/>
                  <a:pt x="311" y="169"/>
                  <a:pt x="308" y="173"/>
                </a:cubicBezTo>
                <a:cubicBezTo>
                  <a:pt x="306" y="177"/>
                  <a:pt x="305" y="182"/>
                  <a:pt x="305" y="187"/>
                </a:cubicBezTo>
                <a:cubicBezTo>
                  <a:pt x="305" y="194"/>
                  <a:pt x="307" y="200"/>
                  <a:pt x="313" y="205"/>
                </a:cubicBezTo>
                <a:cubicBezTo>
                  <a:pt x="318" y="210"/>
                  <a:pt x="326" y="212"/>
                  <a:pt x="336" y="212"/>
                </a:cubicBezTo>
                <a:cubicBezTo>
                  <a:pt x="346" y="212"/>
                  <a:pt x="355" y="210"/>
                  <a:pt x="362" y="205"/>
                </a:cubicBezTo>
                <a:cubicBezTo>
                  <a:pt x="370" y="201"/>
                  <a:pt x="376" y="194"/>
                  <a:pt x="380" y="186"/>
                </a:cubicBezTo>
                <a:cubicBezTo>
                  <a:pt x="382" y="180"/>
                  <a:pt x="384" y="171"/>
                  <a:pt x="384" y="158"/>
                </a:cubicBezTo>
                <a:lnTo>
                  <a:pt x="384" y="148"/>
                </a:lnTo>
                <a:close/>
                <a:moveTo>
                  <a:pt x="450" y="231"/>
                </a:moveTo>
                <a:lnTo>
                  <a:pt x="450" y="66"/>
                </a:lnTo>
                <a:lnTo>
                  <a:pt x="473" y="66"/>
                </a:lnTo>
                <a:lnTo>
                  <a:pt x="473" y="91"/>
                </a:lnTo>
                <a:cubicBezTo>
                  <a:pt x="479" y="80"/>
                  <a:pt x="485" y="72"/>
                  <a:pt x="490" y="68"/>
                </a:cubicBezTo>
                <a:cubicBezTo>
                  <a:pt x="495" y="64"/>
                  <a:pt x="501" y="63"/>
                  <a:pt x="507" y="63"/>
                </a:cubicBezTo>
                <a:cubicBezTo>
                  <a:pt x="515" y="63"/>
                  <a:pt x="524" y="66"/>
                  <a:pt x="533" y="71"/>
                </a:cubicBezTo>
                <a:lnTo>
                  <a:pt x="524" y="97"/>
                </a:lnTo>
                <a:cubicBezTo>
                  <a:pt x="518" y="93"/>
                  <a:pt x="511" y="91"/>
                  <a:pt x="505" y="91"/>
                </a:cubicBezTo>
                <a:cubicBezTo>
                  <a:pt x="499" y="91"/>
                  <a:pt x="494" y="93"/>
                  <a:pt x="490" y="97"/>
                </a:cubicBezTo>
                <a:cubicBezTo>
                  <a:pt x="485" y="101"/>
                  <a:pt x="482" y="106"/>
                  <a:pt x="480" y="112"/>
                </a:cubicBezTo>
                <a:cubicBezTo>
                  <a:pt x="477" y="122"/>
                  <a:pt x="476" y="133"/>
                  <a:pt x="476" y="145"/>
                </a:cubicBezTo>
                <a:lnTo>
                  <a:pt x="476" y="231"/>
                </a:lnTo>
                <a:lnTo>
                  <a:pt x="450" y="2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0" name="Freeform 349">
            <a:extLst>
              <a:ext uri="{FF2B5EF4-FFF2-40B4-BE49-F238E27FC236}">
                <a16:creationId xmlns:a16="http://schemas.microsoft.com/office/drawing/2014/main" id="{3C1CF221-9C81-4714-9E14-7B8DEA07166D}"/>
              </a:ext>
            </a:extLst>
          </p:cNvPr>
          <p:cNvSpPr>
            <a:spLocks noEditPoints="1"/>
          </p:cNvSpPr>
          <p:nvPr/>
        </p:nvSpPr>
        <p:spPr bwMode="auto">
          <a:xfrm>
            <a:off x="8035925" y="3451225"/>
            <a:ext cx="574675" cy="547688"/>
          </a:xfrm>
          <a:custGeom>
            <a:avLst/>
            <a:gdLst>
              <a:gd name="T0" fmla="*/ 1596 w 1596"/>
              <a:gd name="T1" fmla="*/ 580 h 1519"/>
              <a:gd name="T2" fmla="*/ 1045 w 1596"/>
              <a:gd name="T3" fmla="*/ 500 h 1519"/>
              <a:gd name="T4" fmla="*/ 798 w 1596"/>
              <a:gd name="T5" fmla="*/ 0 h 1519"/>
              <a:gd name="T6" fmla="*/ 551 w 1596"/>
              <a:gd name="T7" fmla="*/ 500 h 1519"/>
              <a:gd name="T8" fmla="*/ 0 w 1596"/>
              <a:gd name="T9" fmla="*/ 580 h 1519"/>
              <a:gd name="T10" fmla="*/ 399 w 1596"/>
              <a:gd name="T11" fmla="*/ 969 h 1519"/>
              <a:gd name="T12" fmla="*/ 305 w 1596"/>
              <a:gd name="T13" fmla="*/ 1519 h 1519"/>
              <a:gd name="T14" fmla="*/ 798 w 1596"/>
              <a:gd name="T15" fmla="*/ 1259 h 1519"/>
              <a:gd name="T16" fmla="*/ 1291 w 1596"/>
              <a:gd name="T17" fmla="*/ 1519 h 1519"/>
              <a:gd name="T18" fmla="*/ 1197 w 1596"/>
              <a:gd name="T19" fmla="*/ 969 h 1519"/>
              <a:gd name="T20" fmla="*/ 1596 w 1596"/>
              <a:gd name="T21" fmla="*/ 580 h 1519"/>
              <a:gd name="T22" fmla="*/ 798 w 1596"/>
              <a:gd name="T23" fmla="*/ 1078 h 1519"/>
              <a:gd name="T24" fmla="*/ 519 w 1596"/>
              <a:gd name="T25" fmla="*/ 1225 h 1519"/>
              <a:gd name="T26" fmla="*/ 572 w 1596"/>
              <a:gd name="T27" fmla="*/ 911 h 1519"/>
              <a:gd name="T28" fmla="*/ 343 w 1596"/>
              <a:gd name="T29" fmla="*/ 692 h 1519"/>
              <a:gd name="T30" fmla="*/ 660 w 1596"/>
              <a:gd name="T31" fmla="*/ 644 h 1519"/>
              <a:gd name="T32" fmla="*/ 798 w 1596"/>
              <a:gd name="T33" fmla="*/ 363 h 1519"/>
              <a:gd name="T34" fmla="*/ 939 w 1596"/>
              <a:gd name="T35" fmla="*/ 646 h 1519"/>
              <a:gd name="T36" fmla="*/ 1253 w 1596"/>
              <a:gd name="T37" fmla="*/ 693 h 1519"/>
              <a:gd name="T38" fmla="*/ 1026 w 1596"/>
              <a:gd name="T39" fmla="*/ 911 h 1519"/>
              <a:gd name="T40" fmla="*/ 1080 w 1596"/>
              <a:gd name="T41" fmla="*/ 1226 h 1519"/>
              <a:gd name="T42" fmla="*/ 798 w 1596"/>
              <a:gd name="T43" fmla="*/ 1078 h 1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596" h="1519">
                <a:moveTo>
                  <a:pt x="1596" y="580"/>
                </a:moveTo>
                <a:lnTo>
                  <a:pt x="1045" y="500"/>
                </a:lnTo>
                <a:lnTo>
                  <a:pt x="798" y="0"/>
                </a:lnTo>
                <a:lnTo>
                  <a:pt x="551" y="500"/>
                </a:lnTo>
                <a:lnTo>
                  <a:pt x="0" y="580"/>
                </a:lnTo>
                <a:lnTo>
                  <a:pt x="399" y="969"/>
                </a:lnTo>
                <a:lnTo>
                  <a:pt x="305" y="1519"/>
                </a:lnTo>
                <a:lnTo>
                  <a:pt x="798" y="1259"/>
                </a:lnTo>
                <a:lnTo>
                  <a:pt x="1291" y="1519"/>
                </a:lnTo>
                <a:lnTo>
                  <a:pt x="1197" y="969"/>
                </a:lnTo>
                <a:lnTo>
                  <a:pt x="1596" y="580"/>
                </a:lnTo>
                <a:close/>
                <a:moveTo>
                  <a:pt x="798" y="1078"/>
                </a:moveTo>
                <a:lnTo>
                  <a:pt x="519" y="1225"/>
                </a:lnTo>
                <a:lnTo>
                  <a:pt x="572" y="911"/>
                </a:lnTo>
                <a:lnTo>
                  <a:pt x="343" y="692"/>
                </a:lnTo>
                <a:lnTo>
                  <a:pt x="660" y="644"/>
                </a:lnTo>
                <a:lnTo>
                  <a:pt x="798" y="363"/>
                </a:lnTo>
                <a:lnTo>
                  <a:pt x="939" y="646"/>
                </a:lnTo>
                <a:lnTo>
                  <a:pt x="1253" y="693"/>
                </a:lnTo>
                <a:lnTo>
                  <a:pt x="1026" y="911"/>
                </a:lnTo>
                <a:lnTo>
                  <a:pt x="1080" y="1226"/>
                </a:lnTo>
                <a:lnTo>
                  <a:pt x="798" y="107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3" name="Freeform 352">
            <a:extLst>
              <a:ext uri="{FF2B5EF4-FFF2-40B4-BE49-F238E27FC236}">
                <a16:creationId xmlns:a16="http://schemas.microsoft.com/office/drawing/2014/main" id="{44590BFB-B3A5-43D6-B903-58DE82E939BF}"/>
              </a:ext>
            </a:extLst>
          </p:cNvPr>
          <p:cNvSpPr>
            <a:spLocks noEditPoints="1"/>
          </p:cNvSpPr>
          <p:nvPr/>
        </p:nvSpPr>
        <p:spPr bwMode="auto">
          <a:xfrm>
            <a:off x="8843963" y="4048125"/>
            <a:ext cx="509588" cy="107950"/>
          </a:xfrm>
          <a:custGeom>
            <a:avLst/>
            <a:gdLst>
              <a:gd name="T0" fmla="*/ 57 w 1414"/>
              <a:gd name="T1" fmla="*/ 201 h 298"/>
              <a:gd name="T2" fmla="*/ 142 w 1414"/>
              <a:gd name="T3" fmla="*/ 169 h 298"/>
              <a:gd name="T4" fmla="*/ 38 w 1414"/>
              <a:gd name="T5" fmla="*/ 112 h 298"/>
              <a:gd name="T6" fmla="*/ 44 w 1414"/>
              <a:gd name="T7" fmla="*/ 7 h 298"/>
              <a:gd name="T8" fmla="*/ 163 w 1414"/>
              <a:gd name="T9" fmla="*/ 68 h 298"/>
              <a:gd name="T10" fmla="*/ 47 w 1414"/>
              <a:gd name="T11" fmla="*/ 36 h 298"/>
              <a:gd name="T12" fmla="*/ 133 w 1414"/>
              <a:gd name="T13" fmla="*/ 111 h 298"/>
              <a:gd name="T14" fmla="*/ 131 w 1414"/>
              <a:gd name="T15" fmla="*/ 226 h 298"/>
              <a:gd name="T16" fmla="*/ 0 w 1414"/>
              <a:gd name="T17" fmla="*/ 158 h 298"/>
              <a:gd name="T18" fmla="*/ 222 w 1414"/>
              <a:gd name="T19" fmla="*/ 228 h 298"/>
              <a:gd name="T20" fmla="*/ 189 w 1414"/>
              <a:gd name="T21" fmla="*/ 88 h 298"/>
              <a:gd name="T22" fmla="*/ 234 w 1414"/>
              <a:gd name="T23" fmla="*/ 9 h 298"/>
              <a:gd name="T24" fmla="*/ 234 w 1414"/>
              <a:gd name="T25" fmla="*/ 88 h 298"/>
              <a:gd name="T26" fmla="*/ 249 w 1414"/>
              <a:gd name="T27" fmla="*/ 207 h 298"/>
              <a:gd name="T28" fmla="*/ 329 w 1414"/>
              <a:gd name="T29" fmla="*/ 234 h 298"/>
              <a:gd name="T30" fmla="*/ 296 w 1414"/>
              <a:gd name="T31" fmla="*/ 149 h 298"/>
              <a:gd name="T32" fmla="*/ 384 w 1414"/>
              <a:gd name="T33" fmla="*/ 119 h 298"/>
              <a:gd name="T34" fmla="*/ 307 w 1414"/>
              <a:gd name="T35" fmla="*/ 117 h 298"/>
              <a:gd name="T36" fmla="*/ 351 w 1414"/>
              <a:gd name="T37" fmla="*/ 63 h 298"/>
              <a:gd name="T38" fmla="*/ 410 w 1414"/>
              <a:gd name="T39" fmla="*/ 125 h 298"/>
              <a:gd name="T40" fmla="*/ 391 w 1414"/>
              <a:gd name="T41" fmla="*/ 231 h 298"/>
              <a:gd name="T42" fmla="*/ 319 w 1414"/>
              <a:gd name="T43" fmla="*/ 164 h 298"/>
              <a:gd name="T44" fmla="*/ 336 w 1414"/>
              <a:gd name="T45" fmla="*/ 212 h 298"/>
              <a:gd name="T46" fmla="*/ 384 w 1414"/>
              <a:gd name="T47" fmla="*/ 148 h 298"/>
              <a:gd name="T48" fmla="*/ 473 w 1414"/>
              <a:gd name="T49" fmla="*/ 91 h 298"/>
              <a:gd name="T50" fmla="*/ 524 w 1414"/>
              <a:gd name="T51" fmla="*/ 97 h 298"/>
              <a:gd name="T52" fmla="*/ 476 w 1414"/>
              <a:gd name="T53" fmla="*/ 145 h 298"/>
              <a:gd name="T54" fmla="*/ 635 w 1414"/>
              <a:gd name="T55" fmla="*/ 4 h 298"/>
              <a:gd name="T56" fmla="*/ 804 w 1414"/>
              <a:gd name="T57" fmla="*/ 65 h 298"/>
              <a:gd name="T58" fmla="*/ 785 w 1414"/>
              <a:gd name="T59" fmla="*/ 169 h 298"/>
              <a:gd name="T60" fmla="*/ 738 w 1414"/>
              <a:gd name="T61" fmla="*/ 152 h 298"/>
              <a:gd name="T62" fmla="*/ 663 w 1414"/>
              <a:gd name="T63" fmla="*/ 130 h 298"/>
              <a:gd name="T64" fmla="*/ 723 w 1414"/>
              <a:gd name="T65" fmla="*/ 104 h 298"/>
              <a:gd name="T66" fmla="*/ 764 w 1414"/>
              <a:gd name="T67" fmla="*/ 39 h 298"/>
              <a:gd name="T68" fmla="*/ 845 w 1414"/>
              <a:gd name="T69" fmla="*/ 35 h 298"/>
              <a:gd name="T70" fmla="*/ 845 w 1414"/>
              <a:gd name="T71" fmla="*/ 35 h 298"/>
              <a:gd name="T72" fmla="*/ 871 w 1414"/>
              <a:gd name="T73" fmla="*/ 231 h 298"/>
              <a:gd name="T74" fmla="*/ 938 w 1414"/>
              <a:gd name="T75" fmla="*/ 203 h 298"/>
              <a:gd name="T76" fmla="*/ 993 w 1414"/>
              <a:gd name="T77" fmla="*/ 170 h 298"/>
              <a:gd name="T78" fmla="*/ 904 w 1414"/>
              <a:gd name="T79" fmla="*/ 110 h 298"/>
              <a:gd name="T80" fmla="*/ 961 w 1414"/>
              <a:gd name="T81" fmla="*/ 63 h 298"/>
              <a:gd name="T82" fmla="*/ 996 w 1414"/>
              <a:gd name="T83" fmla="*/ 113 h 298"/>
              <a:gd name="T84" fmla="*/ 930 w 1414"/>
              <a:gd name="T85" fmla="*/ 107 h 298"/>
              <a:gd name="T86" fmla="*/ 1004 w 1414"/>
              <a:gd name="T87" fmla="*/ 144 h 298"/>
              <a:gd name="T88" fmla="*/ 998 w 1414"/>
              <a:gd name="T89" fmla="*/ 228 h 298"/>
              <a:gd name="T90" fmla="*/ 1058 w 1414"/>
              <a:gd name="T91" fmla="*/ 35 h 298"/>
              <a:gd name="T92" fmla="*/ 1058 w 1414"/>
              <a:gd name="T93" fmla="*/ 35 h 298"/>
              <a:gd name="T94" fmla="*/ 1084 w 1414"/>
              <a:gd name="T95" fmla="*/ 231 h 298"/>
              <a:gd name="T96" fmla="*/ 1147 w 1414"/>
              <a:gd name="T97" fmla="*/ 66 h 298"/>
              <a:gd name="T98" fmla="*/ 1239 w 1414"/>
              <a:gd name="T99" fmla="*/ 82 h 298"/>
              <a:gd name="T100" fmla="*/ 1223 w 1414"/>
              <a:gd name="T101" fmla="*/ 231 h 298"/>
              <a:gd name="T102" fmla="*/ 1191 w 1414"/>
              <a:gd name="T103" fmla="*/ 87 h 298"/>
              <a:gd name="T104" fmla="*/ 1124 w 1414"/>
              <a:gd name="T105" fmla="*/ 231 h 298"/>
              <a:gd name="T106" fmla="*/ 1344 w 1414"/>
              <a:gd name="T107" fmla="*/ 274 h 298"/>
              <a:gd name="T108" fmla="*/ 1345 w 1414"/>
              <a:gd name="T109" fmla="*/ 231 h 298"/>
              <a:gd name="T110" fmla="*/ 1309 w 1414"/>
              <a:gd name="T111" fmla="*/ 73 h 298"/>
              <a:gd name="T112" fmla="*/ 1414 w 1414"/>
              <a:gd name="T113" fmla="*/ 66 h 298"/>
              <a:gd name="T114" fmla="*/ 1344 w 1414"/>
              <a:gd name="T115" fmla="*/ 298 h 298"/>
              <a:gd name="T116" fmla="*/ 1317 w 1414"/>
              <a:gd name="T117" fmla="*/ 193 h 298"/>
              <a:gd name="T118" fmla="*/ 1377 w 1414"/>
              <a:gd name="T119" fmla="*/ 101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14" h="298">
                <a:moveTo>
                  <a:pt x="0" y="158"/>
                </a:moveTo>
                <a:lnTo>
                  <a:pt x="27" y="155"/>
                </a:lnTo>
                <a:cubicBezTo>
                  <a:pt x="28" y="167"/>
                  <a:pt x="31" y="176"/>
                  <a:pt x="35" y="183"/>
                </a:cubicBezTo>
                <a:cubicBezTo>
                  <a:pt x="40" y="191"/>
                  <a:pt x="47" y="197"/>
                  <a:pt x="57" y="201"/>
                </a:cubicBezTo>
                <a:cubicBezTo>
                  <a:pt x="66" y="206"/>
                  <a:pt x="77" y="208"/>
                  <a:pt x="89" y="208"/>
                </a:cubicBezTo>
                <a:cubicBezTo>
                  <a:pt x="100" y="208"/>
                  <a:pt x="109" y="206"/>
                  <a:pt x="118" y="203"/>
                </a:cubicBezTo>
                <a:cubicBezTo>
                  <a:pt x="126" y="199"/>
                  <a:pt x="132" y="195"/>
                  <a:pt x="136" y="189"/>
                </a:cubicBezTo>
                <a:cubicBezTo>
                  <a:pt x="140" y="183"/>
                  <a:pt x="142" y="176"/>
                  <a:pt x="142" y="169"/>
                </a:cubicBezTo>
                <a:cubicBezTo>
                  <a:pt x="142" y="162"/>
                  <a:pt x="140" y="156"/>
                  <a:pt x="136" y="151"/>
                </a:cubicBezTo>
                <a:cubicBezTo>
                  <a:pt x="132" y="145"/>
                  <a:pt x="126" y="141"/>
                  <a:pt x="117" y="137"/>
                </a:cubicBezTo>
                <a:cubicBezTo>
                  <a:pt x="111" y="135"/>
                  <a:pt x="99" y="131"/>
                  <a:pt x="79" y="126"/>
                </a:cubicBezTo>
                <a:cubicBezTo>
                  <a:pt x="60" y="121"/>
                  <a:pt x="46" y="116"/>
                  <a:pt x="38" y="112"/>
                </a:cubicBezTo>
                <a:cubicBezTo>
                  <a:pt x="28" y="106"/>
                  <a:pt x="21" y="99"/>
                  <a:pt x="16" y="91"/>
                </a:cubicBezTo>
                <a:cubicBezTo>
                  <a:pt x="11" y="82"/>
                  <a:pt x="8" y="73"/>
                  <a:pt x="8" y="62"/>
                </a:cubicBezTo>
                <a:cubicBezTo>
                  <a:pt x="8" y="51"/>
                  <a:pt x="11" y="40"/>
                  <a:pt x="18" y="30"/>
                </a:cubicBezTo>
                <a:cubicBezTo>
                  <a:pt x="24" y="20"/>
                  <a:pt x="32" y="13"/>
                  <a:pt x="44" y="7"/>
                </a:cubicBezTo>
                <a:cubicBezTo>
                  <a:pt x="56" y="2"/>
                  <a:pt x="69" y="0"/>
                  <a:pt x="83" y="0"/>
                </a:cubicBezTo>
                <a:cubicBezTo>
                  <a:pt x="99" y="0"/>
                  <a:pt x="112" y="2"/>
                  <a:pt x="124" y="8"/>
                </a:cubicBezTo>
                <a:cubicBezTo>
                  <a:pt x="136" y="13"/>
                  <a:pt x="146" y="21"/>
                  <a:pt x="152" y="32"/>
                </a:cubicBezTo>
                <a:cubicBezTo>
                  <a:pt x="159" y="42"/>
                  <a:pt x="162" y="54"/>
                  <a:pt x="163" y="68"/>
                </a:cubicBezTo>
                <a:lnTo>
                  <a:pt x="136" y="70"/>
                </a:lnTo>
                <a:cubicBezTo>
                  <a:pt x="134" y="56"/>
                  <a:pt x="129" y="45"/>
                  <a:pt x="121" y="37"/>
                </a:cubicBezTo>
                <a:cubicBezTo>
                  <a:pt x="113" y="30"/>
                  <a:pt x="100" y="26"/>
                  <a:pt x="84" y="26"/>
                </a:cubicBezTo>
                <a:cubicBezTo>
                  <a:pt x="67" y="26"/>
                  <a:pt x="55" y="30"/>
                  <a:pt x="47" y="36"/>
                </a:cubicBezTo>
                <a:cubicBezTo>
                  <a:pt x="39" y="43"/>
                  <a:pt x="35" y="51"/>
                  <a:pt x="35" y="61"/>
                </a:cubicBezTo>
                <a:cubicBezTo>
                  <a:pt x="35" y="69"/>
                  <a:pt x="38" y="75"/>
                  <a:pt x="44" y="81"/>
                </a:cubicBezTo>
                <a:cubicBezTo>
                  <a:pt x="49" y="86"/>
                  <a:pt x="63" y="91"/>
                  <a:pt x="86" y="97"/>
                </a:cubicBezTo>
                <a:cubicBezTo>
                  <a:pt x="109" y="102"/>
                  <a:pt x="124" y="107"/>
                  <a:pt x="133" y="111"/>
                </a:cubicBezTo>
                <a:cubicBezTo>
                  <a:pt x="145" y="117"/>
                  <a:pt x="154" y="125"/>
                  <a:pt x="160" y="134"/>
                </a:cubicBezTo>
                <a:cubicBezTo>
                  <a:pt x="166" y="144"/>
                  <a:pt x="169" y="155"/>
                  <a:pt x="169" y="167"/>
                </a:cubicBezTo>
                <a:cubicBezTo>
                  <a:pt x="169" y="179"/>
                  <a:pt x="166" y="190"/>
                  <a:pt x="159" y="201"/>
                </a:cubicBezTo>
                <a:cubicBezTo>
                  <a:pt x="153" y="212"/>
                  <a:pt x="143" y="220"/>
                  <a:pt x="131" y="226"/>
                </a:cubicBezTo>
                <a:cubicBezTo>
                  <a:pt x="119" y="232"/>
                  <a:pt x="106" y="235"/>
                  <a:pt x="91" y="235"/>
                </a:cubicBezTo>
                <a:cubicBezTo>
                  <a:pt x="71" y="235"/>
                  <a:pt x="55" y="232"/>
                  <a:pt x="42" y="226"/>
                </a:cubicBezTo>
                <a:cubicBezTo>
                  <a:pt x="30" y="220"/>
                  <a:pt x="19" y="211"/>
                  <a:pt x="12" y="199"/>
                </a:cubicBezTo>
                <a:cubicBezTo>
                  <a:pt x="5" y="187"/>
                  <a:pt x="1" y="173"/>
                  <a:pt x="0" y="158"/>
                </a:cubicBezTo>
                <a:close/>
                <a:moveTo>
                  <a:pt x="260" y="206"/>
                </a:moveTo>
                <a:lnTo>
                  <a:pt x="264" y="231"/>
                </a:lnTo>
                <a:cubicBezTo>
                  <a:pt x="256" y="232"/>
                  <a:pt x="250" y="233"/>
                  <a:pt x="244" y="233"/>
                </a:cubicBezTo>
                <a:cubicBezTo>
                  <a:pt x="235" y="233"/>
                  <a:pt x="227" y="231"/>
                  <a:pt x="222" y="228"/>
                </a:cubicBezTo>
                <a:cubicBezTo>
                  <a:pt x="217" y="225"/>
                  <a:pt x="213" y="221"/>
                  <a:pt x="211" y="216"/>
                </a:cubicBezTo>
                <a:cubicBezTo>
                  <a:pt x="209" y="210"/>
                  <a:pt x="208" y="199"/>
                  <a:pt x="208" y="183"/>
                </a:cubicBezTo>
                <a:lnTo>
                  <a:pt x="208" y="88"/>
                </a:lnTo>
                <a:lnTo>
                  <a:pt x="189" y="88"/>
                </a:lnTo>
                <a:lnTo>
                  <a:pt x="189" y="66"/>
                </a:lnTo>
                <a:lnTo>
                  <a:pt x="208" y="66"/>
                </a:lnTo>
                <a:lnTo>
                  <a:pt x="208" y="25"/>
                </a:lnTo>
                <a:lnTo>
                  <a:pt x="234" y="9"/>
                </a:lnTo>
                <a:lnTo>
                  <a:pt x="234" y="66"/>
                </a:lnTo>
                <a:lnTo>
                  <a:pt x="260" y="66"/>
                </a:lnTo>
                <a:lnTo>
                  <a:pt x="260" y="88"/>
                </a:lnTo>
                <a:lnTo>
                  <a:pt x="234" y="88"/>
                </a:lnTo>
                <a:lnTo>
                  <a:pt x="234" y="184"/>
                </a:lnTo>
                <a:cubicBezTo>
                  <a:pt x="234" y="192"/>
                  <a:pt x="235" y="197"/>
                  <a:pt x="236" y="200"/>
                </a:cubicBezTo>
                <a:cubicBezTo>
                  <a:pt x="236" y="202"/>
                  <a:pt x="238" y="204"/>
                  <a:pt x="240" y="205"/>
                </a:cubicBezTo>
                <a:cubicBezTo>
                  <a:pt x="242" y="206"/>
                  <a:pt x="245" y="207"/>
                  <a:pt x="249" y="207"/>
                </a:cubicBezTo>
                <a:cubicBezTo>
                  <a:pt x="252" y="207"/>
                  <a:pt x="255" y="207"/>
                  <a:pt x="260" y="206"/>
                </a:cubicBezTo>
                <a:close/>
                <a:moveTo>
                  <a:pt x="386" y="210"/>
                </a:moveTo>
                <a:cubicBezTo>
                  <a:pt x="376" y="219"/>
                  <a:pt x="367" y="225"/>
                  <a:pt x="358" y="229"/>
                </a:cubicBezTo>
                <a:cubicBezTo>
                  <a:pt x="349" y="233"/>
                  <a:pt x="340" y="234"/>
                  <a:pt x="329" y="234"/>
                </a:cubicBezTo>
                <a:cubicBezTo>
                  <a:pt x="313" y="234"/>
                  <a:pt x="300" y="230"/>
                  <a:pt x="291" y="221"/>
                </a:cubicBezTo>
                <a:cubicBezTo>
                  <a:pt x="282" y="212"/>
                  <a:pt x="277" y="201"/>
                  <a:pt x="277" y="187"/>
                </a:cubicBezTo>
                <a:cubicBezTo>
                  <a:pt x="277" y="179"/>
                  <a:pt x="279" y="172"/>
                  <a:pt x="282" y="165"/>
                </a:cubicBezTo>
                <a:cubicBezTo>
                  <a:pt x="286" y="159"/>
                  <a:pt x="290" y="153"/>
                  <a:pt x="296" y="149"/>
                </a:cubicBezTo>
                <a:cubicBezTo>
                  <a:pt x="301" y="145"/>
                  <a:pt x="307" y="142"/>
                  <a:pt x="314" y="140"/>
                </a:cubicBezTo>
                <a:cubicBezTo>
                  <a:pt x="319" y="139"/>
                  <a:pt x="327" y="137"/>
                  <a:pt x="337" y="136"/>
                </a:cubicBezTo>
                <a:cubicBezTo>
                  <a:pt x="358" y="133"/>
                  <a:pt x="374" y="130"/>
                  <a:pt x="384" y="126"/>
                </a:cubicBezTo>
                <a:cubicBezTo>
                  <a:pt x="384" y="123"/>
                  <a:pt x="384" y="120"/>
                  <a:pt x="384" y="119"/>
                </a:cubicBezTo>
                <a:cubicBezTo>
                  <a:pt x="384" y="108"/>
                  <a:pt x="382" y="100"/>
                  <a:pt x="377" y="95"/>
                </a:cubicBezTo>
                <a:cubicBezTo>
                  <a:pt x="370" y="89"/>
                  <a:pt x="360" y="86"/>
                  <a:pt x="347" y="86"/>
                </a:cubicBezTo>
                <a:cubicBezTo>
                  <a:pt x="335" y="86"/>
                  <a:pt x="326" y="88"/>
                  <a:pt x="320" y="93"/>
                </a:cubicBezTo>
                <a:cubicBezTo>
                  <a:pt x="314" y="97"/>
                  <a:pt x="310" y="105"/>
                  <a:pt x="307" y="117"/>
                </a:cubicBezTo>
                <a:lnTo>
                  <a:pt x="281" y="113"/>
                </a:lnTo>
                <a:cubicBezTo>
                  <a:pt x="284" y="102"/>
                  <a:pt x="288" y="92"/>
                  <a:pt x="293" y="85"/>
                </a:cubicBezTo>
                <a:cubicBezTo>
                  <a:pt x="298" y="78"/>
                  <a:pt x="306" y="72"/>
                  <a:pt x="316" y="68"/>
                </a:cubicBezTo>
                <a:cubicBezTo>
                  <a:pt x="326" y="65"/>
                  <a:pt x="338" y="63"/>
                  <a:pt x="351" y="63"/>
                </a:cubicBezTo>
                <a:cubicBezTo>
                  <a:pt x="364" y="63"/>
                  <a:pt x="375" y="64"/>
                  <a:pt x="383" y="68"/>
                </a:cubicBezTo>
                <a:cubicBezTo>
                  <a:pt x="391" y="71"/>
                  <a:pt x="397" y="75"/>
                  <a:pt x="401" y="80"/>
                </a:cubicBezTo>
                <a:cubicBezTo>
                  <a:pt x="405" y="85"/>
                  <a:pt x="408" y="91"/>
                  <a:pt x="409" y="99"/>
                </a:cubicBezTo>
                <a:cubicBezTo>
                  <a:pt x="410" y="104"/>
                  <a:pt x="410" y="112"/>
                  <a:pt x="410" y="125"/>
                </a:cubicBezTo>
                <a:lnTo>
                  <a:pt x="410" y="162"/>
                </a:lnTo>
                <a:cubicBezTo>
                  <a:pt x="410" y="188"/>
                  <a:pt x="411" y="204"/>
                  <a:pt x="412" y="211"/>
                </a:cubicBezTo>
                <a:cubicBezTo>
                  <a:pt x="413" y="218"/>
                  <a:pt x="415" y="225"/>
                  <a:pt x="418" y="231"/>
                </a:cubicBezTo>
                <a:lnTo>
                  <a:pt x="391" y="231"/>
                </a:lnTo>
                <a:cubicBezTo>
                  <a:pt x="389" y="225"/>
                  <a:pt x="387" y="218"/>
                  <a:pt x="386" y="210"/>
                </a:cubicBezTo>
                <a:close/>
                <a:moveTo>
                  <a:pt x="384" y="148"/>
                </a:moveTo>
                <a:cubicBezTo>
                  <a:pt x="375" y="152"/>
                  <a:pt x="360" y="156"/>
                  <a:pt x="341" y="159"/>
                </a:cubicBezTo>
                <a:cubicBezTo>
                  <a:pt x="331" y="160"/>
                  <a:pt x="323" y="162"/>
                  <a:pt x="319" y="164"/>
                </a:cubicBezTo>
                <a:cubicBezTo>
                  <a:pt x="314" y="166"/>
                  <a:pt x="311" y="169"/>
                  <a:pt x="308" y="173"/>
                </a:cubicBezTo>
                <a:cubicBezTo>
                  <a:pt x="306" y="177"/>
                  <a:pt x="305" y="182"/>
                  <a:pt x="305" y="187"/>
                </a:cubicBezTo>
                <a:cubicBezTo>
                  <a:pt x="305" y="194"/>
                  <a:pt x="307" y="200"/>
                  <a:pt x="313" y="205"/>
                </a:cubicBezTo>
                <a:cubicBezTo>
                  <a:pt x="318" y="210"/>
                  <a:pt x="326" y="212"/>
                  <a:pt x="336" y="212"/>
                </a:cubicBezTo>
                <a:cubicBezTo>
                  <a:pt x="346" y="212"/>
                  <a:pt x="355" y="210"/>
                  <a:pt x="363" y="205"/>
                </a:cubicBezTo>
                <a:cubicBezTo>
                  <a:pt x="370" y="201"/>
                  <a:pt x="376" y="194"/>
                  <a:pt x="380" y="186"/>
                </a:cubicBezTo>
                <a:cubicBezTo>
                  <a:pt x="383" y="180"/>
                  <a:pt x="384" y="171"/>
                  <a:pt x="384" y="158"/>
                </a:cubicBezTo>
                <a:lnTo>
                  <a:pt x="384" y="148"/>
                </a:lnTo>
                <a:close/>
                <a:moveTo>
                  <a:pt x="450" y="231"/>
                </a:moveTo>
                <a:lnTo>
                  <a:pt x="450" y="66"/>
                </a:lnTo>
                <a:lnTo>
                  <a:pt x="473" y="66"/>
                </a:lnTo>
                <a:lnTo>
                  <a:pt x="473" y="91"/>
                </a:lnTo>
                <a:cubicBezTo>
                  <a:pt x="479" y="80"/>
                  <a:pt x="485" y="72"/>
                  <a:pt x="490" y="68"/>
                </a:cubicBezTo>
                <a:cubicBezTo>
                  <a:pt x="495" y="64"/>
                  <a:pt x="501" y="63"/>
                  <a:pt x="507" y="63"/>
                </a:cubicBezTo>
                <a:cubicBezTo>
                  <a:pt x="515" y="63"/>
                  <a:pt x="524" y="66"/>
                  <a:pt x="533" y="71"/>
                </a:cubicBezTo>
                <a:lnTo>
                  <a:pt x="524" y="97"/>
                </a:lnTo>
                <a:cubicBezTo>
                  <a:pt x="518" y="93"/>
                  <a:pt x="512" y="91"/>
                  <a:pt x="505" y="91"/>
                </a:cubicBezTo>
                <a:cubicBezTo>
                  <a:pt x="500" y="91"/>
                  <a:pt x="495" y="93"/>
                  <a:pt x="490" y="97"/>
                </a:cubicBezTo>
                <a:cubicBezTo>
                  <a:pt x="486" y="101"/>
                  <a:pt x="482" y="106"/>
                  <a:pt x="480" y="112"/>
                </a:cubicBezTo>
                <a:cubicBezTo>
                  <a:pt x="478" y="122"/>
                  <a:pt x="476" y="133"/>
                  <a:pt x="476" y="145"/>
                </a:cubicBezTo>
                <a:lnTo>
                  <a:pt x="476" y="231"/>
                </a:lnTo>
                <a:lnTo>
                  <a:pt x="450" y="231"/>
                </a:lnTo>
                <a:close/>
                <a:moveTo>
                  <a:pt x="635" y="231"/>
                </a:moveTo>
                <a:lnTo>
                  <a:pt x="635" y="4"/>
                </a:lnTo>
                <a:lnTo>
                  <a:pt x="729" y="4"/>
                </a:lnTo>
                <a:cubicBezTo>
                  <a:pt x="748" y="4"/>
                  <a:pt x="762" y="6"/>
                  <a:pt x="772" y="10"/>
                </a:cubicBezTo>
                <a:cubicBezTo>
                  <a:pt x="782" y="14"/>
                  <a:pt x="789" y="21"/>
                  <a:pt x="795" y="31"/>
                </a:cubicBezTo>
                <a:cubicBezTo>
                  <a:pt x="801" y="42"/>
                  <a:pt x="804" y="53"/>
                  <a:pt x="804" y="65"/>
                </a:cubicBezTo>
                <a:cubicBezTo>
                  <a:pt x="804" y="82"/>
                  <a:pt x="799" y="95"/>
                  <a:pt x="790" y="106"/>
                </a:cubicBezTo>
                <a:cubicBezTo>
                  <a:pt x="780" y="117"/>
                  <a:pt x="765" y="124"/>
                  <a:pt x="744" y="127"/>
                </a:cubicBezTo>
                <a:cubicBezTo>
                  <a:pt x="752" y="131"/>
                  <a:pt x="758" y="135"/>
                  <a:pt x="761" y="139"/>
                </a:cubicBezTo>
                <a:cubicBezTo>
                  <a:pt x="770" y="147"/>
                  <a:pt x="777" y="157"/>
                  <a:pt x="785" y="169"/>
                </a:cubicBezTo>
                <a:lnTo>
                  <a:pt x="821" y="231"/>
                </a:lnTo>
                <a:lnTo>
                  <a:pt x="786" y="231"/>
                </a:lnTo>
                <a:lnTo>
                  <a:pt x="758" y="184"/>
                </a:lnTo>
                <a:cubicBezTo>
                  <a:pt x="750" y="170"/>
                  <a:pt x="743" y="159"/>
                  <a:pt x="738" y="152"/>
                </a:cubicBezTo>
                <a:cubicBezTo>
                  <a:pt x="733" y="145"/>
                  <a:pt x="728" y="140"/>
                  <a:pt x="724" y="137"/>
                </a:cubicBezTo>
                <a:cubicBezTo>
                  <a:pt x="720" y="134"/>
                  <a:pt x="715" y="132"/>
                  <a:pt x="711" y="131"/>
                </a:cubicBezTo>
                <a:cubicBezTo>
                  <a:pt x="708" y="130"/>
                  <a:pt x="703" y="130"/>
                  <a:pt x="695" y="130"/>
                </a:cubicBezTo>
                <a:lnTo>
                  <a:pt x="663" y="130"/>
                </a:lnTo>
                <a:lnTo>
                  <a:pt x="663" y="231"/>
                </a:lnTo>
                <a:lnTo>
                  <a:pt x="635" y="231"/>
                </a:lnTo>
                <a:close/>
                <a:moveTo>
                  <a:pt x="663" y="104"/>
                </a:moveTo>
                <a:lnTo>
                  <a:pt x="723" y="104"/>
                </a:lnTo>
                <a:cubicBezTo>
                  <a:pt x="736" y="104"/>
                  <a:pt x="746" y="102"/>
                  <a:pt x="753" y="100"/>
                </a:cubicBezTo>
                <a:cubicBezTo>
                  <a:pt x="760" y="97"/>
                  <a:pt x="766" y="92"/>
                  <a:pt x="769" y="86"/>
                </a:cubicBezTo>
                <a:cubicBezTo>
                  <a:pt x="773" y="80"/>
                  <a:pt x="775" y="73"/>
                  <a:pt x="775" y="66"/>
                </a:cubicBezTo>
                <a:cubicBezTo>
                  <a:pt x="775" y="55"/>
                  <a:pt x="772" y="46"/>
                  <a:pt x="764" y="39"/>
                </a:cubicBezTo>
                <a:cubicBezTo>
                  <a:pt x="757" y="32"/>
                  <a:pt x="746" y="29"/>
                  <a:pt x="730" y="29"/>
                </a:cubicBezTo>
                <a:lnTo>
                  <a:pt x="663" y="29"/>
                </a:lnTo>
                <a:lnTo>
                  <a:pt x="663" y="104"/>
                </a:lnTo>
                <a:close/>
                <a:moveTo>
                  <a:pt x="845" y="35"/>
                </a:moveTo>
                <a:lnTo>
                  <a:pt x="845" y="4"/>
                </a:lnTo>
                <a:lnTo>
                  <a:pt x="871" y="4"/>
                </a:lnTo>
                <a:lnTo>
                  <a:pt x="871" y="35"/>
                </a:lnTo>
                <a:lnTo>
                  <a:pt x="845" y="35"/>
                </a:lnTo>
                <a:close/>
                <a:moveTo>
                  <a:pt x="845" y="231"/>
                </a:moveTo>
                <a:lnTo>
                  <a:pt x="845" y="66"/>
                </a:lnTo>
                <a:lnTo>
                  <a:pt x="871" y="66"/>
                </a:lnTo>
                <a:lnTo>
                  <a:pt x="871" y="231"/>
                </a:lnTo>
                <a:lnTo>
                  <a:pt x="845" y="231"/>
                </a:lnTo>
                <a:close/>
                <a:moveTo>
                  <a:pt x="900" y="182"/>
                </a:moveTo>
                <a:lnTo>
                  <a:pt x="926" y="177"/>
                </a:lnTo>
                <a:cubicBezTo>
                  <a:pt x="927" y="188"/>
                  <a:pt x="931" y="197"/>
                  <a:pt x="938" y="203"/>
                </a:cubicBezTo>
                <a:cubicBezTo>
                  <a:pt x="944" y="209"/>
                  <a:pt x="954" y="211"/>
                  <a:pt x="966" y="211"/>
                </a:cubicBezTo>
                <a:cubicBezTo>
                  <a:pt x="978" y="211"/>
                  <a:pt x="986" y="209"/>
                  <a:pt x="992" y="204"/>
                </a:cubicBezTo>
                <a:cubicBezTo>
                  <a:pt x="998" y="198"/>
                  <a:pt x="1001" y="192"/>
                  <a:pt x="1001" y="185"/>
                </a:cubicBezTo>
                <a:cubicBezTo>
                  <a:pt x="1001" y="179"/>
                  <a:pt x="998" y="174"/>
                  <a:pt x="993" y="170"/>
                </a:cubicBezTo>
                <a:cubicBezTo>
                  <a:pt x="989" y="168"/>
                  <a:pt x="981" y="165"/>
                  <a:pt x="966" y="161"/>
                </a:cubicBezTo>
                <a:cubicBezTo>
                  <a:pt x="947" y="156"/>
                  <a:pt x="934" y="151"/>
                  <a:pt x="927" y="148"/>
                </a:cubicBezTo>
                <a:cubicBezTo>
                  <a:pt x="920" y="144"/>
                  <a:pt x="914" y="139"/>
                  <a:pt x="910" y="132"/>
                </a:cubicBezTo>
                <a:cubicBezTo>
                  <a:pt x="906" y="125"/>
                  <a:pt x="904" y="118"/>
                  <a:pt x="904" y="110"/>
                </a:cubicBezTo>
                <a:cubicBezTo>
                  <a:pt x="904" y="103"/>
                  <a:pt x="906" y="96"/>
                  <a:pt x="909" y="90"/>
                </a:cubicBezTo>
                <a:cubicBezTo>
                  <a:pt x="912" y="83"/>
                  <a:pt x="917" y="78"/>
                  <a:pt x="922" y="74"/>
                </a:cubicBezTo>
                <a:cubicBezTo>
                  <a:pt x="926" y="71"/>
                  <a:pt x="931" y="68"/>
                  <a:pt x="938" y="66"/>
                </a:cubicBezTo>
                <a:cubicBezTo>
                  <a:pt x="945" y="64"/>
                  <a:pt x="953" y="63"/>
                  <a:pt x="961" y="63"/>
                </a:cubicBezTo>
                <a:cubicBezTo>
                  <a:pt x="973" y="63"/>
                  <a:pt x="983" y="64"/>
                  <a:pt x="993" y="68"/>
                </a:cubicBezTo>
                <a:cubicBezTo>
                  <a:pt x="1002" y="72"/>
                  <a:pt x="1008" y="77"/>
                  <a:pt x="1013" y="83"/>
                </a:cubicBezTo>
                <a:cubicBezTo>
                  <a:pt x="1017" y="90"/>
                  <a:pt x="1020" y="98"/>
                  <a:pt x="1022" y="109"/>
                </a:cubicBezTo>
                <a:lnTo>
                  <a:pt x="996" y="113"/>
                </a:lnTo>
                <a:cubicBezTo>
                  <a:pt x="995" y="104"/>
                  <a:pt x="992" y="97"/>
                  <a:pt x="986" y="93"/>
                </a:cubicBezTo>
                <a:cubicBezTo>
                  <a:pt x="981" y="88"/>
                  <a:pt x="973" y="85"/>
                  <a:pt x="963" y="85"/>
                </a:cubicBezTo>
                <a:cubicBezTo>
                  <a:pt x="951" y="85"/>
                  <a:pt x="942" y="88"/>
                  <a:pt x="937" y="92"/>
                </a:cubicBezTo>
                <a:cubicBezTo>
                  <a:pt x="932" y="96"/>
                  <a:pt x="930" y="101"/>
                  <a:pt x="930" y="107"/>
                </a:cubicBezTo>
                <a:cubicBezTo>
                  <a:pt x="930" y="110"/>
                  <a:pt x="931" y="114"/>
                  <a:pt x="933" y="116"/>
                </a:cubicBezTo>
                <a:cubicBezTo>
                  <a:pt x="935" y="119"/>
                  <a:pt x="938" y="122"/>
                  <a:pt x="943" y="124"/>
                </a:cubicBezTo>
                <a:cubicBezTo>
                  <a:pt x="945" y="125"/>
                  <a:pt x="953" y="127"/>
                  <a:pt x="966" y="131"/>
                </a:cubicBezTo>
                <a:cubicBezTo>
                  <a:pt x="984" y="136"/>
                  <a:pt x="997" y="141"/>
                  <a:pt x="1004" y="144"/>
                </a:cubicBezTo>
                <a:cubicBezTo>
                  <a:pt x="1011" y="147"/>
                  <a:pt x="1017" y="152"/>
                  <a:pt x="1021" y="159"/>
                </a:cubicBezTo>
                <a:cubicBezTo>
                  <a:pt x="1025" y="165"/>
                  <a:pt x="1028" y="173"/>
                  <a:pt x="1028" y="182"/>
                </a:cubicBezTo>
                <a:cubicBezTo>
                  <a:pt x="1028" y="192"/>
                  <a:pt x="1025" y="200"/>
                  <a:pt x="1020" y="209"/>
                </a:cubicBezTo>
                <a:cubicBezTo>
                  <a:pt x="1015" y="217"/>
                  <a:pt x="1008" y="223"/>
                  <a:pt x="998" y="228"/>
                </a:cubicBezTo>
                <a:cubicBezTo>
                  <a:pt x="988" y="232"/>
                  <a:pt x="978" y="234"/>
                  <a:pt x="966" y="234"/>
                </a:cubicBezTo>
                <a:cubicBezTo>
                  <a:pt x="946" y="234"/>
                  <a:pt x="931" y="230"/>
                  <a:pt x="920" y="221"/>
                </a:cubicBezTo>
                <a:cubicBezTo>
                  <a:pt x="910" y="212"/>
                  <a:pt x="903" y="199"/>
                  <a:pt x="900" y="182"/>
                </a:cubicBezTo>
                <a:close/>
                <a:moveTo>
                  <a:pt x="1058" y="35"/>
                </a:moveTo>
                <a:lnTo>
                  <a:pt x="1058" y="4"/>
                </a:lnTo>
                <a:lnTo>
                  <a:pt x="1084" y="4"/>
                </a:lnTo>
                <a:lnTo>
                  <a:pt x="1084" y="35"/>
                </a:lnTo>
                <a:lnTo>
                  <a:pt x="1058" y="35"/>
                </a:lnTo>
                <a:close/>
                <a:moveTo>
                  <a:pt x="1058" y="231"/>
                </a:moveTo>
                <a:lnTo>
                  <a:pt x="1058" y="66"/>
                </a:lnTo>
                <a:lnTo>
                  <a:pt x="1084" y="66"/>
                </a:lnTo>
                <a:lnTo>
                  <a:pt x="1084" y="231"/>
                </a:lnTo>
                <a:lnTo>
                  <a:pt x="1058" y="231"/>
                </a:lnTo>
                <a:close/>
                <a:moveTo>
                  <a:pt x="1124" y="231"/>
                </a:moveTo>
                <a:lnTo>
                  <a:pt x="1124" y="66"/>
                </a:lnTo>
                <a:lnTo>
                  <a:pt x="1147" y="66"/>
                </a:lnTo>
                <a:lnTo>
                  <a:pt x="1147" y="89"/>
                </a:lnTo>
                <a:cubicBezTo>
                  <a:pt x="1159" y="72"/>
                  <a:pt x="1175" y="63"/>
                  <a:pt x="1196" y="63"/>
                </a:cubicBezTo>
                <a:cubicBezTo>
                  <a:pt x="1205" y="63"/>
                  <a:pt x="1214" y="64"/>
                  <a:pt x="1222" y="68"/>
                </a:cubicBezTo>
                <a:cubicBezTo>
                  <a:pt x="1229" y="71"/>
                  <a:pt x="1235" y="76"/>
                  <a:pt x="1239" y="82"/>
                </a:cubicBezTo>
                <a:cubicBezTo>
                  <a:pt x="1243" y="88"/>
                  <a:pt x="1246" y="95"/>
                  <a:pt x="1247" y="103"/>
                </a:cubicBezTo>
                <a:cubicBezTo>
                  <a:pt x="1248" y="108"/>
                  <a:pt x="1249" y="117"/>
                  <a:pt x="1249" y="130"/>
                </a:cubicBezTo>
                <a:lnTo>
                  <a:pt x="1249" y="231"/>
                </a:lnTo>
                <a:lnTo>
                  <a:pt x="1223" y="231"/>
                </a:lnTo>
                <a:lnTo>
                  <a:pt x="1223" y="131"/>
                </a:lnTo>
                <a:cubicBezTo>
                  <a:pt x="1223" y="119"/>
                  <a:pt x="1222" y="111"/>
                  <a:pt x="1220" y="105"/>
                </a:cubicBezTo>
                <a:cubicBezTo>
                  <a:pt x="1217" y="100"/>
                  <a:pt x="1214" y="95"/>
                  <a:pt x="1209" y="92"/>
                </a:cubicBezTo>
                <a:cubicBezTo>
                  <a:pt x="1204" y="88"/>
                  <a:pt x="1198" y="87"/>
                  <a:pt x="1191" y="87"/>
                </a:cubicBezTo>
                <a:cubicBezTo>
                  <a:pt x="1180" y="87"/>
                  <a:pt x="1170" y="90"/>
                  <a:pt x="1162" y="98"/>
                </a:cubicBezTo>
                <a:cubicBezTo>
                  <a:pt x="1154" y="106"/>
                  <a:pt x="1150" y="120"/>
                  <a:pt x="1150" y="141"/>
                </a:cubicBezTo>
                <a:lnTo>
                  <a:pt x="1150" y="231"/>
                </a:lnTo>
                <a:lnTo>
                  <a:pt x="1124" y="231"/>
                </a:lnTo>
                <a:close/>
                <a:moveTo>
                  <a:pt x="1284" y="245"/>
                </a:moveTo>
                <a:lnTo>
                  <a:pt x="1309" y="248"/>
                </a:lnTo>
                <a:cubicBezTo>
                  <a:pt x="1310" y="257"/>
                  <a:pt x="1313" y="263"/>
                  <a:pt x="1318" y="267"/>
                </a:cubicBezTo>
                <a:cubicBezTo>
                  <a:pt x="1324" y="272"/>
                  <a:pt x="1333" y="274"/>
                  <a:pt x="1344" y="274"/>
                </a:cubicBezTo>
                <a:cubicBezTo>
                  <a:pt x="1356" y="274"/>
                  <a:pt x="1366" y="272"/>
                  <a:pt x="1372" y="267"/>
                </a:cubicBezTo>
                <a:cubicBezTo>
                  <a:pt x="1379" y="261"/>
                  <a:pt x="1383" y="254"/>
                  <a:pt x="1385" y="245"/>
                </a:cubicBezTo>
                <a:cubicBezTo>
                  <a:pt x="1387" y="239"/>
                  <a:pt x="1387" y="227"/>
                  <a:pt x="1387" y="209"/>
                </a:cubicBezTo>
                <a:cubicBezTo>
                  <a:pt x="1376" y="224"/>
                  <a:pt x="1362" y="231"/>
                  <a:pt x="1345" y="231"/>
                </a:cubicBezTo>
                <a:cubicBezTo>
                  <a:pt x="1324" y="231"/>
                  <a:pt x="1307" y="223"/>
                  <a:pt x="1296" y="206"/>
                </a:cubicBezTo>
                <a:cubicBezTo>
                  <a:pt x="1284" y="190"/>
                  <a:pt x="1278" y="170"/>
                  <a:pt x="1278" y="148"/>
                </a:cubicBezTo>
                <a:cubicBezTo>
                  <a:pt x="1278" y="132"/>
                  <a:pt x="1281" y="117"/>
                  <a:pt x="1286" y="104"/>
                </a:cubicBezTo>
                <a:cubicBezTo>
                  <a:pt x="1292" y="91"/>
                  <a:pt x="1299" y="81"/>
                  <a:pt x="1309" y="73"/>
                </a:cubicBezTo>
                <a:cubicBezTo>
                  <a:pt x="1319" y="66"/>
                  <a:pt x="1331" y="63"/>
                  <a:pt x="1345" y="63"/>
                </a:cubicBezTo>
                <a:cubicBezTo>
                  <a:pt x="1363" y="63"/>
                  <a:pt x="1378" y="71"/>
                  <a:pt x="1390" y="86"/>
                </a:cubicBezTo>
                <a:lnTo>
                  <a:pt x="1390" y="66"/>
                </a:lnTo>
                <a:lnTo>
                  <a:pt x="1414" y="66"/>
                </a:lnTo>
                <a:lnTo>
                  <a:pt x="1414" y="208"/>
                </a:lnTo>
                <a:cubicBezTo>
                  <a:pt x="1414" y="234"/>
                  <a:pt x="1411" y="252"/>
                  <a:pt x="1406" y="263"/>
                </a:cubicBezTo>
                <a:cubicBezTo>
                  <a:pt x="1401" y="274"/>
                  <a:pt x="1394" y="282"/>
                  <a:pt x="1383" y="288"/>
                </a:cubicBezTo>
                <a:cubicBezTo>
                  <a:pt x="1373" y="294"/>
                  <a:pt x="1360" y="298"/>
                  <a:pt x="1344" y="298"/>
                </a:cubicBezTo>
                <a:cubicBezTo>
                  <a:pt x="1326" y="298"/>
                  <a:pt x="1311" y="293"/>
                  <a:pt x="1300" y="284"/>
                </a:cubicBezTo>
                <a:cubicBezTo>
                  <a:pt x="1289" y="276"/>
                  <a:pt x="1283" y="262"/>
                  <a:pt x="1284" y="245"/>
                </a:cubicBezTo>
                <a:close/>
                <a:moveTo>
                  <a:pt x="1305" y="146"/>
                </a:moveTo>
                <a:cubicBezTo>
                  <a:pt x="1305" y="167"/>
                  <a:pt x="1309" y="183"/>
                  <a:pt x="1317" y="193"/>
                </a:cubicBezTo>
                <a:cubicBezTo>
                  <a:pt x="1325" y="203"/>
                  <a:pt x="1335" y="208"/>
                  <a:pt x="1347" y="208"/>
                </a:cubicBezTo>
                <a:cubicBezTo>
                  <a:pt x="1359" y="208"/>
                  <a:pt x="1369" y="203"/>
                  <a:pt x="1377" y="193"/>
                </a:cubicBezTo>
                <a:cubicBezTo>
                  <a:pt x="1385" y="183"/>
                  <a:pt x="1389" y="168"/>
                  <a:pt x="1389" y="147"/>
                </a:cubicBezTo>
                <a:cubicBezTo>
                  <a:pt x="1389" y="126"/>
                  <a:pt x="1385" y="111"/>
                  <a:pt x="1377" y="101"/>
                </a:cubicBezTo>
                <a:cubicBezTo>
                  <a:pt x="1369" y="91"/>
                  <a:pt x="1358" y="86"/>
                  <a:pt x="1347" y="86"/>
                </a:cubicBezTo>
                <a:cubicBezTo>
                  <a:pt x="1335" y="86"/>
                  <a:pt x="1325" y="91"/>
                  <a:pt x="1317" y="101"/>
                </a:cubicBezTo>
                <a:cubicBezTo>
                  <a:pt x="1309" y="111"/>
                  <a:pt x="1305" y="126"/>
                  <a:pt x="1305" y="1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12" name="Group 411">
            <a:extLst>
              <a:ext uri="{FF2B5EF4-FFF2-40B4-BE49-F238E27FC236}">
                <a16:creationId xmlns:a16="http://schemas.microsoft.com/office/drawing/2014/main" id="{E1605A1C-F144-43DB-8249-A781B6BA21A7}"/>
              </a:ext>
            </a:extLst>
          </p:cNvPr>
          <p:cNvGrpSpPr/>
          <p:nvPr/>
        </p:nvGrpSpPr>
        <p:grpSpPr>
          <a:xfrm>
            <a:off x="8797925" y="3435350"/>
            <a:ext cx="550863" cy="579438"/>
            <a:chOff x="8797925" y="3435350"/>
            <a:chExt cx="550863" cy="579438"/>
          </a:xfrm>
          <a:solidFill>
            <a:schemeClr val="accent1"/>
          </a:solidFill>
        </p:grpSpPr>
        <p:sp>
          <p:nvSpPr>
            <p:cNvPr id="154" name="Freeform 353">
              <a:extLst>
                <a:ext uri="{FF2B5EF4-FFF2-40B4-BE49-F238E27FC236}">
                  <a16:creationId xmlns:a16="http://schemas.microsoft.com/office/drawing/2014/main" id="{8BEC3EAC-6F8D-414E-B896-4A602A67C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7925" y="3435350"/>
              <a:ext cx="295275" cy="579438"/>
            </a:xfrm>
            <a:custGeom>
              <a:avLst/>
              <a:gdLst>
                <a:gd name="T0" fmla="*/ 549 w 818"/>
                <a:gd name="T1" fmla="*/ 264 h 1609"/>
                <a:gd name="T2" fmla="*/ 553 w 818"/>
                <a:gd name="T3" fmla="*/ 570 h 1609"/>
                <a:gd name="T4" fmla="*/ 513 w 818"/>
                <a:gd name="T5" fmla="*/ 647 h 1609"/>
                <a:gd name="T6" fmla="*/ 264 w 818"/>
                <a:gd name="T7" fmla="*/ 824 h 1609"/>
                <a:gd name="T8" fmla="*/ 556 w 818"/>
                <a:gd name="T9" fmla="*/ 914 h 1609"/>
                <a:gd name="T10" fmla="*/ 617 w 818"/>
                <a:gd name="T11" fmla="*/ 976 h 1609"/>
                <a:gd name="T12" fmla="*/ 818 w 818"/>
                <a:gd name="T13" fmla="*/ 1609 h 1609"/>
                <a:gd name="T14" fmla="*/ 615 w 818"/>
                <a:gd name="T15" fmla="*/ 1609 h 1609"/>
                <a:gd name="T16" fmla="*/ 453 w 818"/>
                <a:gd name="T17" fmla="*/ 1079 h 1609"/>
                <a:gd name="T18" fmla="*/ 27 w 818"/>
                <a:gd name="T19" fmla="*/ 946 h 1609"/>
                <a:gd name="T20" fmla="*/ 0 w 818"/>
                <a:gd name="T21" fmla="*/ 780 h 1609"/>
                <a:gd name="T22" fmla="*/ 365 w 818"/>
                <a:gd name="T23" fmla="*/ 523 h 1609"/>
                <a:gd name="T24" fmla="*/ 359 w 818"/>
                <a:gd name="T25" fmla="*/ 77 h 1609"/>
                <a:gd name="T26" fmla="*/ 509 w 818"/>
                <a:gd name="T27" fmla="*/ 0 h 1609"/>
                <a:gd name="T28" fmla="*/ 549 w 818"/>
                <a:gd name="T29" fmla="*/ 30 h 1609"/>
                <a:gd name="T30" fmla="*/ 549 w 818"/>
                <a:gd name="T31" fmla="*/ 264 h 1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18" h="1609">
                  <a:moveTo>
                    <a:pt x="549" y="264"/>
                  </a:moveTo>
                  <a:lnTo>
                    <a:pt x="553" y="570"/>
                  </a:lnTo>
                  <a:lnTo>
                    <a:pt x="513" y="647"/>
                  </a:lnTo>
                  <a:lnTo>
                    <a:pt x="264" y="824"/>
                  </a:lnTo>
                  <a:lnTo>
                    <a:pt x="556" y="914"/>
                  </a:lnTo>
                  <a:lnTo>
                    <a:pt x="617" y="976"/>
                  </a:lnTo>
                  <a:lnTo>
                    <a:pt x="818" y="1609"/>
                  </a:lnTo>
                  <a:lnTo>
                    <a:pt x="615" y="1609"/>
                  </a:lnTo>
                  <a:lnTo>
                    <a:pt x="453" y="1079"/>
                  </a:lnTo>
                  <a:lnTo>
                    <a:pt x="27" y="946"/>
                  </a:lnTo>
                  <a:lnTo>
                    <a:pt x="0" y="780"/>
                  </a:lnTo>
                  <a:lnTo>
                    <a:pt x="365" y="523"/>
                  </a:lnTo>
                  <a:lnTo>
                    <a:pt x="359" y="77"/>
                  </a:lnTo>
                  <a:lnTo>
                    <a:pt x="509" y="0"/>
                  </a:lnTo>
                  <a:lnTo>
                    <a:pt x="549" y="30"/>
                  </a:lnTo>
                  <a:lnTo>
                    <a:pt x="549" y="2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5" name="Freeform 354">
              <a:extLst>
                <a:ext uri="{FF2B5EF4-FFF2-40B4-BE49-F238E27FC236}">
                  <a16:creationId xmlns:a16="http://schemas.microsoft.com/office/drawing/2014/main" id="{A66629B1-9B00-45FB-A4D0-3A849F54F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6363" y="3446463"/>
              <a:ext cx="352425" cy="411163"/>
            </a:xfrm>
            <a:custGeom>
              <a:avLst/>
              <a:gdLst>
                <a:gd name="T0" fmla="*/ 411 w 982"/>
                <a:gd name="T1" fmla="*/ 1136 h 1143"/>
                <a:gd name="T2" fmla="*/ 413 w 982"/>
                <a:gd name="T3" fmla="*/ 949 h 1143"/>
                <a:gd name="T4" fmla="*/ 719 w 982"/>
                <a:gd name="T5" fmla="*/ 953 h 1143"/>
                <a:gd name="T6" fmla="*/ 536 w 982"/>
                <a:gd name="T7" fmla="*/ 708 h 1143"/>
                <a:gd name="T8" fmla="*/ 522 w 982"/>
                <a:gd name="T9" fmla="*/ 622 h 1143"/>
                <a:gd name="T10" fmla="*/ 620 w 982"/>
                <a:gd name="T11" fmla="*/ 332 h 1143"/>
                <a:gd name="T12" fmla="*/ 331 w 982"/>
                <a:gd name="T13" fmla="*/ 430 h 1143"/>
                <a:gd name="T14" fmla="*/ 245 w 982"/>
                <a:gd name="T15" fmla="*/ 417 h 1143"/>
                <a:gd name="T16" fmla="*/ 0 w 982"/>
                <a:gd name="T17" fmla="*/ 234 h 1143"/>
                <a:gd name="T18" fmla="*/ 0 w 982"/>
                <a:gd name="T19" fmla="*/ 0 h 1143"/>
                <a:gd name="T20" fmla="*/ 317 w 982"/>
                <a:gd name="T21" fmla="*/ 237 h 1143"/>
                <a:gd name="T22" fmla="*/ 740 w 982"/>
                <a:gd name="T23" fmla="*/ 94 h 1143"/>
                <a:gd name="T24" fmla="*/ 859 w 982"/>
                <a:gd name="T25" fmla="*/ 213 h 1143"/>
                <a:gd name="T26" fmla="*/ 716 w 982"/>
                <a:gd name="T27" fmla="*/ 635 h 1143"/>
                <a:gd name="T28" fmla="*/ 982 w 982"/>
                <a:gd name="T29" fmla="*/ 993 h 1143"/>
                <a:gd name="T30" fmla="*/ 906 w 982"/>
                <a:gd name="T31" fmla="*/ 1143 h 1143"/>
                <a:gd name="T32" fmla="*/ 411 w 982"/>
                <a:gd name="T33" fmla="*/ 1136 h 1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82" h="1143">
                  <a:moveTo>
                    <a:pt x="411" y="1136"/>
                  </a:moveTo>
                  <a:lnTo>
                    <a:pt x="413" y="949"/>
                  </a:lnTo>
                  <a:lnTo>
                    <a:pt x="719" y="953"/>
                  </a:lnTo>
                  <a:lnTo>
                    <a:pt x="536" y="708"/>
                  </a:lnTo>
                  <a:lnTo>
                    <a:pt x="522" y="622"/>
                  </a:lnTo>
                  <a:lnTo>
                    <a:pt x="620" y="332"/>
                  </a:lnTo>
                  <a:lnTo>
                    <a:pt x="331" y="430"/>
                  </a:lnTo>
                  <a:lnTo>
                    <a:pt x="245" y="417"/>
                  </a:lnTo>
                  <a:lnTo>
                    <a:pt x="0" y="234"/>
                  </a:lnTo>
                  <a:lnTo>
                    <a:pt x="0" y="0"/>
                  </a:lnTo>
                  <a:lnTo>
                    <a:pt x="317" y="237"/>
                  </a:lnTo>
                  <a:lnTo>
                    <a:pt x="740" y="94"/>
                  </a:lnTo>
                  <a:lnTo>
                    <a:pt x="859" y="213"/>
                  </a:lnTo>
                  <a:lnTo>
                    <a:pt x="716" y="635"/>
                  </a:lnTo>
                  <a:lnTo>
                    <a:pt x="982" y="993"/>
                  </a:lnTo>
                  <a:lnTo>
                    <a:pt x="906" y="1143"/>
                  </a:lnTo>
                  <a:lnTo>
                    <a:pt x="411" y="1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6" name="Freeform 355">
              <a:extLst>
                <a:ext uri="{FF2B5EF4-FFF2-40B4-BE49-F238E27FC236}">
                  <a16:creationId xmlns:a16="http://schemas.microsoft.com/office/drawing/2014/main" id="{EF408F60-A16B-4362-BC51-670FF1460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7013" y="3898900"/>
              <a:ext cx="98425" cy="115888"/>
            </a:xfrm>
            <a:custGeom>
              <a:avLst/>
              <a:gdLst>
                <a:gd name="T0" fmla="*/ 272 w 272"/>
                <a:gd name="T1" fmla="*/ 321 h 321"/>
                <a:gd name="T2" fmla="*/ 105 w 272"/>
                <a:gd name="T3" fmla="*/ 321 h 321"/>
                <a:gd name="T4" fmla="*/ 0 w 272"/>
                <a:gd name="T5" fmla="*/ 0 h 321"/>
                <a:gd name="T6" fmla="*/ 168 w 272"/>
                <a:gd name="T7" fmla="*/ 0 h 321"/>
                <a:gd name="T8" fmla="*/ 272 w 272"/>
                <a:gd name="T9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321">
                  <a:moveTo>
                    <a:pt x="272" y="321"/>
                  </a:moveTo>
                  <a:lnTo>
                    <a:pt x="105" y="321"/>
                  </a:lnTo>
                  <a:lnTo>
                    <a:pt x="0" y="0"/>
                  </a:lnTo>
                  <a:lnTo>
                    <a:pt x="168" y="0"/>
                  </a:lnTo>
                  <a:lnTo>
                    <a:pt x="272" y="3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7" name="Freeform 356">
              <a:extLst>
                <a:ext uri="{FF2B5EF4-FFF2-40B4-BE49-F238E27FC236}">
                  <a16:creationId xmlns:a16="http://schemas.microsoft.com/office/drawing/2014/main" id="{AEBE328B-F4B8-4DA4-8205-FD880AB555C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9250" y="3898900"/>
              <a:ext cx="96838" cy="115888"/>
            </a:xfrm>
            <a:custGeom>
              <a:avLst/>
              <a:gdLst>
                <a:gd name="T0" fmla="*/ 272 w 272"/>
                <a:gd name="T1" fmla="*/ 320 h 320"/>
                <a:gd name="T2" fmla="*/ 104 w 272"/>
                <a:gd name="T3" fmla="*/ 320 h 320"/>
                <a:gd name="T4" fmla="*/ 0 w 272"/>
                <a:gd name="T5" fmla="*/ 0 h 320"/>
                <a:gd name="T6" fmla="*/ 169 w 272"/>
                <a:gd name="T7" fmla="*/ 0 h 320"/>
                <a:gd name="T8" fmla="*/ 272 w 272"/>
                <a:gd name="T9" fmla="*/ 32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320">
                  <a:moveTo>
                    <a:pt x="272" y="320"/>
                  </a:moveTo>
                  <a:lnTo>
                    <a:pt x="104" y="320"/>
                  </a:lnTo>
                  <a:lnTo>
                    <a:pt x="0" y="0"/>
                  </a:lnTo>
                  <a:lnTo>
                    <a:pt x="169" y="0"/>
                  </a:lnTo>
                  <a:lnTo>
                    <a:pt x="272" y="3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58" name="Freeform 357">
            <a:extLst>
              <a:ext uri="{FF2B5EF4-FFF2-40B4-BE49-F238E27FC236}">
                <a16:creationId xmlns:a16="http://schemas.microsoft.com/office/drawing/2014/main" id="{03CF60B2-4F49-438C-9C4B-66BF7B49926C}"/>
              </a:ext>
            </a:extLst>
          </p:cNvPr>
          <p:cNvSpPr>
            <a:spLocks noEditPoints="1"/>
          </p:cNvSpPr>
          <p:nvPr/>
        </p:nvSpPr>
        <p:spPr bwMode="auto">
          <a:xfrm>
            <a:off x="9696450" y="4049713"/>
            <a:ext cx="317500" cy="219075"/>
          </a:xfrm>
          <a:custGeom>
            <a:avLst/>
            <a:gdLst>
              <a:gd name="T0" fmla="*/ 274 w 881"/>
              <a:gd name="T1" fmla="*/ 6 h 608"/>
              <a:gd name="T2" fmla="*/ 276 w 881"/>
              <a:gd name="T3" fmla="*/ 106 h 608"/>
              <a:gd name="T4" fmla="*/ 294 w 881"/>
              <a:gd name="T5" fmla="*/ 212 h 608"/>
              <a:gd name="T6" fmla="*/ 0 w 881"/>
              <a:gd name="T7" fmla="*/ 544 h 608"/>
              <a:gd name="T8" fmla="*/ 138 w 881"/>
              <a:gd name="T9" fmla="*/ 330 h 608"/>
              <a:gd name="T10" fmla="*/ 82 w 881"/>
              <a:gd name="T11" fmla="*/ 452 h 608"/>
              <a:gd name="T12" fmla="*/ 28 w 881"/>
              <a:gd name="T13" fmla="*/ 425 h 608"/>
              <a:gd name="T14" fmla="*/ 126 w 881"/>
              <a:gd name="T15" fmla="*/ 359 h 608"/>
              <a:gd name="T16" fmla="*/ 28 w 881"/>
              <a:gd name="T17" fmla="*/ 425 h 608"/>
              <a:gd name="T18" fmla="*/ 254 w 881"/>
              <a:gd name="T19" fmla="*/ 548 h 608"/>
              <a:gd name="T20" fmla="*/ 252 w 881"/>
              <a:gd name="T21" fmla="*/ 376 h 608"/>
              <a:gd name="T22" fmla="*/ 207 w 881"/>
              <a:gd name="T23" fmla="*/ 469 h 608"/>
              <a:gd name="T24" fmla="*/ 294 w 881"/>
              <a:gd name="T25" fmla="*/ 491 h 608"/>
              <a:gd name="T26" fmla="*/ 252 w 881"/>
              <a:gd name="T27" fmla="*/ 399 h 608"/>
              <a:gd name="T28" fmla="*/ 368 w 881"/>
              <a:gd name="T29" fmla="*/ 394 h 608"/>
              <a:gd name="T30" fmla="*/ 479 w 881"/>
              <a:gd name="T31" fmla="*/ 510 h 608"/>
              <a:gd name="T32" fmla="*/ 344 w 881"/>
              <a:gd name="T33" fmla="*/ 462 h 608"/>
              <a:gd name="T34" fmla="*/ 448 w 881"/>
              <a:gd name="T35" fmla="*/ 509 h 608"/>
              <a:gd name="T36" fmla="*/ 384 w 881"/>
              <a:gd name="T37" fmla="*/ 415 h 608"/>
              <a:gd name="T38" fmla="*/ 542 w 881"/>
              <a:gd name="T39" fmla="*/ 380 h 608"/>
              <a:gd name="T40" fmla="*/ 621 w 881"/>
              <a:gd name="T41" fmla="*/ 387 h 608"/>
              <a:gd name="T42" fmla="*/ 619 w 881"/>
              <a:gd name="T43" fmla="*/ 537 h 608"/>
              <a:gd name="T44" fmla="*/ 544 w 881"/>
              <a:gd name="T45" fmla="*/ 608 h 608"/>
              <a:gd name="T46" fmla="*/ 583 w 881"/>
              <a:gd name="T47" fmla="*/ 525 h 608"/>
              <a:gd name="T48" fmla="*/ 584 w 881"/>
              <a:gd name="T49" fmla="*/ 398 h 608"/>
              <a:gd name="T50" fmla="*/ 682 w 881"/>
              <a:gd name="T51" fmla="*/ 317 h 608"/>
              <a:gd name="T52" fmla="*/ 853 w 881"/>
              <a:gd name="T53" fmla="*/ 491 h 608"/>
              <a:gd name="T54" fmla="*/ 760 w 881"/>
              <a:gd name="T55" fmla="*/ 526 h 608"/>
              <a:gd name="T56" fmla="*/ 862 w 881"/>
              <a:gd name="T57" fmla="*/ 399 h 608"/>
              <a:gd name="T58" fmla="*/ 781 w 881"/>
              <a:gd name="T59" fmla="*/ 511 h 608"/>
              <a:gd name="T60" fmla="*/ 768 w 881"/>
              <a:gd name="T61" fmla="*/ 446 h 608"/>
              <a:gd name="T62" fmla="*/ 782 w 881"/>
              <a:gd name="T63" fmla="*/ 412 h 608"/>
              <a:gd name="T64" fmla="*/ 256 w 881"/>
              <a:gd name="T65" fmla="*/ 92 h 608"/>
              <a:gd name="T66" fmla="*/ 259 w 881"/>
              <a:gd name="T67" fmla="*/ 29 h 608"/>
              <a:gd name="T68" fmla="*/ 184 w 881"/>
              <a:gd name="T69" fmla="*/ 200 h 608"/>
              <a:gd name="T70" fmla="*/ 283 w 881"/>
              <a:gd name="T71" fmla="*/ 180 h 608"/>
              <a:gd name="T72" fmla="*/ 233 w 881"/>
              <a:gd name="T73" fmla="*/ 122 h 608"/>
              <a:gd name="T74" fmla="*/ 483 w 881"/>
              <a:gd name="T75" fmla="*/ 177 h 608"/>
              <a:gd name="T76" fmla="*/ 343 w 881"/>
              <a:gd name="T77" fmla="*/ 146 h 608"/>
              <a:gd name="T78" fmla="*/ 484 w 881"/>
              <a:gd name="T79" fmla="*/ 144 h 608"/>
              <a:gd name="T80" fmla="*/ 415 w 881"/>
              <a:gd name="T81" fmla="*/ 207 h 608"/>
              <a:gd name="T82" fmla="*/ 456 w 881"/>
              <a:gd name="T83" fmla="*/ 129 h 608"/>
              <a:gd name="T84" fmla="*/ 371 w 881"/>
              <a:gd name="T85" fmla="*/ 129 h 608"/>
              <a:gd name="T86" fmla="*/ 572 w 881"/>
              <a:gd name="T87" fmla="*/ 207 h 608"/>
              <a:gd name="T88" fmla="*/ 573 w 881"/>
              <a:gd name="T89" fmla="*/ 157 h 608"/>
              <a:gd name="T90" fmla="*/ 516 w 881"/>
              <a:gd name="T91" fmla="*/ 86 h 608"/>
              <a:gd name="T92" fmla="*/ 599 w 881"/>
              <a:gd name="T93" fmla="*/ 64 h 608"/>
              <a:gd name="T94" fmla="*/ 593 w 881"/>
              <a:gd name="T95" fmla="*/ 89 h 608"/>
              <a:gd name="T96" fmla="*/ 539 w 881"/>
              <a:gd name="T97" fmla="*/ 112 h 608"/>
              <a:gd name="T98" fmla="*/ 628 w 881"/>
              <a:gd name="T99" fmla="*/ 155 h 608"/>
              <a:gd name="T100" fmla="*/ 572 w 881"/>
              <a:gd name="T101" fmla="*/ 230 h 608"/>
              <a:gd name="T102" fmla="*/ 725 w 881"/>
              <a:gd name="T103" fmla="*/ 227 h 608"/>
              <a:gd name="T104" fmla="*/ 669 w 881"/>
              <a:gd name="T105" fmla="*/ 179 h 608"/>
              <a:gd name="T106" fmla="*/ 669 w 881"/>
              <a:gd name="T107" fmla="*/ 62 h 608"/>
              <a:gd name="T108" fmla="*/ 721 w 881"/>
              <a:gd name="T109" fmla="*/ 62 h 608"/>
              <a:gd name="T110" fmla="*/ 697 w 881"/>
              <a:gd name="T111" fmla="*/ 196 h 6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81" h="608">
                <a:moveTo>
                  <a:pt x="156" y="227"/>
                </a:moveTo>
                <a:lnTo>
                  <a:pt x="156" y="0"/>
                </a:lnTo>
                <a:lnTo>
                  <a:pt x="235" y="0"/>
                </a:lnTo>
                <a:cubicBezTo>
                  <a:pt x="252" y="0"/>
                  <a:pt x="264" y="2"/>
                  <a:pt x="274" y="6"/>
                </a:cubicBezTo>
                <a:cubicBezTo>
                  <a:pt x="284" y="11"/>
                  <a:pt x="292" y="18"/>
                  <a:pt x="297" y="28"/>
                </a:cubicBezTo>
                <a:cubicBezTo>
                  <a:pt x="303" y="37"/>
                  <a:pt x="306" y="47"/>
                  <a:pt x="306" y="58"/>
                </a:cubicBezTo>
                <a:cubicBezTo>
                  <a:pt x="306" y="67"/>
                  <a:pt x="303" y="77"/>
                  <a:pt x="298" y="85"/>
                </a:cubicBezTo>
                <a:cubicBezTo>
                  <a:pt x="293" y="94"/>
                  <a:pt x="286" y="101"/>
                  <a:pt x="276" y="106"/>
                </a:cubicBezTo>
                <a:cubicBezTo>
                  <a:pt x="289" y="110"/>
                  <a:pt x="299" y="117"/>
                  <a:pt x="306" y="127"/>
                </a:cubicBezTo>
                <a:cubicBezTo>
                  <a:pt x="312" y="136"/>
                  <a:pt x="316" y="148"/>
                  <a:pt x="316" y="161"/>
                </a:cubicBezTo>
                <a:cubicBezTo>
                  <a:pt x="316" y="172"/>
                  <a:pt x="314" y="182"/>
                  <a:pt x="310" y="191"/>
                </a:cubicBezTo>
                <a:cubicBezTo>
                  <a:pt x="305" y="200"/>
                  <a:pt x="300" y="207"/>
                  <a:pt x="294" y="212"/>
                </a:cubicBezTo>
                <a:cubicBezTo>
                  <a:pt x="288" y="217"/>
                  <a:pt x="280" y="221"/>
                  <a:pt x="271" y="223"/>
                </a:cubicBezTo>
                <a:cubicBezTo>
                  <a:pt x="262" y="226"/>
                  <a:pt x="250" y="227"/>
                  <a:pt x="237" y="227"/>
                </a:cubicBezTo>
                <a:lnTo>
                  <a:pt x="156" y="227"/>
                </a:lnTo>
                <a:close/>
                <a:moveTo>
                  <a:pt x="0" y="544"/>
                </a:moveTo>
                <a:lnTo>
                  <a:pt x="0" y="317"/>
                </a:lnTo>
                <a:lnTo>
                  <a:pt x="80" y="317"/>
                </a:lnTo>
                <a:cubicBezTo>
                  <a:pt x="94" y="317"/>
                  <a:pt x="105" y="318"/>
                  <a:pt x="112" y="319"/>
                </a:cubicBezTo>
                <a:cubicBezTo>
                  <a:pt x="122" y="321"/>
                  <a:pt x="131" y="325"/>
                  <a:pt x="138" y="330"/>
                </a:cubicBezTo>
                <a:cubicBezTo>
                  <a:pt x="145" y="335"/>
                  <a:pt x="151" y="342"/>
                  <a:pt x="155" y="352"/>
                </a:cubicBezTo>
                <a:cubicBezTo>
                  <a:pt x="159" y="361"/>
                  <a:pt x="162" y="371"/>
                  <a:pt x="162" y="383"/>
                </a:cubicBezTo>
                <a:cubicBezTo>
                  <a:pt x="162" y="402"/>
                  <a:pt x="156" y="418"/>
                  <a:pt x="144" y="432"/>
                </a:cubicBezTo>
                <a:cubicBezTo>
                  <a:pt x="133" y="445"/>
                  <a:pt x="112" y="452"/>
                  <a:pt x="82" y="452"/>
                </a:cubicBezTo>
                <a:lnTo>
                  <a:pt x="28" y="452"/>
                </a:lnTo>
                <a:lnTo>
                  <a:pt x="28" y="544"/>
                </a:lnTo>
                <a:lnTo>
                  <a:pt x="0" y="544"/>
                </a:lnTo>
                <a:close/>
                <a:moveTo>
                  <a:pt x="28" y="425"/>
                </a:moveTo>
                <a:lnTo>
                  <a:pt x="83" y="425"/>
                </a:lnTo>
                <a:cubicBezTo>
                  <a:pt x="101" y="425"/>
                  <a:pt x="114" y="421"/>
                  <a:pt x="121" y="414"/>
                </a:cubicBezTo>
                <a:cubicBezTo>
                  <a:pt x="129" y="407"/>
                  <a:pt x="133" y="397"/>
                  <a:pt x="133" y="384"/>
                </a:cubicBezTo>
                <a:cubicBezTo>
                  <a:pt x="133" y="374"/>
                  <a:pt x="130" y="366"/>
                  <a:pt x="126" y="359"/>
                </a:cubicBezTo>
                <a:cubicBezTo>
                  <a:pt x="121" y="352"/>
                  <a:pt x="115" y="348"/>
                  <a:pt x="108" y="346"/>
                </a:cubicBezTo>
                <a:cubicBezTo>
                  <a:pt x="103" y="344"/>
                  <a:pt x="95" y="344"/>
                  <a:pt x="82" y="344"/>
                </a:cubicBezTo>
                <a:lnTo>
                  <a:pt x="28" y="344"/>
                </a:lnTo>
                <a:lnTo>
                  <a:pt x="28" y="425"/>
                </a:lnTo>
                <a:close/>
                <a:moveTo>
                  <a:pt x="294" y="491"/>
                </a:moveTo>
                <a:lnTo>
                  <a:pt x="321" y="495"/>
                </a:lnTo>
                <a:cubicBezTo>
                  <a:pt x="317" y="512"/>
                  <a:pt x="309" y="525"/>
                  <a:pt x="298" y="534"/>
                </a:cubicBezTo>
                <a:cubicBezTo>
                  <a:pt x="286" y="543"/>
                  <a:pt x="271" y="548"/>
                  <a:pt x="254" y="548"/>
                </a:cubicBezTo>
                <a:cubicBezTo>
                  <a:pt x="231" y="548"/>
                  <a:pt x="214" y="540"/>
                  <a:pt x="200" y="526"/>
                </a:cubicBezTo>
                <a:cubicBezTo>
                  <a:pt x="187" y="511"/>
                  <a:pt x="181" y="490"/>
                  <a:pt x="181" y="463"/>
                </a:cubicBezTo>
                <a:cubicBezTo>
                  <a:pt x="181" y="436"/>
                  <a:pt x="187" y="414"/>
                  <a:pt x="201" y="399"/>
                </a:cubicBezTo>
                <a:cubicBezTo>
                  <a:pt x="214" y="384"/>
                  <a:pt x="231" y="376"/>
                  <a:pt x="252" y="376"/>
                </a:cubicBezTo>
                <a:cubicBezTo>
                  <a:pt x="273" y="376"/>
                  <a:pt x="289" y="384"/>
                  <a:pt x="302" y="399"/>
                </a:cubicBezTo>
                <a:cubicBezTo>
                  <a:pt x="315" y="413"/>
                  <a:pt x="322" y="435"/>
                  <a:pt x="322" y="462"/>
                </a:cubicBezTo>
                <a:cubicBezTo>
                  <a:pt x="322" y="463"/>
                  <a:pt x="322" y="466"/>
                  <a:pt x="322" y="469"/>
                </a:cubicBezTo>
                <a:lnTo>
                  <a:pt x="207" y="469"/>
                </a:lnTo>
                <a:cubicBezTo>
                  <a:pt x="208" y="487"/>
                  <a:pt x="213" y="501"/>
                  <a:pt x="222" y="511"/>
                </a:cubicBezTo>
                <a:cubicBezTo>
                  <a:pt x="230" y="520"/>
                  <a:pt x="241" y="525"/>
                  <a:pt x="254" y="525"/>
                </a:cubicBezTo>
                <a:cubicBezTo>
                  <a:pt x="263" y="525"/>
                  <a:pt x="271" y="522"/>
                  <a:pt x="278" y="517"/>
                </a:cubicBezTo>
                <a:cubicBezTo>
                  <a:pt x="285" y="511"/>
                  <a:pt x="290" y="503"/>
                  <a:pt x="294" y="491"/>
                </a:cubicBezTo>
                <a:close/>
                <a:moveTo>
                  <a:pt x="209" y="446"/>
                </a:moveTo>
                <a:lnTo>
                  <a:pt x="294" y="446"/>
                </a:lnTo>
                <a:cubicBezTo>
                  <a:pt x="293" y="432"/>
                  <a:pt x="290" y="422"/>
                  <a:pt x="285" y="415"/>
                </a:cubicBezTo>
                <a:cubicBezTo>
                  <a:pt x="276" y="404"/>
                  <a:pt x="266" y="399"/>
                  <a:pt x="252" y="399"/>
                </a:cubicBezTo>
                <a:cubicBezTo>
                  <a:pt x="240" y="399"/>
                  <a:pt x="230" y="403"/>
                  <a:pt x="222" y="412"/>
                </a:cubicBezTo>
                <a:cubicBezTo>
                  <a:pt x="214" y="420"/>
                  <a:pt x="210" y="432"/>
                  <a:pt x="209" y="446"/>
                </a:cubicBezTo>
                <a:close/>
                <a:moveTo>
                  <a:pt x="344" y="462"/>
                </a:moveTo>
                <a:cubicBezTo>
                  <a:pt x="344" y="432"/>
                  <a:pt x="352" y="409"/>
                  <a:pt x="368" y="394"/>
                </a:cubicBezTo>
                <a:cubicBezTo>
                  <a:pt x="381" y="382"/>
                  <a:pt x="397" y="376"/>
                  <a:pt x="416" y="376"/>
                </a:cubicBezTo>
                <a:cubicBezTo>
                  <a:pt x="437" y="376"/>
                  <a:pt x="454" y="383"/>
                  <a:pt x="468" y="398"/>
                </a:cubicBezTo>
                <a:cubicBezTo>
                  <a:pt x="481" y="413"/>
                  <a:pt x="488" y="434"/>
                  <a:pt x="488" y="460"/>
                </a:cubicBezTo>
                <a:cubicBezTo>
                  <a:pt x="488" y="481"/>
                  <a:pt x="485" y="497"/>
                  <a:pt x="479" y="510"/>
                </a:cubicBezTo>
                <a:cubicBezTo>
                  <a:pt x="473" y="522"/>
                  <a:pt x="464" y="531"/>
                  <a:pt x="453" y="538"/>
                </a:cubicBezTo>
                <a:cubicBezTo>
                  <a:pt x="442" y="545"/>
                  <a:pt x="429" y="548"/>
                  <a:pt x="416" y="548"/>
                </a:cubicBezTo>
                <a:cubicBezTo>
                  <a:pt x="395" y="548"/>
                  <a:pt x="377" y="540"/>
                  <a:pt x="364" y="526"/>
                </a:cubicBezTo>
                <a:cubicBezTo>
                  <a:pt x="351" y="511"/>
                  <a:pt x="344" y="490"/>
                  <a:pt x="344" y="462"/>
                </a:cubicBezTo>
                <a:close/>
                <a:moveTo>
                  <a:pt x="371" y="462"/>
                </a:moveTo>
                <a:cubicBezTo>
                  <a:pt x="371" y="483"/>
                  <a:pt x="375" y="499"/>
                  <a:pt x="384" y="509"/>
                </a:cubicBezTo>
                <a:cubicBezTo>
                  <a:pt x="392" y="520"/>
                  <a:pt x="403" y="525"/>
                  <a:pt x="416" y="525"/>
                </a:cubicBezTo>
                <a:cubicBezTo>
                  <a:pt x="429" y="525"/>
                  <a:pt x="440" y="520"/>
                  <a:pt x="448" y="509"/>
                </a:cubicBezTo>
                <a:cubicBezTo>
                  <a:pt x="457" y="499"/>
                  <a:pt x="461" y="483"/>
                  <a:pt x="461" y="461"/>
                </a:cubicBezTo>
                <a:cubicBezTo>
                  <a:pt x="461" y="441"/>
                  <a:pt x="457" y="425"/>
                  <a:pt x="448" y="415"/>
                </a:cubicBezTo>
                <a:cubicBezTo>
                  <a:pt x="440" y="404"/>
                  <a:pt x="429" y="399"/>
                  <a:pt x="416" y="399"/>
                </a:cubicBezTo>
                <a:cubicBezTo>
                  <a:pt x="403" y="399"/>
                  <a:pt x="392" y="404"/>
                  <a:pt x="384" y="415"/>
                </a:cubicBezTo>
                <a:cubicBezTo>
                  <a:pt x="375" y="425"/>
                  <a:pt x="371" y="441"/>
                  <a:pt x="371" y="462"/>
                </a:cubicBezTo>
                <a:close/>
                <a:moveTo>
                  <a:pt x="518" y="608"/>
                </a:moveTo>
                <a:lnTo>
                  <a:pt x="518" y="380"/>
                </a:lnTo>
                <a:lnTo>
                  <a:pt x="542" y="380"/>
                </a:lnTo>
                <a:lnTo>
                  <a:pt x="542" y="401"/>
                </a:lnTo>
                <a:cubicBezTo>
                  <a:pt x="548" y="393"/>
                  <a:pt x="554" y="387"/>
                  <a:pt x="561" y="382"/>
                </a:cubicBezTo>
                <a:cubicBezTo>
                  <a:pt x="568" y="378"/>
                  <a:pt x="577" y="376"/>
                  <a:pt x="587" y="376"/>
                </a:cubicBezTo>
                <a:cubicBezTo>
                  <a:pt x="600" y="376"/>
                  <a:pt x="611" y="380"/>
                  <a:pt x="621" y="387"/>
                </a:cubicBezTo>
                <a:cubicBezTo>
                  <a:pt x="631" y="394"/>
                  <a:pt x="639" y="404"/>
                  <a:pt x="644" y="417"/>
                </a:cubicBezTo>
                <a:cubicBezTo>
                  <a:pt x="649" y="431"/>
                  <a:pt x="651" y="445"/>
                  <a:pt x="651" y="461"/>
                </a:cubicBezTo>
                <a:cubicBezTo>
                  <a:pt x="651" y="478"/>
                  <a:pt x="649" y="493"/>
                  <a:pt x="643" y="506"/>
                </a:cubicBezTo>
                <a:cubicBezTo>
                  <a:pt x="637" y="520"/>
                  <a:pt x="629" y="530"/>
                  <a:pt x="619" y="537"/>
                </a:cubicBezTo>
                <a:cubicBezTo>
                  <a:pt x="608" y="544"/>
                  <a:pt x="597" y="548"/>
                  <a:pt x="585" y="548"/>
                </a:cubicBezTo>
                <a:cubicBezTo>
                  <a:pt x="576" y="548"/>
                  <a:pt x="568" y="546"/>
                  <a:pt x="561" y="542"/>
                </a:cubicBezTo>
                <a:cubicBezTo>
                  <a:pt x="554" y="538"/>
                  <a:pt x="549" y="533"/>
                  <a:pt x="544" y="527"/>
                </a:cubicBezTo>
                <a:lnTo>
                  <a:pt x="544" y="608"/>
                </a:lnTo>
                <a:lnTo>
                  <a:pt x="518" y="608"/>
                </a:lnTo>
                <a:close/>
                <a:moveTo>
                  <a:pt x="542" y="463"/>
                </a:moveTo>
                <a:cubicBezTo>
                  <a:pt x="542" y="484"/>
                  <a:pt x="546" y="500"/>
                  <a:pt x="554" y="510"/>
                </a:cubicBezTo>
                <a:cubicBezTo>
                  <a:pt x="562" y="520"/>
                  <a:pt x="572" y="525"/>
                  <a:pt x="583" y="525"/>
                </a:cubicBezTo>
                <a:cubicBezTo>
                  <a:pt x="595" y="525"/>
                  <a:pt x="604" y="520"/>
                  <a:pt x="613" y="509"/>
                </a:cubicBezTo>
                <a:cubicBezTo>
                  <a:pt x="621" y="499"/>
                  <a:pt x="625" y="483"/>
                  <a:pt x="625" y="461"/>
                </a:cubicBezTo>
                <a:cubicBezTo>
                  <a:pt x="625" y="440"/>
                  <a:pt x="621" y="424"/>
                  <a:pt x="613" y="414"/>
                </a:cubicBezTo>
                <a:cubicBezTo>
                  <a:pt x="605" y="403"/>
                  <a:pt x="595" y="398"/>
                  <a:pt x="584" y="398"/>
                </a:cubicBezTo>
                <a:cubicBezTo>
                  <a:pt x="573" y="398"/>
                  <a:pt x="563" y="404"/>
                  <a:pt x="555" y="415"/>
                </a:cubicBezTo>
                <a:cubicBezTo>
                  <a:pt x="546" y="426"/>
                  <a:pt x="542" y="442"/>
                  <a:pt x="542" y="463"/>
                </a:cubicBezTo>
                <a:close/>
                <a:moveTo>
                  <a:pt x="682" y="544"/>
                </a:moveTo>
                <a:lnTo>
                  <a:pt x="682" y="317"/>
                </a:lnTo>
                <a:lnTo>
                  <a:pt x="708" y="317"/>
                </a:lnTo>
                <a:lnTo>
                  <a:pt x="708" y="544"/>
                </a:lnTo>
                <a:lnTo>
                  <a:pt x="682" y="544"/>
                </a:lnTo>
                <a:close/>
                <a:moveTo>
                  <a:pt x="853" y="491"/>
                </a:moveTo>
                <a:lnTo>
                  <a:pt x="880" y="495"/>
                </a:lnTo>
                <a:cubicBezTo>
                  <a:pt x="876" y="512"/>
                  <a:pt x="868" y="525"/>
                  <a:pt x="857" y="534"/>
                </a:cubicBezTo>
                <a:cubicBezTo>
                  <a:pt x="845" y="543"/>
                  <a:pt x="831" y="548"/>
                  <a:pt x="813" y="548"/>
                </a:cubicBezTo>
                <a:cubicBezTo>
                  <a:pt x="791" y="548"/>
                  <a:pt x="773" y="540"/>
                  <a:pt x="760" y="526"/>
                </a:cubicBezTo>
                <a:cubicBezTo>
                  <a:pt x="747" y="511"/>
                  <a:pt x="740" y="490"/>
                  <a:pt x="740" y="463"/>
                </a:cubicBezTo>
                <a:cubicBezTo>
                  <a:pt x="740" y="436"/>
                  <a:pt x="747" y="414"/>
                  <a:pt x="760" y="399"/>
                </a:cubicBezTo>
                <a:cubicBezTo>
                  <a:pt x="773" y="384"/>
                  <a:pt x="790" y="376"/>
                  <a:pt x="812" y="376"/>
                </a:cubicBezTo>
                <a:cubicBezTo>
                  <a:pt x="832" y="376"/>
                  <a:pt x="849" y="384"/>
                  <a:pt x="862" y="399"/>
                </a:cubicBezTo>
                <a:cubicBezTo>
                  <a:pt x="875" y="413"/>
                  <a:pt x="881" y="435"/>
                  <a:pt x="881" y="462"/>
                </a:cubicBezTo>
                <a:cubicBezTo>
                  <a:pt x="881" y="463"/>
                  <a:pt x="881" y="466"/>
                  <a:pt x="881" y="469"/>
                </a:cubicBezTo>
                <a:lnTo>
                  <a:pt x="767" y="469"/>
                </a:lnTo>
                <a:cubicBezTo>
                  <a:pt x="768" y="487"/>
                  <a:pt x="772" y="501"/>
                  <a:pt x="781" y="511"/>
                </a:cubicBezTo>
                <a:cubicBezTo>
                  <a:pt x="789" y="520"/>
                  <a:pt x="800" y="525"/>
                  <a:pt x="813" y="525"/>
                </a:cubicBezTo>
                <a:cubicBezTo>
                  <a:pt x="822" y="525"/>
                  <a:pt x="831" y="522"/>
                  <a:pt x="837" y="517"/>
                </a:cubicBezTo>
                <a:cubicBezTo>
                  <a:pt x="844" y="511"/>
                  <a:pt x="849" y="503"/>
                  <a:pt x="853" y="491"/>
                </a:cubicBezTo>
                <a:close/>
                <a:moveTo>
                  <a:pt x="768" y="446"/>
                </a:moveTo>
                <a:lnTo>
                  <a:pt x="854" y="446"/>
                </a:lnTo>
                <a:cubicBezTo>
                  <a:pt x="852" y="432"/>
                  <a:pt x="849" y="422"/>
                  <a:pt x="844" y="415"/>
                </a:cubicBezTo>
                <a:cubicBezTo>
                  <a:pt x="836" y="404"/>
                  <a:pt x="825" y="399"/>
                  <a:pt x="812" y="399"/>
                </a:cubicBezTo>
                <a:cubicBezTo>
                  <a:pt x="800" y="399"/>
                  <a:pt x="790" y="403"/>
                  <a:pt x="782" y="412"/>
                </a:cubicBezTo>
                <a:cubicBezTo>
                  <a:pt x="774" y="420"/>
                  <a:pt x="769" y="432"/>
                  <a:pt x="768" y="446"/>
                </a:cubicBezTo>
                <a:close/>
                <a:moveTo>
                  <a:pt x="184" y="95"/>
                </a:moveTo>
                <a:lnTo>
                  <a:pt x="230" y="95"/>
                </a:lnTo>
                <a:cubicBezTo>
                  <a:pt x="242" y="95"/>
                  <a:pt x="251" y="94"/>
                  <a:pt x="256" y="92"/>
                </a:cubicBezTo>
                <a:cubicBezTo>
                  <a:pt x="264" y="90"/>
                  <a:pt x="269" y="86"/>
                  <a:pt x="273" y="81"/>
                </a:cubicBezTo>
                <a:cubicBezTo>
                  <a:pt x="276" y="76"/>
                  <a:pt x="278" y="69"/>
                  <a:pt x="278" y="61"/>
                </a:cubicBezTo>
                <a:cubicBezTo>
                  <a:pt x="278" y="54"/>
                  <a:pt x="276" y="47"/>
                  <a:pt x="273" y="41"/>
                </a:cubicBezTo>
                <a:cubicBezTo>
                  <a:pt x="270" y="35"/>
                  <a:pt x="265" y="31"/>
                  <a:pt x="259" y="29"/>
                </a:cubicBezTo>
                <a:cubicBezTo>
                  <a:pt x="252" y="27"/>
                  <a:pt x="241" y="26"/>
                  <a:pt x="226" y="26"/>
                </a:cubicBezTo>
                <a:lnTo>
                  <a:pt x="184" y="26"/>
                </a:lnTo>
                <a:lnTo>
                  <a:pt x="184" y="95"/>
                </a:lnTo>
                <a:close/>
                <a:moveTo>
                  <a:pt x="184" y="200"/>
                </a:moveTo>
                <a:lnTo>
                  <a:pt x="237" y="200"/>
                </a:lnTo>
                <a:cubicBezTo>
                  <a:pt x="246" y="200"/>
                  <a:pt x="252" y="200"/>
                  <a:pt x="256" y="199"/>
                </a:cubicBezTo>
                <a:cubicBezTo>
                  <a:pt x="262" y="198"/>
                  <a:pt x="268" y="196"/>
                  <a:pt x="272" y="193"/>
                </a:cubicBezTo>
                <a:cubicBezTo>
                  <a:pt x="276" y="190"/>
                  <a:pt x="280" y="186"/>
                  <a:pt x="283" y="180"/>
                </a:cubicBezTo>
                <a:cubicBezTo>
                  <a:pt x="286" y="175"/>
                  <a:pt x="287" y="168"/>
                  <a:pt x="287" y="161"/>
                </a:cubicBezTo>
                <a:cubicBezTo>
                  <a:pt x="287" y="152"/>
                  <a:pt x="285" y="145"/>
                  <a:pt x="281" y="139"/>
                </a:cubicBezTo>
                <a:cubicBezTo>
                  <a:pt x="277" y="133"/>
                  <a:pt x="271" y="128"/>
                  <a:pt x="264" y="126"/>
                </a:cubicBezTo>
                <a:cubicBezTo>
                  <a:pt x="257" y="123"/>
                  <a:pt x="246" y="122"/>
                  <a:pt x="233" y="122"/>
                </a:cubicBezTo>
                <a:lnTo>
                  <a:pt x="184" y="122"/>
                </a:lnTo>
                <a:lnTo>
                  <a:pt x="184" y="200"/>
                </a:lnTo>
                <a:close/>
                <a:moveTo>
                  <a:pt x="456" y="174"/>
                </a:moveTo>
                <a:lnTo>
                  <a:pt x="483" y="177"/>
                </a:lnTo>
                <a:cubicBezTo>
                  <a:pt x="479" y="194"/>
                  <a:pt x="471" y="207"/>
                  <a:pt x="459" y="216"/>
                </a:cubicBezTo>
                <a:cubicBezTo>
                  <a:pt x="448" y="226"/>
                  <a:pt x="433" y="230"/>
                  <a:pt x="415" y="230"/>
                </a:cubicBezTo>
                <a:cubicBezTo>
                  <a:pt x="393" y="230"/>
                  <a:pt x="375" y="223"/>
                  <a:pt x="362" y="208"/>
                </a:cubicBezTo>
                <a:cubicBezTo>
                  <a:pt x="349" y="193"/>
                  <a:pt x="343" y="173"/>
                  <a:pt x="343" y="146"/>
                </a:cubicBezTo>
                <a:cubicBezTo>
                  <a:pt x="343" y="118"/>
                  <a:pt x="349" y="97"/>
                  <a:pt x="362" y="81"/>
                </a:cubicBezTo>
                <a:cubicBezTo>
                  <a:pt x="376" y="66"/>
                  <a:pt x="393" y="59"/>
                  <a:pt x="414" y="59"/>
                </a:cubicBezTo>
                <a:cubicBezTo>
                  <a:pt x="434" y="59"/>
                  <a:pt x="451" y="66"/>
                  <a:pt x="464" y="81"/>
                </a:cubicBezTo>
                <a:cubicBezTo>
                  <a:pt x="477" y="96"/>
                  <a:pt x="484" y="117"/>
                  <a:pt x="484" y="144"/>
                </a:cubicBezTo>
                <a:cubicBezTo>
                  <a:pt x="484" y="146"/>
                  <a:pt x="484" y="148"/>
                  <a:pt x="483" y="152"/>
                </a:cubicBezTo>
                <a:lnTo>
                  <a:pt x="369" y="152"/>
                </a:lnTo>
                <a:cubicBezTo>
                  <a:pt x="370" y="170"/>
                  <a:pt x="375" y="184"/>
                  <a:pt x="383" y="193"/>
                </a:cubicBezTo>
                <a:cubicBezTo>
                  <a:pt x="392" y="203"/>
                  <a:pt x="403" y="207"/>
                  <a:pt x="415" y="207"/>
                </a:cubicBezTo>
                <a:cubicBezTo>
                  <a:pt x="425" y="207"/>
                  <a:pt x="433" y="205"/>
                  <a:pt x="440" y="199"/>
                </a:cubicBezTo>
                <a:cubicBezTo>
                  <a:pt x="447" y="194"/>
                  <a:pt x="452" y="185"/>
                  <a:pt x="456" y="174"/>
                </a:cubicBezTo>
                <a:close/>
                <a:moveTo>
                  <a:pt x="371" y="129"/>
                </a:moveTo>
                <a:lnTo>
                  <a:pt x="456" y="129"/>
                </a:lnTo>
                <a:cubicBezTo>
                  <a:pt x="455" y="115"/>
                  <a:pt x="452" y="105"/>
                  <a:pt x="446" y="98"/>
                </a:cubicBezTo>
                <a:cubicBezTo>
                  <a:pt x="438" y="87"/>
                  <a:pt x="427" y="81"/>
                  <a:pt x="414" y="81"/>
                </a:cubicBezTo>
                <a:cubicBezTo>
                  <a:pt x="402" y="81"/>
                  <a:pt x="392" y="86"/>
                  <a:pt x="384" y="94"/>
                </a:cubicBezTo>
                <a:cubicBezTo>
                  <a:pt x="376" y="103"/>
                  <a:pt x="372" y="114"/>
                  <a:pt x="371" y="129"/>
                </a:cubicBezTo>
                <a:close/>
                <a:moveTo>
                  <a:pt x="507" y="178"/>
                </a:moveTo>
                <a:lnTo>
                  <a:pt x="532" y="173"/>
                </a:lnTo>
                <a:cubicBezTo>
                  <a:pt x="534" y="184"/>
                  <a:pt x="538" y="193"/>
                  <a:pt x="545" y="199"/>
                </a:cubicBezTo>
                <a:cubicBezTo>
                  <a:pt x="551" y="205"/>
                  <a:pt x="560" y="207"/>
                  <a:pt x="572" y="207"/>
                </a:cubicBezTo>
                <a:cubicBezTo>
                  <a:pt x="584" y="207"/>
                  <a:pt x="593" y="205"/>
                  <a:pt x="599" y="200"/>
                </a:cubicBezTo>
                <a:cubicBezTo>
                  <a:pt x="605" y="194"/>
                  <a:pt x="608" y="188"/>
                  <a:pt x="608" y="181"/>
                </a:cubicBezTo>
                <a:cubicBezTo>
                  <a:pt x="608" y="175"/>
                  <a:pt x="605" y="170"/>
                  <a:pt x="600" y="166"/>
                </a:cubicBezTo>
                <a:cubicBezTo>
                  <a:pt x="596" y="164"/>
                  <a:pt x="587" y="161"/>
                  <a:pt x="573" y="157"/>
                </a:cubicBezTo>
                <a:cubicBezTo>
                  <a:pt x="554" y="152"/>
                  <a:pt x="541" y="147"/>
                  <a:pt x="534" y="144"/>
                </a:cubicBezTo>
                <a:cubicBezTo>
                  <a:pt x="526" y="140"/>
                  <a:pt x="521" y="135"/>
                  <a:pt x="517" y="128"/>
                </a:cubicBezTo>
                <a:cubicBezTo>
                  <a:pt x="513" y="121"/>
                  <a:pt x="511" y="114"/>
                  <a:pt x="511" y="106"/>
                </a:cubicBezTo>
                <a:cubicBezTo>
                  <a:pt x="511" y="99"/>
                  <a:pt x="513" y="92"/>
                  <a:pt x="516" y="86"/>
                </a:cubicBezTo>
                <a:cubicBezTo>
                  <a:pt x="519" y="79"/>
                  <a:pt x="523" y="74"/>
                  <a:pt x="529" y="70"/>
                </a:cubicBezTo>
                <a:cubicBezTo>
                  <a:pt x="533" y="67"/>
                  <a:pt x="538" y="64"/>
                  <a:pt x="545" y="62"/>
                </a:cubicBezTo>
                <a:cubicBezTo>
                  <a:pt x="552" y="60"/>
                  <a:pt x="560" y="59"/>
                  <a:pt x="568" y="59"/>
                </a:cubicBezTo>
                <a:cubicBezTo>
                  <a:pt x="580" y="59"/>
                  <a:pt x="590" y="60"/>
                  <a:pt x="599" y="64"/>
                </a:cubicBezTo>
                <a:cubicBezTo>
                  <a:pt x="608" y="68"/>
                  <a:pt x="615" y="73"/>
                  <a:pt x="619" y="79"/>
                </a:cubicBezTo>
                <a:cubicBezTo>
                  <a:pt x="624" y="86"/>
                  <a:pt x="627" y="94"/>
                  <a:pt x="628" y="105"/>
                </a:cubicBezTo>
                <a:lnTo>
                  <a:pt x="603" y="109"/>
                </a:lnTo>
                <a:cubicBezTo>
                  <a:pt x="602" y="100"/>
                  <a:pt x="598" y="93"/>
                  <a:pt x="593" y="89"/>
                </a:cubicBezTo>
                <a:cubicBezTo>
                  <a:pt x="587" y="84"/>
                  <a:pt x="580" y="81"/>
                  <a:pt x="569" y="81"/>
                </a:cubicBezTo>
                <a:cubicBezTo>
                  <a:pt x="558" y="81"/>
                  <a:pt x="549" y="84"/>
                  <a:pt x="544" y="88"/>
                </a:cubicBezTo>
                <a:cubicBezTo>
                  <a:pt x="539" y="92"/>
                  <a:pt x="536" y="97"/>
                  <a:pt x="536" y="103"/>
                </a:cubicBezTo>
                <a:cubicBezTo>
                  <a:pt x="536" y="106"/>
                  <a:pt x="537" y="110"/>
                  <a:pt x="539" y="112"/>
                </a:cubicBezTo>
                <a:cubicBezTo>
                  <a:pt x="542" y="115"/>
                  <a:pt x="545" y="118"/>
                  <a:pt x="549" y="120"/>
                </a:cubicBezTo>
                <a:cubicBezTo>
                  <a:pt x="552" y="121"/>
                  <a:pt x="560" y="123"/>
                  <a:pt x="572" y="127"/>
                </a:cubicBezTo>
                <a:cubicBezTo>
                  <a:pt x="591" y="132"/>
                  <a:pt x="604" y="137"/>
                  <a:pt x="611" y="140"/>
                </a:cubicBezTo>
                <a:cubicBezTo>
                  <a:pt x="618" y="143"/>
                  <a:pt x="624" y="148"/>
                  <a:pt x="628" y="155"/>
                </a:cubicBezTo>
                <a:cubicBezTo>
                  <a:pt x="632" y="161"/>
                  <a:pt x="634" y="169"/>
                  <a:pt x="634" y="178"/>
                </a:cubicBezTo>
                <a:cubicBezTo>
                  <a:pt x="634" y="188"/>
                  <a:pt x="632" y="196"/>
                  <a:pt x="627" y="205"/>
                </a:cubicBezTo>
                <a:cubicBezTo>
                  <a:pt x="622" y="213"/>
                  <a:pt x="614" y="219"/>
                  <a:pt x="605" y="224"/>
                </a:cubicBezTo>
                <a:cubicBezTo>
                  <a:pt x="595" y="228"/>
                  <a:pt x="584" y="230"/>
                  <a:pt x="572" y="230"/>
                </a:cubicBezTo>
                <a:cubicBezTo>
                  <a:pt x="552" y="230"/>
                  <a:pt x="537" y="226"/>
                  <a:pt x="527" y="217"/>
                </a:cubicBezTo>
                <a:cubicBezTo>
                  <a:pt x="516" y="208"/>
                  <a:pt x="510" y="195"/>
                  <a:pt x="507" y="178"/>
                </a:cubicBezTo>
                <a:close/>
                <a:moveTo>
                  <a:pt x="721" y="202"/>
                </a:moveTo>
                <a:lnTo>
                  <a:pt x="725" y="227"/>
                </a:lnTo>
                <a:cubicBezTo>
                  <a:pt x="718" y="228"/>
                  <a:pt x="711" y="229"/>
                  <a:pt x="705" y="229"/>
                </a:cubicBezTo>
                <a:cubicBezTo>
                  <a:pt x="696" y="229"/>
                  <a:pt x="689" y="227"/>
                  <a:pt x="684" y="224"/>
                </a:cubicBezTo>
                <a:cubicBezTo>
                  <a:pt x="678" y="221"/>
                  <a:pt x="675" y="217"/>
                  <a:pt x="673" y="212"/>
                </a:cubicBezTo>
                <a:cubicBezTo>
                  <a:pt x="670" y="206"/>
                  <a:pt x="669" y="195"/>
                  <a:pt x="669" y="179"/>
                </a:cubicBezTo>
                <a:lnTo>
                  <a:pt x="669" y="84"/>
                </a:lnTo>
                <a:lnTo>
                  <a:pt x="650" y="84"/>
                </a:lnTo>
                <a:lnTo>
                  <a:pt x="650" y="62"/>
                </a:lnTo>
                <a:lnTo>
                  <a:pt x="669" y="62"/>
                </a:lnTo>
                <a:lnTo>
                  <a:pt x="669" y="21"/>
                </a:lnTo>
                <a:lnTo>
                  <a:pt x="695" y="5"/>
                </a:lnTo>
                <a:lnTo>
                  <a:pt x="695" y="62"/>
                </a:lnTo>
                <a:lnTo>
                  <a:pt x="721" y="62"/>
                </a:lnTo>
                <a:lnTo>
                  <a:pt x="721" y="84"/>
                </a:lnTo>
                <a:lnTo>
                  <a:pt x="695" y="84"/>
                </a:lnTo>
                <a:lnTo>
                  <a:pt x="695" y="180"/>
                </a:lnTo>
                <a:cubicBezTo>
                  <a:pt x="695" y="188"/>
                  <a:pt x="696" y="193"/>
                  <a:pt x="697" y="196"/>
                </a:cubicBezTo>
                <a:cubicBezTo>
                  <a:pt x="698" y="198"/>
                  <a:pt x="699" y="200"/>
                  <a:pt x="701" y="201"/>
                </a:cubicBezTo>
                <a:cubicBezTo>
                  <a:pt x="703" y="202"/>
                  <a:pt x="706" y="203"/>
                  <a:pt x="710" y="203"/>
                </a:cubicBezTo>
                <a:cubicBezTo>
                  <a:pt x="713" y="203"/>
                  <a:pt x="717" y="203"/>
                  <a:pt x="721" y="2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17" name="Group 416">
            <a:extLst>
              <a:ext uri="{FF2B5EF4-FFF2-40B4-BE49-F238E27FC236}">
                <a16:creationId xmlns:a16="http://schemas.microsoft.com/office/drawing/2014/main" id="{F657DAEA-3651-4230-A3C6-A3A6E1DBF389}"/>
              </a:ext>
            </a:extLst>
          </p:cNvPr>
          <p:cNvGrpSpPr/>
          <p:nvPr/>
        </p:nvGrpSpPr>
        <p:grpSpPr>
          <a:xfrm>
            <a:off x="9569450" y="3459163"/>
            <a:ext cx="557213" cy="531813"/>
            <a:chOff x="9569450" y="3459163"/>
            <a:chExt cx="557213" cy="531813"/>
          </a:xfrm>
          <a:solidFill>
            <a:schemeClr val="accent1"/>
          </a:solidFill>
        </p:grpSpPr>
        <p:sp>
          <p:nvSpPr>
            <p:cNvPr id="159" name="Freeform 358">
              <a:extLst>
                <a:ext uri="{FF2B5EF4-FFF2-40B4-BE49-F238E27FC236}">
                  <a16:creationId xmlns:a16="http://schemas.microsoft.com/office/drawing/2014/main" id="{E2CB560A-0BB7-42CC-BA6E-24FD87A48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69450" y="3624263"/>
              <a:ext cx="482600" cy="366713"/>
            </a:xfrm>
            <a:custGeom>
              <a:avLst/>
              <a:gdLst>
                <a:gd name="T0" fmla="*/ 267 w 1340"/>
                <a:gd name="T1" fmla="*/ 166 h 1018"/>
                <a:gd name="T2" fmla="*/ 486 w 1340"/>
                <a:gd name="T3" fmla="*/ 379 h 1018"/>
                <a:gd name="T4" fmla="*/ 513 w 1340"/>
                <a:gd name="T5" fmla="*/ 462 h 1018"/>
                <a:gd name="T6" fmla="*/ 461 w 1340"/>
                <a:gd name="T7" fmla="*/ 763 h 1018"/>
                <a:gd name="T8" fmla="*/ 732 w 1340"/>
                <a:gd name="T9" fmla="*/ 621 h 1018"/>
                <a:gd name="T10" fmla="*/ 819 w 1340"/>
                <a:gd name="T11" fmla="*/ 621 h 1018"/>
                <a:gd name="T12" fmla="*/ 1340 w 1340"/>
                <a:gd name="T13" fmla="*/ 895 h 1018"/>
                <a:gd name="T14" fmla="*/ 1306 w 1340"/>
                <a:gd name="T15" fmla="*/ 919 h 1018"/>
                <a:gd name="T16" fmla="*/ 1170 w 1340"/>
                <a:gd name="T17" fmla="*/ 1018 h 1018"/>
                <a:gd name="T18" fmla="*/ 775 w 1340"/>
                <a:gd name="T19" fmla="*/ 810 h 1018"/>
                <a:gd name="T20" fmla="*/ 380 w 1340"/>
                <a:gd name="T21" fmla="*/ 1018 h 1018"/>
                <a:gd name="T22" fmla="*/ 244 w 1340"/>
                <a:gd name="T23" fmla="*/ 919 h 1018"/>
                <a:gd name="T24" fmla="*/ 320 w 1340"/>
                <a:gd name="T25" fmla="*/ 479 h 1018"/>
                <a:gd name="T26" fmla="*/ 0 w 1340"/>
                <a:gd name="T27" fmla="*/ 168 h 1018"/>
                <a:gd name="T28" fmla="*/ 52 w 1340"/>
                <a:gd name="T29" fmla="*/ 8 h 1018"/>
                <a:gd name="T30" fmla="*/ 102 w 1340"/>
                <a:gd name="T31" fmla="*/ 0 h 1018"/>
                <a:gd name="T32" fmla="*/ 267 w 1340"/>
                <a:gd name="T33" fmla="*/ 166 h 1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40" h="1018">
                  <a:moveTo>
                    <a:pt x="267" y="166"/>
                  </a:moveTo>
                  <a:lnTo>
                    <a:pt x="486" y="379"/>
                  </a:lnTo>
                  <a:lnTo>
                    <a:pt x="513" y="462"/>
                  </a:lnTo>
                  <a:lnTo>
                    <a:pt x="461" y="763"/>
                  </a:lnTo>
                  <a:lnTo>
                    <a:pt x="732" y="621"/>
                  </a:lnTo>
                  <a:lnTo>
                    <a:pt x="819" y="621"/>
                  </a:lnTo>
                  <a:lnTo>
                    <a:pt x="1340" y="895"/>
                  </a:lnTo>
                  <a:lnTo>
                    <a:pt x="1306" y="919"/>
                  </a:lnTo>
                  <a:lnTo>
                    <a:pt x="1170" y="1018"/>
                  </a:lnTo>
                  <a:lnTo>
                    <a:pt x="775" y="810"/>
                  </a:lnTo>
                  <a:lnTo>
                    <a:pt x="380" y="1018"/>
                  </a:lnTo>
                  <a:lnTo>
                    <a:pt x="244" y="919"/>
                  </a:lnTo>
                  <a:lnTo>
                    <a:pt x="320" y="479"/>
                  </a:lnTo>
                  <a:lnTo>
                    <a:pt x="0" y="168"/>
                  </a:lnTo>
                  <a:lnTo>
                    <a:pt x="52" y="8"/>
                  </a:lnTo>
                  <a:lnTo>
                    <a:pt x="102" y="0"/>
                  </a:lnTo>
                  <a:lnTo>
                    <a:pt x="267" y="1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0" name="Freeform 359">
              <a:extLst>
                <a:ext uri="{FF2B5EF4-FFF2-40B4-BE49-F238E27FC236}">
                  <a16:creationId xmlns:a16="http://schemas.microsoft.com/office/drawing/2014/main" id="{12E240D5-35DC-442B-805F-9CCAAB8E2A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5963" y="3459163"/>
              <a:ext cx="520700" cy="349250"/>
            </a:xfrm>
            <a:custGeom>
              <a:avLst/>
              <a:gdLst>
                <a:gd name="T0" fmla="*/ 1094 w 1448"/>
                <a:gd name="T1" fmla="*/ 970 h 970"/>
                <a:gd name="T2" fmla="*/ 963 w 1448"/>
                <a:gd name="T3" fmla="*/ 836 h 970"/>
                <a:gd name="T4" fmla="*/ 1182 w 1448"/>
                <a:gd name="T5" fmla="*/ 623 h 970"/>
                <a:gd name="T6" fmla="*/ 879 w 1448"/>
                <a:gd name="T7" fmla="*/ 579 h 970"/>
                <a:gd name="T8" fmla="*/ 809 w 1448"/>
                <a:gd name="T9" fmla="*/ 528 h 970"/>
                <a:gd name="T10" fmla="*/ 673 w 1448"/>
                <a:gd name="T11" fmla="*/ 254 h 970"/>
                <a:gd name="T12" fmla="*/ 538 w 1448"/>
                <a:gd name="T13" fmla="*/ 528 h 970"/>
                <a:gd name="T14" fmla="*/ 468 w 1448"/>
                <a:gd name="T15" fmla="*/ 579 h 970"/>
                <a:gd name="T16" fmla="*/ 165 w 1448"/>
                <a:gd name="T17" fmla="*/ 623 h 970"/>
                <a:gd name="T18" fmla="*/ 0 w 1448"/>
                <a:gd name="T19" fmla="*/ 457 h 970"/>
                <a:gd name="T20" fmla="*/ 392 w 1448"/>
                <a:gd name="T21" fmla="*/ 401 h 970"/>
                <a:gd name="T22" fmla="*/ 589 w 1448"/>
                <a:gd name="T23" fmla="*/ 0 h 970"/>
                <a:gd name="T24" fmla="*/ 757 w 1448"/>
                <a:gd name="T25" fmla="*/ 0 h 970"/>
                <a:gd name="T26" fmla="*/ 955 w 1448"/>
                <a:gd name="T27" fmla="*/ 401 h 970"/>
                <a:gd name="T28" fmla="*/ 1397 w 1448"/>
                <a:gd name="T29" fmla="*/ 465 h 970"/>
                <a:gd name="T30" fmla="*/ 1448 w 1448"/>
                <a:gd name="T31" fmla="*/ 625 h 970"/>
                <a:gd name="T32" fmla="*/ 1094 w 1448"/>
                <a:gd name="T33" fmla="*/ 970 h 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48" h="970">
                  <a:moveTo>
                    <a:pt x="1094" y="970"/>
                  </a:moveTo>
                  <a:lnTo>
                    <a:pt x="963" y="836"/>
                  </a:lnTo>
                  <a:lnTo>
                    <a:pt x="1182" y="623"/>
                  </a:lnTo>
                  <a:lnTo>
                    <a:pt x="879" y="579"/>
                  </a:lnTo>
                  <a:lnTo>
                    <a:pt x="809" y="528"/>
                  </a:lnTo>
                  <a:lnTo>
                    <a:pt x="673" y="254"/>
                  </a:lnTo>
                  <a:lnTo>
                    <a:pt x="538" y="528"/>
                  </a:lnTo>
                  <a:lnTo>
                    <a:pt x="468" y="579"/>
                  </a:lnTo>
                  <a:lnTo>
                    <a:pt x="165" y="623"/>
                  </a:lnTo>
                  <a:lnTo>
                    <a:pt x="0" y="457"/>
                  </a:lnTo>
                  <a:lnTo>
                    <a:pt x="392" y="401"/>
                  </a:lnTo>
                  <a:lnTo>
                    <a:pt x="589" y="0"/>
                  </a:lnTo>
                  <a:lnTo>
                    <a:pt x="757" y="0"/>
                  </a:lnTo>
                  <a:lnTo>
                    <a:pt x="955" y="401"/>
                  </a:lnTo>
                  <a:lnTo>
                    <a:pt x="1397" y="465"/>
                  </a:lnTo>
                  <a:lnTo>
                    <a:pt x="1448" y="625"/>
                  </a:lnTo>
                  <a:lnTo>
                    <a:pt x="1094" y="9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03" name="Group 402">
            <a:extLst>
              <a:ext uri="{FF2B5EF4-FFF2-40B4-BE49-F238E27FC236}">
                <a16:creationId xmlns:a16="http://schemas.microsoft.com/office/drawing/2014/main" id="{5B243D79-4B8A-4A75-9A11-C7F669784F09}"/>
              </a:ext>
            </a:extLst>
          </p:cNvPr>
          <p:cNvGrpSpPr/>
          <p:nvPr/>
        </p:nvGrpSpPr>
        <p:grpSpPr>
          <a:xfrm>
            <a:off x="9559925" y="2506663"/>
            <a:ext cx="576263" cy="433388"/>
            <a:chOff x="9559925" y="2506663"/>
            <a:chExt cx="576263" cy="433388"/>
          </a:xfrm>
          <a:solidFill>
            <a:schemeClr val="accent1"/>
          </a:solidFill>
        </p:grpSpPr>
        <p:sp>
          <p:nvSpPr>
            <p:cNvPr id="161" name="Freeform 360">
              <a:extLst>
                <a:ext uri="{FF2B5EF4-FFF2-40B4-BE49-F238E27FC236}">
                  <a16:creationId xmlns:a16="http://schemas.microsoft.com/office/drawing/2014/main" id="{85AF172E-4D83-4A3C-8DF9-75DCA1656B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59925" y="2506663"/>
              <a:ext cx="576263" cy="433388"/>
            </a:xfrm>
            <a:custGeom>
              <a:avLst/>
              <a:gdLst>
                <a:gd name="T0" fmla="*/ 479 w 1603"/>
                <a:gd name="T1" fmla="*/ 146 h 1203"/>
                <a:gd name="T2" fmla="*/ 513 w 1603"/>
                <a:gd name="T3" fmla="*/ 321 h 1203"/>
                <a:gd name="T4" fmla="*/ 306 w 1603"/>
                <a:gd name="T5" fmla="*/ 321 h 1203"/>
                <a:gd name="T6" fmla="*/ 479 w 1603"/>
                <a:gd name="T7" fmla="*/ 146 h 1203"/>
                <a:gd name="T8" fmla="*/ 1297 w 1603"/>
                <a:gd name="T9" fmla="*/ 321 h 1203"/>
                <a:gd name="T10" fmla="*/ 1095 w 1603"/>
                <a:gd name="T11" fmla="*/ 321 h 1203"/>
                <a:gd name="T12" fmla="*/ 1128 w 1603"/>
                <a:gd name="T13" fmla="*/ 151 h 1203"/>
                <a:gd name="T14" fmla="*/ 1297 w 1603"/>
                <a:gd name="T15" fmla="*/ 321 h 1203"/>
                <a:gd name="T16" fmla="*/ 1064 w 1603"/>
                <a:gd name="T17" fmla="*/ 481 h 1203"/>
                <a:gd name="T18" fmla="*/ 1298 w 1603"/>
                <a:gd name="T19" fmla="*/ 481 h 1203"/>
                <a:gd name="T20" fmla="*/ 1006 w 1603"/>
                <a:gd name="T21" fmla="*/ 772 h 1203"/>
                <a:gd name="T22" fmla="*/ 1064 w 1603"/>
                <a:gd name="T23" fmla="*/ 481 h 1203"/>
                <a:gd name="T24" fmla="*/ 645 w 1603"/>
                <a:gd name="T25" fmla="*/ 160 h 1203"/>
                <a:gd name="T26" fmla="*/ 962 w 1603"/>
                <a:gd name="T27" fmla="*/ 160 h 1203"/>
                <a:gd name="T28" fmla="*/ 930 w 1603"/>
                <a:gd name="T29" fmla="*/ 321 h 1203"/>
                <a:gd name="T30" fmla="*/ 677 w 1603"/>
                <a:gd name="T31" fmla="*/ 321 h 1203"/>
                <a:gd name="T32" fmla="*/ 645 w 1603"/>
                <a:gd name="T33" fmla="*/ 160 h 1203"/>
                <a:gd name="T34" fmla="*/ 603 w 1603"/>
                <a:gd name="T35" fmla="*/ 776 h 1203"/>
                <a:gd name="T36" fmla="*/ 308 w 1603"/>
                <a:gd name="T37" fmla="*/ 481 h 1203"/>
                <a:gd name="T38" fmla="*/ 544 w 1603"/>
                <a:gd name="T39" fmla="*/ 481 h 1203"/>
                <a:gd name="T40" fmla="*/ 603 w 1603"/>
                <a:gd name="T41" fmla="*/ 776 h 1203"/>
                <a:gd name="T42" fmla="*/ 801 w 1603"/>
                <a:gd name="T43" fmla="*/ 962 h 1203"/>
                <a:gd name="T44" fmla="*/ 801 w 1603"/>
                <a:gd name="T45" fmla="*/ 962 h 1203"/>
                <a:gd name="T46" fmla="*/ 708 w 1603"/>
                <a:gd name="T47" fmla="*/ 481 h 1203"/>
                <a:gd name="T48" fmla="*/ 899 w 1603"/>
                <a:gd name="T49" fmla="*/ 481 h 1203"/>
                <a:gd name="T50" fmla="*/ 805 w 1603"/>
                <a:gd name="T51" fmla="*/ 959 h 1203"/>
                <a:gd name="T52" fmla="*/ 801 w 1603"/>
                <a:gd name="T53" fmla="*/ 962 h 1203"/>
                <a:gd name="T54" fmla="*/ 1202 w 1603"/>
                <a:gd name="T55" fmla="*/ 0 h 1203"/>
                <a:gd name="T56" fmla="*/ 401 w 1603"/>
                <a:gd name="T57" fmla="*/ 0 h 1203"/>
                <a:gd name="T58" fmla="*/ 0 w 1603"/>
                <a:gd name="T59" fmla="*/ 401 h 1203"/>
                <a:gd name="T60" fmla="*/ 801 w 1603"/>
                <a:gd name="T61" fmla="*/ 1203 h 1203"/>
                <a:gd name="T62" fmla="*/ 1603 w 1603"/>
                <a:gd name="T63" fmla="*/ 401 h 1203"/>
                <a:gd name="T64" fmla="*/ 1202 w 1603"/>
                <a:gd name="T65" fmla="*/ 0 h 1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3" h="1203">
                  <a:moveTo>
                    <a:pt x="479" y="146"/>
                  </a:moveTo>
                  <a:lnTo>
                    <a:pt x="513" y="321"/>
                  </a:lnTo>
                  <a:lnTo>
                    <a:pt x="306" y="321"/>
                  </a:lnTo>
                  <a:lnTo>
                    <a:pt x="479" y="146"/>
                  </a:lnTo>
                  <a:close/>
                  <a:moveTo>
                    <a:pt x="1297" y="321"/>
                  </a:moveTo>
                  <a:lnTo>
                    <a:pt x="1095" y="321"/>
                  </a:lnTo>
                  <a:lnTo>
                    <a:pt x="1128" y="151"/>
                  </a:lnTo>
                  <a:lnTo>
                    <a:pt x="1297" y="321"/>
                  </a:lnTo>
                  <a:close/>
                  <a:moveTo>
                    <a:pt x="1064" y="481"/>
                  </a:moveTo>
                  <a:lnTo>
                    <a:pt x="1298" y="481"/>
                  </a:lnTo>
                  <a:lnTo>
                    <a:pt x="1006" y="772"/>
                  </a:lnTo>
                  <a:lnTo>
                    <a:pt x="1064" y="481"/>
                  </a:lnTo>
                  <a:close/>
                  <a:moveTo>
                    <a:pt x="645" y="160"/>
                  </a:moveTo>
                  <a:lnTo>
                    <a:pt x="962" y="160"/>
                  </a:lnTo>
                  <a:lnTo>
                    <a:pt x="930" y="321"/>
                  </a:lnTo>
                  <a:lnTo>
                    <a:pt x="677" y="321"/>
                  </a:lnTo>
                  <a:lnTo>
                    <a:pt x="645" y="160"/>
                  </a:lnTo>
                  <a:close/>
                  <a:moveTo>
                    <a:pt x="603" y="776"/>
                  </a:moveTo>
                  <a:lnTo>
                    <a:pt x="308" y="481"/>
                  </a:lnTo>
                  <a:lnTo>
                    <a:pt x="544" y="481"/>
                  </a:lnTo>
                  <a:lnTo>
                    <a:pt x="603" y="776"/>
                  </a:lnTo>
                  <a:close/>
                  <a:moveTo>
                    <a:pt x="801" y="962"/>
                  </a:moveTo>
                  <a:lnTo>
                    <a:pt x="801" y="962"/>
                  </a:lnTo>
                  <a:lnTo>
                    <a:pt x="708" y="481"/>
                  </a:lnTo>
                  <a:lnTo>
                    <a:pt x="899" y="481"/>
                  </a:lnTo>
                  <a:lnTo>
                    <a:pt x="805" y="959"/>
                  </a:lnTo>
                  <a:lnTo>
                    <a:pt x="801" y="962"/>
                  </a:lnTo>
                  <a:close/>
                  <a:moveTo>
                    <a:pt x="1202" y="0"/>
                  </a:moveTo>
                  <a:lnTo>
                    <a:pt x="401" y="0"/>
                  </a:lnTo>
                  <a:lnTo>
                    <a:pt x="0" y="401"/>
                  </a:lnTo>
                  <a:lnTo>
                    <a:pt x="801" y="1203"/>
                  </a:lnTo>
                  <a:lnTo>
                    <a:pt x="1603" y="401"/>
                  </a:lnTo>
                  <a:lnTo>
                    <a:pt x="120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2" name="Freeform 361">
              <a:extLst>
                <a:ext uri="{FF2B5EF4-FFF2-40B4-BE49-F238E27FC236}">
                  <a16:creationId xmlns:a16="http://schemas.microsoft.com/office/drawing/2014/main" id="{1B762B78-E61D-4CA6-B306-3655D5DBB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2825" y="2679700"/>
              <a:ext cx="176213" cy="204788"/>
            </a:xfrm>
            <a:custGeom>
              <a:avLst/>
              <a:gdLst>
                <a:gd name="T0" fmla="*/ 53 w 490"/>
                <a:gd name="T1" fmla="*/ 290 h 571"/>
                <a:gd name="T2" fmla="*/ 0 w 490"/>
                <a:gd name="T3" fmla="*/ 571 h 571"/>
                <a:gd name="T4" fmla="*/ 490 w 490"/>
                <a:gd name="T5" fmla="*/ 80 h 571"/>
                <a:gd name="T6" fmla="*/ 345 w 490"/>
                <a:gd name="T7" fmla="*/ 0 h 571"/>
                <a:gd name="T8" fmla="*/ 53 w 490"/>
                <a:gd name="T9" fmla="*/ 290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571">
                  <a:moveTo>
                    <a:pt x="53" y="290"/>
                  </a:moveTo>
                  <a:lnTo>
                    <a:pt x="0" y="571"/>
                  </a:lnTo>
                  <a:lnTo>
                    <a:pt x="490" y="80"/>
                  </a:lnTo>
                  <a:lnTo>
                    <a:pt x="345" y="0"/>
                  </a:lnTo>
                  <a:lnTo>
                    <a:pt x="53" y="2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77" name="Group 376">
            <a:extLst>
              <a:ext uri="{FF2B5EF4-FFF2-40B4-BE49-F238E27FC236}">
                <a16:creationId xmlns:a16="http://schemas.microsoft.com/office/drawing/2014/main" id="{94AB8C29-F852-4F6C-AA84-6A5A06ECD6F3}"/>
              </a:ext>
            </a:extLst>
          </p:cNvPr>
          <p:cNvGrpSpPr/>
          <p:nvPr/>
        </p:nvGrpSpPr>
        <p:grpSpPr>
          <a:xfrm>
            <a:off x="9613900" y="1457325"/>
            <a:ext cx="468313" cy="468313"/>
            <a:chOff x="9613900" y="1457325"/>
            <a:chExt cx="468313" cy="468313"/>
          </a:xfrm>
          <a:solidFill>
            <a:schemeClr val="accent1"/>
          </a:solidFill>
        </p:grpSpPr>
        <p:sp>
          <p:nvSpPr>
            <p:cNvPr id="163" name="Freeform 362">
              <a:extLst>
                <a:ext uri="{FF2B5EF4-FFF2-40B4-BE49-F238E27FC236}">
                  <a16:creationId xmlns:a16="http://schemas.microsoft.com/office/drawing/2014/main" id="{CAA42CC1-BA8E-4AA5-8DED-0A69C44E5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36138" y="1457325"/>
              <a:ext cx="346075" cy="468313"/>
            </a:xfrm>
            <a:custGeom>
              <a:avLst/>
              <a:gdLst>
                <a:gd name="T0" fmla="*/ 960 w 960"/>
                <a:gd name="T1" fmla="*/ 91 h 1298"/>
                <a:gd name="T2" fmla="*/ 132 w 960"/>
                <a:gd name="T3" fmla="*/ 1298 h 1298"/>
                <a:gd name="T4" fmla="*/ 0 w 960"/>
                <a:gd name="T5" fmla="*/ 1207 h 1298"/>
                <a:gd name="T6" fmla="*/ 828 w 960"/>
                <a:gd name="T7" fmla="*/ 0 h 1298"/>
                <a:gd name="T8" fmla="*/ 960 w 960"/>
                <a:gd name="T9" fmla="*/ 91 h 1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0" h="1298">
                  <a:moveTo>
                    <a:pt x="960" y="91"/>
                  </a:moveTo>
                  <a:lnTo>
                    <a:pt x="132" y="1298"/>
                  </a:lnTo>
                  <a:lnTo>
                    <a:pt x="0" y="1207"/>
                  </a:lnTo>
                  <a:lnTo>
                    <a:pt x="828" y="0"/>
                  </a:lnTo>
                  <a:lnTo>
                    <a:pt x="960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4" name="Freeform 363">
              <a:extLst>
                <a:ext uri="{FF2B5EF4-FFF2-40B4-BE49-F238E27FC236}">
                  <a16:creationId xmlns:a16="http://schemas.microsoft.com/office/drawing/2014/main" id="{E399F293-6DEA-467C-930C-36D7FB53F6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3900" y="1746250"/>
              <a:ext cx="169863" cy="179388"/>
            </a:xfrm>
            <a:custGeom>
              <a:avLst/>
              <a:gdLst>
                <a:gd name="T0" fmla="*/ 0 w 472"/>
                <a:gd name="T1" fmla="*/ 91 h 496"/>
                <a:gd name="T2" fmla="*/ 278 w 472"/>
                <a:gd name="T3" fmla="*/ 495 h 496"/>
                <a:gd name="T4" fmla="*/ 472 w 472"/>
                <a:gd name="T5" fmla="*/ 496 h 496"/>
                <a:gd name="T6" fmla="*/ 132 w 472"/>
                <a:gd name="T7" fmla="*/ 0 h 496"/>
                <a:gd name="T8" fmla="*/ 0 w 472"/>
                <a:gd name="T9" fmla="*/ 91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" h="496">
                  <a:moveTo>
                    <a:pt x="0" y="91"/>
                  </a:moveTo>
                  <a:lnTo>
                    <a:pt x="278" y="495"/>
                  </a:lnTo>
                  <a:lnTo>
                    <a:pt x="472" y="496"/>
                  </a:lnTo>
                  <a:lnTo>
                    <a:pt x="132" y="0"/>
                  </a:lnTo>
                  <a:lnTo>
                    <a:pt x="0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282101171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43ABDE32-7880-4C02-B561-4F79D855B028}"/>
              </a:ext>
            </a:extLst>
          </p:cNvPr>
          <p:cNvSpPr txBox="1">
            <a:spLocks/>
          </p:cNvSpPr>
          <p:nvPr/>
        </p:nvSpPr>
        <p:spPr>
          <a:xfrm>
            <a:off x="381000" y="2210786"/>
            <a:ext cx="4618703" cy="2436427"/>
          </a:xfrm>
          <a:prstGeom prst="rect">
            <a:avLst/>
          </a:prstGeom>
        </p:spPr>
        <p:txBody>
          <a:bodyPr wrap="square" lIns="0" tIns="72000" rIns="0" bIns="0" anchor="ctr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Lorem ipsum dolor sit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met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,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consectetur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dipiscing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elit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.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Sed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dictum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suscipit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nibh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quis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volutpat</a:t>
            </a:r>
            <a:endParaRPr lang="en-US" dirty="0">
              <a:solidFill>
                <a:schemeClr val="accent1"/>
              </a:solidFill>
              <a:latin typeface="Graphik Black" panose="020B0A030302020602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8A69B57-CDBF-4E96-A3AB-AC5C2B33BAE8}"/>
              </a:ext>
            </a:extLst>
          </p:cNvPr>
          <p:cNvCxnSpPr/>
          <p:nvPr/>
        </p:nvCxnSpPr>
        <p:spPr>
          <a:xfrm>
            <a:off x="5389783" y="923925"/>
            <a:ext cx="0" cy="501015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44CA2F7C-8D66-4139-8FC8-E8DEBA7211E8}"/>
              </a:ext>
            </a:extLst>
          </p:cNvPr>
          <p:cNvSpPr txBox="1">
            <a:spLocks/>
          </p:cNvSpPr>
          <p:nvPr/>
        </p:nvSpPr>
        <p:spPr>
          <a:xfrm>
            <a:off x="5779863" y="1293031"/>
            <a:ext cx="6031138" cy="427193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Praesent</a:t>
            </a:r>
            <a:r>
              <a:rPr lang="en-US" sz="2400" dirty="0">
                <a:latin typeface="+mj-lt"/>
              </a:rPr>
              <a:t>  in </a:t>
            </a:r>
            <a:r>
              <a:rPr lang="en-US" sz="2400" dirty="0" err="1">
                <a:latin typeface="+mj-lt"/>
              </a:rPr>
              <a:t>massa</a:t>
            </a:r>
            <a:r>
              <a:rPr lang="en-US" sz="2400" dirty="0">
                <a:latin typeface="+mj-lt"/>
              </a:rPr>
              <a:t> cursus, </a:t>
            </a:r>
            <a:r>
              <a:rPr lang="en-US" sz="2400" dirty="0" err="1">
                <a:latin typeface="+mj-lt"/>
              </a:rPr>
              <a:t>consectetur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lectus</a:t>
            </a:r>
            <a:r>
              <a:rPr lang="en-US" sz="2400" dirty="0">
                <a:latin typeface="+mj-lt"/>
              </a:rPr>
              <a:t> ac, dictum </a:t>
            </a:r>
            <a:r>
              <a:rPr lang="en-US" sz="2400" dirty="0" err="1">
                <a:latin typeface="+mj-lt"/>
              </a:rPr>
              <a:t>nulla</a:t>
            </a:r>
            <a:r>
              <a:rPr lang="en-US" sz="2400" dirty="0">
                <a:latin typeface="+mj-lt"/>
              </a:rPr>
              <a:t>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Morbi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laoree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condimentum</a:t>
            </a:r>
            <a:r>
              <a:rPr lang="en-US" sz="2400" dirty="0">
                <a:latin typeface="+mj-lt"/>
              </a:rPr>
              <a:t> mi, sit </a:t>
            </a:r>
            <a:r>
              <a:rPr lang="en-US" sz="2400" dirty="0" err="1">
                <a:latin typeface="+mj-lt"/>
              </a:rPr>
              <a:t>ame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vulputate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orci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aliquet</a:t>
            </a:r>
            <a:r>
              <a:rPr lang="en-US" sz="2400" dirty="0">
                <a:latin typeface="+mj-lt"/>
              </a:rPr>
              <a:t> et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Etiam</a:t>
            </a:r>
            <a:r>
              <a:rPr lang="en-US" sz="2400" dirty="0">
                <a:latin typeface="+mj-lt"/>
              </a:rPr>
              <a:t> pulvinar </a:t>
            </a:r>
            <a:r>
              <a:rPr lang="en-US" sz="2400" dirty="0" err="1">
                <a:latin typeface="+mj-lt"/>
              </a:rPr>
              <a:t>scelerisque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enim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sed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placerat</a:t>
            </a:r>
            <a:r>
              <a:rPr lang="en-US" sz="2400" dirty="0">
                <a:latin typeface="+mj-lt"/>
              </a:rPr>
              <a:t>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Quisque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fermentum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fringilla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lectus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vel</a:t>
            </a:r>
            <a:r>
              <a:rPr lang="en-US" sz="2400" dirty="0">
                <a:latin typeface="+mj-lt"/>
              </a:rPr>
              <a:t> vestibulum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>
                <a:latin typeface="+mj-lt"/>
              </a:rPr>
              <a:t>Nunc </a:t>
            </a:r>
            <a:r>
              <a:rPr lang="en-US" sz="2400" dirty="0" err="1">
                <a:latin typeface="+mj-lt"/>
              </a:rPr>
              <a:t>viverra</a:t>
            </a:r>
            <a:r>
              <a:rPr lang="en-US" sz="2400" dirty="0">
                <a:latin typeface="+mj-lt"/>
              </a:rPr>
              <a:t>, </a:t>
            </a:r>
            <a:r>
              <a:rPr lang="en-US" sz="2400" dirty="0" err="1">
                <a:latin typeface="+mj-lt"/>
              </a:rPr>
              <a:t>quam</a:t>
            </a:r>
            <a:r>
              <a:rPr lang="en-US" sz="2400" dirty="0">
                <a:latin typeface="+mj-lt"/>
              </a:rPr>
              <a:t> a </a:t>
            </a:r>
            <a:r>
              <a:rPr lang="en-US" sz="2400" dirty="0" err="1">
                <a:latin typeface="+mj-lt"/>
              </a:rPr>
              <a:t>mollis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varius</a:t>
            </a:r>
            <a:r>
              <a:rPr lang="en-US" sz="2400" dirty="0">
                <a:latin typeface="+mj-lt"/>
              </a:rPr>
              <a:t>, </a:t>
            </a:r>
            <a:r>
              <a:rPr lang="en-US" sz="2400" dirty="0" err="1">
                <a:latin typeface="+mj-lt"/>
              </a:rPr>
              <a:t>turpis</a:t>
            </a:r>
            <a:r>
              <a:rPr lang="en-US" sz="2400" dirty="0">
                <a:latin typeface="+mj-lt"/>
              </a:rPr>
              <a:t> ante </a:t>
            </a:r>
            <a:r>
              <a:rPr lang="en-US" sz="2400" dirty="0" err="1">
                <a:latin typeface="+mj-lt"/>
              </a:rPr>
              <a:t>tincidun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diam</a:t>
            </a:r>
            <a:r>
              <a:rPr lang="en-US" sz="2400" dirty="0">
                <a:latin typeface="+mj-lt"/>
              </a:rPr>
              <a:t>, </a:t>
            </a:r>
            <a:r>
              <a:rPr lang="en-US" sz="2400" dirty="0" err="1">
                <a:latin typeface="+mj-lt"/>
              </a:rPr>
              <a:t>ege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tincidun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arcu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metus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eu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justo</a:t>
            </a:r>
            <a:r>
              <a:rPr lang="en-US" sz="2400" dirty="0">
                <a:latin typeface="+mj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616600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E51FC03-60D8-4B12-99A0-99502446E37D}"/>
              </a:ext>
            </a:extLst>
          </p:cNvPr>
          <p:cNvSpPr txBox="1">
            <a:spLocks/>
          </p:cNvSpPr>
          <p:nvPr/>
        </p:nvSpPr>
        <p:spPr>
          <a:xfrm>
            <a:off x="381000" y="3033962"/>
            <a:ext cx="11430000" cy="790075"/>
          </a:xfrm>
          <a:prstGeom prst="rect">
            <a:avLst/>
          </a:prstGeom>
        </p:spPr>
        <p:txBody>
          <a:bodyPr vert="horz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54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Pre requisites</a:t>
            </a:r>
          </a:p>
        </p:txBody>
      </p:sp>
    </p:spTree>
    <p:extLst>
      <p:ext uri="{BB962C8B-B14F-4D97-AF65-F5344CB8AC3E}">
        <p14:creationId xmlns:p14="http://schemas.microsoft.com/office/powerpoint/2010/main" val="138985457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43ABDE32-7880-4C02-B561-4F79D855B028}"/>
              </a:ext>
            </a:extLst>
          </p:cNvPr>
          <p:cNvSpPr txBox="1">
            <a:spLocks/>
          </p:cNvSpPr>
          <p:nvPr/>
        </p:nvSpPr>
        <p:spPr>
          <a:xfrm>
            <a:off x="381000" y="381913"/>
            <a:ext cx="3960000" cy="183877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Lorem ipsum dolor sit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met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,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consectetur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dipiscing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elit</a:t>
            </a:r>
            <a:endParaRPr lang="en-US" dirty="0">
              <a:solidFill>
                <a:schemeClr val="accent1"/>
              </a:solidFill>
              <a:latin typeface="Graphik Black" panose="020B0A03030202060203" pitchFamily="34" charset="0"/>
            </a:endParaRP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04EC3D11-EE45-471F-AFD7-1913AEB98536}"/>
              </a:ext>
            </a:extLst>
          </p:cNvPr>
          <p:cNvSpPr txBox="1">
            <a:spLocks/>
          </p:cNvSpPr>
          <p:nvPr/>
        </p:nvSpPr>
        <p:spPr>
          <a:xfrm>
            <a:off x="381000" y="2268000"/>
            <a:ext cx="3960000" cy="27422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defTabSz="91437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1" cap="none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1950" indent="-184150" defTabSz="914377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6575" indent="-174625" defTabSz="914377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85783" indent="-171446" defTabSz="914377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4pPr>
            <a:lvl5pPr marL="857229" indent="-177796" defTabSz="914377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/>
            </a:lvl5pPr>
            <a:lvl6pPr marL="1028674" indent="-17303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6pPr>
            <a:lvl7pPr marL="55561" indent="0" defTabSz="914377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cap="all" baseline="0">
                <a:latin typeface="+mj-lt"/>
              </a:defRPr>
            </a:lvl7pPr>
            <a:lvl8pPr marL="55561" indent="0" defTabSz="91437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baseline="0"/>
            </a:lvl8pPr>
            <a:lvl9pPr marL="55561" indent="0" defTabSz="914377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/>
            </a:lvl9pPr>
          </a:lstStyle>
          <a:p>
            <a:r>
              <a:rPr lang="en-US" b="0" dirty="0" err="1">
                <a:latin typeface="Graphik Medium" panose="020B0603030202060203" pitchFamily="34" charset="0"/>
              </a:rPr>
              <a:t>Praesent</a:t>
            </a:r>
            <a:r>
              <a:rPr lang="en-US" b="0" dirty="0">
                <a:latin typeface="Graphik Medium" panose="020B0603030202060203" pitchFamily="34" charset="0"/>
              </a:rPr>
              <a:t>  in </a:t>
            </a:r>
            <a:r>
              <a:rPr lang="en-US" b="0" dirty="0" err="1">
                <a:latin typeface="Graphik Medium" panose="020B0603030202060203" pitchFamily="34" charset="0"/>
              </a:rPr>
              <a:t>massa</a:t>
            </a:r>
            <a:r>
              <a:rPr lang="en-US" b="0" dirty="0">
                <a:latin typeface="Graphik Medium" panose="020B0603030202060203" pitchFamily="34" charset="0"/>
              </a:rPr>
              <a:t> cursus, </a:t>
            </a:r>
            <a:r>
              <a:rPr lang="en-US" b="0" dirty="0" err="1">
                <a:latin typeface="Graphik Medium" panose="020B0603030202060203" pitchFamily="34" charset="0"/>
              </a:rPr>
              <a:t>consectetur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lectus</a:t>
            </a:r>
            <a:r>
              <a:rPr lang="en-US" b="0" dirty="0">
                <a:latin typeface="Graphik Medium" panose="020B0603030202060203" pitchFamily="34" charset="0"/>
              </a:rPr>
              <a:t> ac, dictum </a:t>
            </a:r>
            <a:r>
              <a:rPr lang="en-US" b="0" dirty="0" err="1">
                <a:latin typeface="Graphik Medium" panose="020B0603030202060203" pitchFamily="34" charset="0"/>
              </a:rPr>
              <a:t>nulla</a:t>
            </a:r>
            <a:r>
              <a:rPr lang="en-US" b="0" dirty="0">
                <a:latin typeface="Graphik Medium" panose="020B0603030202060203" pitchFamily="34" charset="0"/>
              </a:rPr>
              <a:t>. </a:t>
            </a:r>
            <a:r>
              <a:rPr lang="en-US" b="0" dirty="0" err="1">
                <a:latin typeface="Graphik Medium" panose="020B0603030202060203" pitchFamily="34" charset="0"/>
              </a:rPr>
              <a:t>Morbi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laoreet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condimentum</a:t>
            </a:r>
            <a:r>
              <a:rPr lang="en-US" b="0" dirty="0">
                <a:latin typeface="Graphik Medium" panose="020B0603030202060203" pitchFamily="34" charset="0"/>
              </a:rPr>
              <a:t> mi, sit </a:t>
            </a:r>
            <a:r>
              <a:rPr lang="en-US" b="0" dirty="0" err="1">
                <a:latin typeface="Graphik Medium" panose="020B0603030202060203" pitchFamily="34" charset="0"/>
              </a:rPr>
              <a:t>amet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vulputate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orci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aliquet</a:t>
            </a:r>
            <a:r>
              <a:rPr lang="en-US" b="0" dirty="0">
                <a:latin typeface="Graphik Medium" panose="020B0603030202060203" pitchFamily="34" charset="0"/>
              </a:rPr>
              <a:t> et. </a:t>
            </a:r>
            <a:r>
              <a:rPr lang="en-US" b="0" dirty="0" err="1">
                <a:latin typeface="Graphik Medium" panose="020B0603030202060203" pitchFamily="34" charset="0"/>
              </a:rPr>
              <a:t>Etiam</a:t>
            </a:r>
            <a:r>
              <a:rPr lang="en-US" b="0" dirty="0">
                <a:latin typeface="Graphik Medium" panose="020B0603030202060203" pitchFamily="34" charset="0"/>
              </a:rPr>
              <a:t> pulvinar </a:t>
            </a:r>
            <a:r>
              <a:rPr lang="en-US" b="0" dirty="0" err="1">
                <a:latin typeface="Graphik Medium" panose="020B0603030202060203" pitchFamily="34" charset="0"/>
              </a:rPr>
              <a:t>scelerisque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enim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sed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placerat</a:t>
            </a:r>
            <a:r>
              <a:rPr lang="en-US" b="0" dirty="0">
                <a:latin typeface="Graphik Medium" panose="020B0603030202060203" pitchFamily="34" charset="0"/>
              </a:rPr>
              <a:t>. </a:t>
            </a:r>
            <a:r>
              <a:rPr lang="en-US" b="0" dirty="0" err="1">
                <a:latin typeface="Graphik Medium" panose="020B0603030202060203" pitchFamily="34" charset="0"/>
              </a:rPr>
              <a:t>Quisque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fermentum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fringilla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lectus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vel</a:t>
            </a:r>
            <a:r>
              <a:rPr lang="en-US" b="0" dirty="0">
                <a:latin typeface="Graphik Medium" panose="020B0603030202060203" pitchFamily="34" charset="0"/>
              </a:rPr>
              <a:t> vestibulum.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D528CFB-3499-4916-9E87-7B30FAD90CE3}"/>
              </a:ext>
            </a:extLst>
          </p:cNvPr>
          <p:cNvSpPr/>
          <p:nvPr/>
        </p:nvSpPr>
        <p:spPr>
          <a:xfrm>
            <a:off x="4896465" y="381913"/>
            <a:ext cx="6914535" cy="599983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MAGE, ILLUSTRATION,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TEXT, GRAPH ETC.</a:t>
            </a:r>
          </a:p>
        </p:txBody>
      </p:sp>
    </p:spTree>
    <p:extLst>
      <p:ext uri="{BB962C8B-B14F-4D97-AF65-F5344CB8AC3E}">
        <p14:creationId xmlns:p14="http://schemas.microsoft.com/office/powerpoint/2010/main" val="394839472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1EB27EF-DB5E-442B-A36D-E78F4F9A9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</p:spPr>
        <p:txBody>
          <a:bodyPr/>
          <a:lstStyle/>
          <a:p>
            <a:r>
              <a:rPr lang="en-US"/>
              <a:t>header</a:t>
            </a:r>
            <a:endParaRPr lang="en-US" dirty="0"/>
          </a:p>
        </p:txBody>
      </p:sp>
      <p:grpSp>
        <p:nvGrpSpPr>
          <p:cNvPr id="53" name="Group 4">
            <a:extLst>
              <a:ext uri="{FF2B5EF4-FFF2-40B4-BE49-F238E27FC236}">
                <a16:creationId xmlns:a16="http://schemas.microsoft.com/office/drawing/2014/main" id="{5CE8A991-EC05-4760-86AF-7996F7D2AFC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36922" y="1421583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54" name="Freeform 5">
              <a:extLst>
                <a:ext uri="{FF2B5EF4-FFF2-40B4-BE49-F238E27FC236}">
                  <a16:creationId xmlns:a16="http://schemas.microsoft.com/office/drawing/2014/main" id="{08A169A3-A242-43EB-BBCC-2C0D734482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E5DF08E7-82A8-4CE2-8D08-31A97D37D9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56" name="Content Placeholder 1">
            <a:extLst>
              <a:ext uri="{FF2B5EF4-FFF2-40B4-BE49-F238E27FC236}">
                <a16:creationId xmlns:a16="http://schemas.microsoft.com/office/drawing/2014/main" id="{B7831F86-BFFB-4898-9CC2-AD86D78A0B59}"/>
              </a:ext>
            </a:extLst>
          </p:cNvPr>
          <p:cNvSpPr txBox="1">
            <a:spLocks/>
          </p:cNvSpPr>
          <p:nvPr/>
        </p:nvSpPr>
        <p:spPr>
          <a:xfrm>
            <a:off x="3692572" y="1422400"/>
            <a:ext cx="3492000" cy="210262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  <a:ea typeface="+mj-ea"/>
                <a:cs typeface="+mj-cs"/>
              </a:rPr>
              <a:t>titl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  <p:grpSp>
        <p:nvGrpSpPr>
          <p:cNvPr id="28" name="Group 4">
            <a:extLst>
              <a:ext uri="{FF2B5EF4-FFF2-40B4-BE49-F238E27FC236}">
                <a16:creationId xmlns:a16="http://schemas.microsoft.com/office/drawing/2014/main" id="{D0E363AE-6C38-4984-A687-A87ED0913BD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563350" y="1421583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2D4B4CE6-D103-4758-ABDF-16A4ADD184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0EC1BFC2-FA18-4665-B7CD-5B127BAF19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D6351E0C-8C55-4593-964E-6E6489D8DDD6}"/>
              </a:ext>
            </a:extLst>
          </p:cNvPr>
          <p:cNvSpPr txBox="1">
            <a:spLocks/>
          </p:cNvSpPr>
          <p:nvPr/>
        </p:nvSpPr>
        <p:spPr>
          <a:xfrm>
            <a:off x="8319000" y="1422400"/>
            <a:ext cx="3492000" cy="210262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titl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  <p:grpSp>
        <p:nvGrpSpPr>
          <p:cNvPr id="32" name="Group 4">
            <a:extLst>
              <a:ext uri="{FF2B5EF4-FFF2-40B4-BE49-F238E27FC236}">
                <a16:creationId xmlns:a16="http://schemas.microsoft.com/office/drawing/2014/main" id="{F88E7151-1FE4-4E17-9A7F-5E8D5236A3E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36922" y="3859983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F5D1C72A-DC10-45C5-A2D0-B8F55F80D3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085CEC43-880E-4564-ACC3-8ACA643E8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35" name="Content Placeholder 1">
            <a:extLst>
              <a:ext uri="{FF2B5EF4-FFF2-40B4-BE49-F238E27FC236}">
                <a16:creationId xmlns:a16="http://schemas.microsoft.com/office/drawing/2014/main" id="{A62D1355-91DB-4F25-AE52-569B9C11B164}"/>
              </a:ext>
            </a:extLst>
          </p:cNvPr>
          <p:cNvSpPr txBox="1">
            <a:spLocks/>
          </p:cNvSpPr>
          <p:nvPr/>
        </p:nvSpPr>
        <p:spPr>
          <a:xfrm>
            <a:off x="3692572" y="3860800"/>
            <a:ext cx="3492000" cy="210262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titl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  <p:grpSp>
        <p:nvGrpSpPr>
          <p:cNvPr id="36" name="Group 4">
            <a:extLst>
              <a:ext uri="{FF2B5EF4-FFF2-40B4-BE49-F238E27FC236}">
                <a16:creationId xmlns:a16="http://schemas.microsoft.com/office/drawing/2014/main" id="{A6DED9CE-3095-4D81-9A24-AB7FB5589F9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563350" y="3859983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DB443E07-7C13-401A-9E17-5B47545FDA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3BC475E-69FD-4E03-A89F-A447AB3152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39" name="Content Placeholder 1">
            <a:extLst>
              <a:ext uri="{FF2B5EF4-FFF2-40B4-BE49-F238E27FC236}">
                <a16:creationId xmlns:a16="http://schemas.microsoft.com/office/drawing/2014/main" id="{ECFA4870-DC49-4EB8-8870-FB90397732D5}"/>
              </a:ext>
            </a:extLst>
          </p:cNvPr>
          <p:cNvSpPr txBox="1">
            <a:spLocks/>
          </p:cNvSpPr>
          <p:nvPr/>
        </p:nvSpPr>
        <p:spPr>
          <a:xfrm>
            <a:off x="8319000" y="3860800"/>
            <a:ext cx="3492000" cy="210262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titl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B3046F0-93AC-4B3B-8F81-E03A8F7ADC5C}"/>
              </a:ext>
            </a:extLst>
          </p:cNvPr>
          <p:cNvSpPr/>
          <p:nvPr/>
        </p:nvSpPr>
        <p:spPr>
          <a:xfrm>
            <a:off x="381001" y="1412876"/>
            <a:ext cx="21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IMAGE OR ILLUSTRATION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2385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1EB27EF-DB5E-442B-A36D-E78F4F9A9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</p:spPr>
        <p:txBody>
          <a:bodyPr/>
          <a:lstStyle/>
          <a:p>
            <a:r>
              <a:rPr lang="en-US"/>
              <a:t>header</a:t>
            </a:r>
            <a:endParaRPr lang="en-US" dirty="0"/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612F3D35-782C-4819-BF9B-D209396203B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821000" y="1658277"/>
            <a:ext cx="720000" cy="722046"/>
            <a:chOff x="3489" y="1808"/>
            <a:chExt cx="703" cy="705"/>
          </a:xfrm>
          <a:solidFill>
            <a:schemeClr val="accent5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939AEE69-F554-47AB-BEF3-6E92539F52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7AF577F7-1FFD-4B89-9357-BA0D767FA8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0" name="Title 2">
            <a:extLst>
              <a:ext uri="{FF2B5EF4-FFF2-40B4-BE49-F238E27FC236}">
                <a16:creationId xmlns:a16="http://schemas.microsoft.com/office/drawing/2014/main" id="{7B09939E-831C-4734-8C87-CC45C7A9FA56}"/>
              </a:ext>
            </a:extLst>
          </p:cNvPr>
          <p:cNvSpPr txBox="1">
            <a:spLocks/>
          </p:cNvSpPr>
          <p:nvPr/>
        </p:nvSpPr>
        <p:spPr>
          <a:xfrm>
            <a:off x="713957" y="2509997"/>
            <a:ext cx="2934086" cy="3026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4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32579974-DB0B-4AD3-AF6C-8B8AB027E935}"/>
              </a:ext>
            </a:extLst>
          </p:cNvPr>
          <p:cNvSpPr txBox="1">
            <a:spLocks/>
          </p:cNvSpPr>
          <p:nvPr/>
        </p:nvSpPr>
        <p:spPr>
          <a:xfrm>
            <a:off x="381000" y="2982369"/>
            <a:ext cx="3600000" cy="2003625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Praesent</a:t>
            </a:r>
            <a:r>
              <a:rPr lang="en-US" sz="1600" dirty="0">
                <a:latin typeface="+mj-lt"/>
              </a:rPr>
              <a:t>  in </a:t>
            </a:r>
            <a:r>
              <a:rPr lang="en-US" sz="1600" dirty="0" err="1">
                <a:latin typeface="+mj-lt"/>
              </a:rPr>
              <a:t>massa</a:t>
            </a:r>
            <a:r>
              <a:rPr lang="en-US" sz="1600" dirty="0">
                <a:latin typeface="+mj-lt"/>
              </a:rPr>
              <a:t> cursus, </a:t>
            </a:r>
            <a:r>
              <a:rPr lang="en-US" sz="1600" dirty="0" err="1">
                <a:latin typeface="+mj-lt"/>
              </a:rPr>
              <a:t>consectetur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ectus</a:t>
            </a:r>
            <a:r>
              <a:rPr lang="en-US" sz="1600" dirty="0">
                <a:latin typeface="+mj-lt"/>
              </a:rPr>
              <a:t> ac, dictum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Morbi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aoreet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condimentum</a:t>
            </a:r>
            <a:r>
              <a:rPr lang="en-US" sz="1600" dirty="0">
                <a:latin typeface="+mj-lt"/>
              </a:rPr>
              <a:t> mi, sit </a:t>
            </a:r>
            <a:r>
              <a:rPr lang="en-US" sz="1600" dirty="0" err="1">
                <a:latin typeface="+mj-lt"/>
              </a:rPr>
              <a:t>amet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vulputat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orci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aliquet</a:t>
            </a:r>
            <a:r>
              <a:rPr lang="en-US" sz="1600" dirty="0">
                <a:latin typeface="+mj-lt"/>
              </a:rPr>
              <a:t> et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Etiam</a:t>
            </a:r>
            <a:r>
              <a:rPr lang="en-US" sz="1600" dirty="0">
                <a:latin typeface="+mj-lt"/>
              </a:rPr>
              <a:t> pulvinar </a:t>
            </a:r>
            <a:r>
              <a:rPr lang="en-US" sz="1600" dirty="0" err="1">
                <a:latin typeface="+mj-lt"/>
              </a:rPr>
              <a:t>scelerisqu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enim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sed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placerat</a:t>
            </a:r>
            <a:r>
              <a:rPr lang="en-US" sz="1600" dirty="0">
                <a:latin typeface="+mj-lt"/>
              </a:rPr>
              <a:t>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Quisqu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fermentum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fringilla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ectus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vel</a:t>
            </a:r>
            <a:r>
              <a:rPr lang="en-US" sz="1600" dirty="0">
                <a:latin typeface="+mj-lt"/>
              </a:rPr>
              <a:t> vestibulum. </a:t>
            </a:r>
          </a:p>
        </p:txBody>
      </p:sp>
      <p:grpSp>
        <p:nvGrpSpPr>
          <p:cNvPr id="16" name="Group 4">
            <a:extLst>
              <a:ext uri="{FF2B5EF4-FFF2-40B4-BE49-F238E27FC236}">
                <a16:creationId xmlns:a16="http://schemas.microsoft.com/office/drawing/2014/main" id="{11BD179B-E6C4-4EED-9F3C-B0362354C20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36000" y="1658277"/>
            <a:ext cx="720000" cy="722046"/>
            <a:chOff x="3489" y="1808"/>
            <a:chExt cx="703" cy="705"/>
          </a:xfrm>
          <a:solidFill>
            <a:schemeClr val="accent5"/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7B6AB8B8-26D2-4C54-9736-95360297D5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A7205DE-2084-4EF0-B24C-76DD29DED5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9" name="Title 2">
            <a:extLst>
              <a:ext uri="{FF2B5EF4-FFF2-40B4-BE49-F238E27FC236}">
                <a16:creationId xmlns:a16="http://schemas.microsoft.com/office/drawing/2014/main" id="{5C3F49C2-1016-401C-BA94-CC8099E91C44}"/>
              </a:ext>
            </a:extLst>
          </p:cNvPr>
          <p:cNvSpPr txBox="1">
            <a:spLocks/>
          </p:cNvSpPr>
          <p:nvPr/>
        </p:nvSpPr>
        <p:spPr>
          <a:xfrm>
            <a:off x="4628957" y="2509997"/>
            <a:ext cx="2934086" cy="3026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4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0E666CF3-A0C6-478A-915B-57798A5CFC3B}"/>
              </a:ext>
            </a:extLst>
          </p:cNvPr>
          <p:cNvSpPr txBox="1">
            <a:spLocks/>
          </p:cNvSpPr>
          <p:nvPr/>
        </p:nvSpPr>
        <p:spPr>
          <a:xfrm>
            <a:off x="4296000" y="2982369"/>
            <a:ext cx="3600000" cy="2003625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Praesent</a:t>
            </a:r>
            <a:r>
              <a:rPr lang="en-US" sz="1600" dirty="0">
                <a:latin typeface="+mj-lt"/>
              </a:rPr>
              <a:t>  in </a:t>
            </a:r>
            <a:r>
              <a:rPr lang="en-US" sz="1600" dirty="0" err="1">
                <a:latin typeface="+mj-lt"/>
              </a:rPr>
              <a:t>massa</a:t>
            </a:r>
            <a:r>
              <a:rPr lang="en-US" sz="1600" dirty="0">
                <a:latin typeface="+mj-lt"/>
              </a:rPr>
              <a:t> cursus, </a:t>
            </a:r>
            <a:r>
              <a:rPr lang="en-US" sz="1600" dirty="0" err="1">
                <a:latin typeface="+mj-lt"/>
              </a:rPr>
              <a:t>consectetur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ectus</a:t>
            </a:r>
            <a:r>
              <a:rPr lang="en-US" sz="1600" dirty="0">
                <a:latin typeface="+mj-lt"/>
              </a:rPr>
              <a:t> ac, dictum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Morbi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aoreet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condimentum</a:t>
            </a:r>
            <a:r>
              <a:rPr lang="en-US" sz="1600" dirty="0">
                <a:latin typeface="+mj-lt"/>
              </a:rPr>
              <a:t> mi, sit </a:t>
            </a:r>
            <a:r>
              <a:rPr lang="en-US" sz="1600" dirty="0" err="1">
                <a:latin typeface="+mj-lt"/>
              </a:rPr>
              <a:t>amet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vulputat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orci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aliquet</a:t>
            </a:r>
            <a:r>
              <a:rPr lang="en-US" sz="1600" dirty="0">
                <a:latin typeface="+mj-lt"/>
              </a:rPr>
              <a:t> et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Etiam</a:t>
            </a:r>
            <a:r>
              <a:rPr lang="en-US" sz="1600" dirty="0">
                <a:latin typeface="+mj-lt"/>
              </a:rPr>
              <a:t> pulvinar </a:t>
            </a:r>
            <a:r>
              <a:rPr lang="en-US" sz="1600" dirty="0" err="1">
                <a:latin typeface="+mj-lt"/>
              </a:rPr>
              <a:t>scelerisqu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enim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sed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placerat</a:t>
            </a:r>
            <a:r>
              <a:rPr lang="en-US" sz="1600" dirty="0">
                <a:latin typeface="+mj-lt"/>
              </a:rPr>
              <a:t>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Quisqu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fermentum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fringilla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ectus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vel</a:t>
            </a:r>
            <a:r>
              <a:rPr lang="en-US" sz="1600" dirty="0">
                <a:latin typeface="+mj-lt"/>
              </a:rPr>
              <a:t> vestibulum. </a:t>
            </a:r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C2651EE-E121-4BFA-B2F3-44D9CD57873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51000" y="1658277"/>
            <a:ext cx="720000" cy="722046"/>
            <a:chOff x="3489" y="1808"/>
            <a:chExt cx="703" cy="705"/>
          </a:xfrm>
          <a:solidFill>
            <a:schemeClr val="accent5"/>
          </a:solidFill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E6922137-2B57-4A7C-82E2-0783C2E03F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103DC97-1632-49AA-A43C-2B75B547BE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24" name="Title 2">
            <a:extLst>
              <a:ext uri="{FF2B5EF4-FFF2-40B4-BE49-F238E27FC236}">
                <a16:creationId xmlns:a16="http://schemas.microsoft.com/office/drawing/2014/main" id="{1489B7EE-6951-4459-9C82-9DFD6CAE3F05}"/>
              </a:ext>
            </a:extLst>
          </p:cNvPr>
          <p:cNvSpPr txBox="1">
            <a:spLocks/>
          </p:cNvSpPr>
          <p:nvPr/>
        </p:nvSpPr>
        <p:spPr>
          <a:xfrm>
            <a:off x="8543957" y="2509997"/>
            <a:ext cx="2934086" cy="3026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4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25" name="Content Placeholder 1">
            <a:extLst>
              <a:ext uri="{FF2B5EF4-FFF2-40B4-BE49-F238E27FC236}">
                <a16:creationId xmlns:a16="http://schemas.microsoft.com/office/drawing/2014/main" id="{5DEC6880-DD2E-4765-8826-948261295A96}"/>
              </a:ext>
            </a:extLst>
          </p:cNvPr>
          <p:cNvSpPr txBox="1">
            <a:spLocks/>
          </p:cNvSpPr>
          <p:nvPr/>
        </p:nvSpPr>
        <p:spPr>
          <a:xfrm>
            <a:off x="8211000" y="2982369"/>
            <a:ext cx="3600000" cy="2003625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Praesent</a:t>
            </a:r>
            <a:r>
              <a:rPr lang="en-US" sz="1600" dirty="0">
                <a:latin typeface="+mj-lt"/>
              </a:rPr>
              <a:t>  in </a:t>
            </a:r>
            <a:r>
              <a:rPr lang="en-US" sz="1600" dirty="0" err="1">
                <a:latin typeface="+mj-lt"/>
              </a:rPr>
              <a:t>massa</a:t>
            </a:r>
            <a:r>
              <a:rPr lang="en-US" sz="1600" dirty="0">
                <a:latin typeface="+mj-lt"/>
              </a:rPr>
              <a:t> cursus, </a:t>
            </a:r>
            <a:r>
              <a:rPr lang="en-US" sz="1600" dirty="0" err="1">
                <a:latin typeface="+mj-lt"/>
              </a:rPr>
              <a:t>consectetur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ectus</a:t>
            </a:r>
            <a:r>
              <a:rPr lang="en-US" sz="1600" dirty="0">
                <a:latin typeface="+mj-lt"/>
              </a:rPr>
              <a:t> ac, dictum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Morbi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aoreet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condimentum</a:t>
            </a:r>
            <a:r>
              <a:rPr lang="en-US" sz="1600" dirty="0">
                <a:latin typeface="+mj-lt"/>
              </a:rPr>
              <a:t> mi, sit </a:t>
            </a:r>
            <a:r>
              <a:rPr lang="en-US" sz="1600" dirty="0" err="1">
                <a:latin typeface="+mj-lt"/>
              </a:rPr>
              <a:t>amet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vulputat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orci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aliquet</a:t>
            </a:r>
            <a:r>
              <a:rPr lang="en-US" sz="1600" dirty="0">
                <a:latin typeface="+mj-lt"/>
              </a:rPr>
              <a:t> et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Etiam</a:t>
            </a:r>
            <a:r>
              <a:rPr lang="en-US" sz="1600" dirty="0">
                <a:latin typeface="+mj-lt"/>
              </a:rPr>
              <a:t> pulvinar </a:t>
            </a:r>
            <a:r>
              <a:rPr lang="en-US" sz="1600" dirty="0" err="1">
                <a:latin typeface="+mj-lt"/>
              </a:rPr>
              <a:t>scelerisqu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enim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sed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placerat</a:t>
            </a:r>
            <a:r>
              <a:rPr lang="en-US" sz="1600" dirty="0">
                <a:latin typeface="+mj-lt"/>
              </a:rPr>
              <a:t>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Quisqu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fermentum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fringilla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ectus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vel</a:t>
            </a:r>
            <a:r>
              <a:rPr lang="en-US" sz="1600" dirty="0">
                <a:latin typeface="+mj-lt"/>
              </a:rPr>
              <a:t> vestibulum.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5AB7959-EC13-4D9C-94BE-B42AB40392EA}"/>
              </a:ext>
            </a:extLst>
          </p:cNvPr>
          <p:cNvGrpSpPr/>
          <p:nvPr/>
        </p:nvGrpSpPr>
        <p:grpSpPr>
          <a:xfrm>
            <a:off x="4165667" y="1658277"/>
            <a:ext cx="3887833" cy="3327717"/>
            <a:chOff x="4165667" y="1658277"/>
            <a:chExt cx="3887833" cy="501015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6359F22-611F-4831-B86A-30F0ECE11919}"/>
                </a:ext>
              </a:extLst>
            </p:cNvPr>
            <p:cNvCxnSpPr/>
            <p:nvPr/>
          </p:nvCxnSpPr>
          <p:spPr>
            <a:xfrm>
              <a:off x="4165667" y="1658277"/>
              <a:ext cx="0" cy="5010150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8251C33-E611-48EE-A740-5C57AF0B1C2B}"/>
                </a:ext>
              </a:extLst>
            </p:cNvPr>
            <p:cNvCxnSpPr/>
            <p:nvPr/>
          </p:nvCxnSpPr>
          <p:spPr>
            <a:xfrm>
              <a:off x="8053500" y="1658277"/>
              <a:ext cx="0" cy="5010150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2959505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1EB27EF-DB5E-442B-A36D-E78F4F9A9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</p:spPr>
        <p:txBody>
          <a:bodyPr/>
          <a:lstStyle/>
          <a:p>
            <a:r>
              <a:rPr lang="en-US"/>
              <a:t>header</a:t>
            </a:r>
            <a:endParaRPr lang="en-US" dirty="0"/>
          </a:p>
        </p:txBody>
      </p:sp>
      <p:grpSp>
        <p:nvGrpSpPr>
          <p:cNvPr id="29" name="Group 4">
            <a:extLst>
              <a:ext uri="{FF2B5EF4-FFF2-40B4-BE49-F238E27FC236}">
                <a16:creationId xmlns:a16="http://schemas.microsoft.com/office/drawing/2014/main" id="{7EB06D69-F392-4A4E-845D-FE2CFF18C74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89918" y="1656000"/>
            <a:ext cx="646164" cy="648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CD5EBACE-D221-43D5-9A97-8D53997F25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A96FBF7A-6D2E-4671-A88E-5539A68087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32" name="Title 2">
            <a:extLst>
              <a:ext uri="{FF2B5EF4-FFF2-40B4-BE49-F238E27FC236}">
                <a16:creationId xmlns:a16="http://schemas.microsoft.com/office/drawing/2014/main" id="{9E2D9B11-9506-4C87-BFF4-5F435B903FEB}"/>
              </a:ext>
            </a:extLst>
          </p:cNvPr>
          <p:cNvSpPr txBox="1">
            <a:spLocks/>
          </p:cNvSpPr>
          <p:nvPr/>
        </p:nvSpPr>
        <p:spPr>
          <a:xfrm>
            <a:off x="381000" y="2448000"/>
            <a:ext cx="2664000" cy="2522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0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33" name="Content Placeholder 1">
            <a:extLst>
              <a:ext uri="{FF2B5EF4-FFF2-40B4-BE49-F238E27FC236}">
                <a16:creationId xmlns:a16="http://schemas.microsoft.com/office/drawing/2014/main" id="{3BA2122D-9049-4924-9581-2EB67C9195AF}"/>
              </a:ext>
            </a:extLst>
          </p:cNvPr>
          <p:cNvSpPr txBox="1">
            <a:spLocks/>
          </p:cNvSpPr>
          <p:nvPr/>
        </p:nvSpPr>
        <p:spPr>
          <a:xfrm>
            <a:off x="381000" y="2772000"/>
            <a:ext cx="2664000" cy="2231380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Praesent</a:t>
            </a:r>
            <a:r>
              <a:rPr lang="en-US" sz="1500" dirty="0">
                <a:latin typeface="+mn-lt"/>
              </a:rPr>
              <a:t>  in </a:t>
            </a:r>
            <a:r>
              <a:rPr lang="en-US" sz="1500" dirty="0" err="1">
                <a:latin typeface="+mn-lt"/>
              </a:rPr>
              <a:t>massa</a:t>
            </a:r>
            <a:r>
              <a:rPr lang="en-US" sz="1500" dirty="0">
                <a:latin typeface="+mn-lt"/>
              </a:rPr>
              <a:t> cursus, </a:t>
            </a:r>
            <a:r>
              <a:rPr lang="en-US" sz="1500" dirty="0" err="1">
                <a:latin typeface="+mn-lt"/>
              </a:rPr>
              <a:t>consectetur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ectus</a:t>
            </a:r>
            <a:r>
              <a:rPr lang="en-US" sz="1500" dirty="0">
                <a:latin typeface="+mn-lt"/>
              </a:rPr>
              <a:t> ac, dictum </a:t>
            </a:r>
            <a:r>
              <a:rPr lang="en-US" sz="1500" dirty="0" err="1">
                <a:latin typeface="+mn-lt"/>
              </a:rPr>
              <a:t>nulla</a:t>
            </a:r>
            <a:r>
              <a:rPr lang="en-US" sz="1500" dirty="0">
                <a:latin typeface="+mn-lt"/>
              </a:rPr>
              <a:t>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Morb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aore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condimentum</a:t>
            </a:r>
            <a:r>
              <a:rPr lang="en-US" sz="1500" dirty="0">
                <a:latin typeface="+mn-lt"/>
              </a:rPr>
              <a:t> mi, sit </a:t>
            </a:r>
            <a:r>
              <a:rPr lang="en-US" sz="1500" dirty="0" err="1">
                <a:latin typeface="+mn-lt"/>
              </a:rPr>
              <a:t>am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vulputat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orc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aliquet</a:t>
            </a:r>
            <a:r>
              <a:rPr lang="en-US" sz="1500" dirty="0">
                <a:latin typeface="+mn-lt"/>
              </a:rPr>
              <a:t> et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Etiam</a:t>
            </a:r>
            <a:r>
              <a:rPr lang="en-US" sz="1500" dirty="0">
                <a:latin typeface="+mn-lt"/>
              </a:rPr>
              <a:t> pulvinar </a:t>
            </a:r>
            <a:r>
              <a:rPr lang="en-US" sz="1500" dirty="0" err="1">
                <a:latin typeface="+mn-lt"/>
              </a:rPr>
              <a:t>scelerisqu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enim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sed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placerat</a:t>
            </a:r>
            <a:r>
              <a:rPr lang="en-US" sz="1500" dirty="0">
                <a:latin typeface="+mn-lt"/>
              </a:rPr>
              <a:t>. </a:t>
            </a:r>
          </a:p>
        </p:txBody>
      </p:sp>
      <p:grpSp>
        <p:nvGrpSpPr>
          <p:cNvPr id="34" name="Group 4">
            <a:extLst>
              <a:ext uri="{FF2B5EF4-FFF2-40B4-BE49-F238E27FC236}">
                <a16:creationId xmlns:a16="http://schemas.microsoft.com/office/drawing/2014/main" id="{A83B29E1-C1AE-4553-8788-FE4E805069F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1918" y="1656000"/>
            <a:ext cx="646164" cy="648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47AA10CA-6FC3-4742-AC6A-4C19FFB2CA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31F0F42B-EB64-4000-B655-E7E6541EF5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38" name="Content Placeholder 1">
            <a:extLst>
              <a:ext uri="{FF2B5EF4-FFF2-40B4-BE49-F238E27FC236}">
                <a16:creationId xmlns:a16="http://schemas.microsoft.com/office/drawing/2014/main" id="{919B39EE-4ED4-4B96-8A35-F4696B785D1E}"/>
              </a:ext>
            </a:extLst>
          </p:cNvPr>
          <p:cNvSpPr txBox="1">
            <a:spLocks/>
          </p:cNvSpPr>
          <p:nvPr/>
        </p:nvSpPr>
        <p:spPr>
          <a:xfrm>
            <a:off x="3303000" y="2772000"/>
            <a:ext cx="2664000" cy="2231380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Praesent</a:t>
            </a:r>
            <a:r>
              <a:rPr lang="en-US" sz="1500" dirty="0">
                <a:latin typeface="+mn-lt"/>
              </a:rPr>
              <a:t>  in </a:t>
            </a:r>
            <a:r>
              <a:rPr lang="en-US" sz="1500" dirty="0" err="1">
                <a:latin typeface="+mn-lt"/>
              </a:rPr>
              <a:t>massa</a:t>
            </a:r>
            <a:r>
              <a:rPr lang="en-US" sz="1500" dirty="0">
                <a:latin typeface="+mn-lt"/>
              </a:rPr>
              <a:t> cursus, </a:t>
            </a:r>
            <a:r>
              <a:rPr lang="en-US" sz="1500" dirty="0" err="1">
                <a:latin typeface="+mn-lt"/>
              </a:rPr>
              <a:t>consectetur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ectus</a:t>
            </a:r>
            <a:r>
              <a:rPr lang="en-US" sz="1500" dirty="0">
                <a:latin typeface="+mn-lt"/>
              </a:rPr>
              <a:t> ac, dictum </a:t>
            </a:r>
            <a:r>
              <a:rPr lang="en-US" sz="1500" dirty="0" err="1">
                <a:latin typeface="+mn-lt"/>
              </a:rPr>
              <a:t>nulla</a:t>
            </a:r>
            <a:r>
              <a:rPr lang="en-US" sz="1500" dirty="0">
                <a:latin typeface="+mn-lt"/>
              </a:rPr>
              <a:t>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Morb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aore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condimentum</a:t>
            </a:r>
            <a:r>
              <a:rPr lang="en-US" sz="1500" dirty="0">
                <a:latin typeface="+mn-lt"/>
              </a:rPr>
              <a:t> mi, sit </a:t>
            </a:r>
            <a:r>
              <a:rPr lang="en-US" sz="1500" dirty="0" err="1">
                <a:latin typeface="+mn-lt"/>
              </a:rPr>
              <a:t>am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vulputat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orc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aliquet</a:t>
            </a:r>
            <a:r>
              <a:rPr lang="en-US" sz="1500" dirty="0">
                <a:latin typeface="+mn-lt"/>
              </a:rPr>
              <a:t> et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Etiam</a:t>
            </a:r>
            <a:r>
              <a:rPr lang="en-US" sz="1500" dirty="0">
                <a:latin typeface="+mn-lt"/>
              </a:rPr>
              <a:t> pulvinar </a:t>
            </a:r>
            <a:r>
              <a:rPr lang="en-US" sz="1500" dirty="0" err="1">
                <a:latin typeface="+mn-lt"/>
              </a:rPr>
              <a:t>scelerisqu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enim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sed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placerat</a:t>
            </a:r>
            <a:r>
              <a:rPr lang="en-US" sz="1500" dirty="0">
                <a:latin typeface="+mn-lt"/>
              </a:rPr>
              <a:t>. </a:t>
            </a:r>
          </a:p>
        </p:txBody>
      </p:sp>
      <p:grpSp>
        <p:nvGrpSpPr>
          <p:cNvPr id="39" name="Group 4">
            <a:extLst>
              <a:ext uri="{FF2B5EF4-FFF2-40B4-BE49-F238E27FC236}">
                <a16:creationId xmlns:a16="http://schemas.microsoft.com/office/drawing/2014/main" id="{0242C66D-2381-4943-9A1C-FA2F99782E9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155918" y="1656000"/>
            <a:ext cx="646164" cy="648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40" name="Freeform 5">
              <a:extLst>
                <a:ext uri="{FF2B5EF4-FFF2-40B4-BE49-F238E27FC236}">
                  <a16:creationId xmlns:a16="http://schemas.microsoft.com/office/drawing/2014/main" id="{D7ACE2A9-4DD8-49F2-B8D5-724346C988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6F74D9F2-5100-4E36-8F75-4525145CF6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43" name="Content Placeholder 1">
            <a:extLst>
              <a:ext uri="{FF2B5EF4-FFF2-40B4-BE49-F238E27FC236}">
                <a16:creationId xmlns:a16="http://schemas.microsoft.com/office/drawing/2014/main" id="{FB3F648A-E0DE-481D-8860-CDF859FFBD8F}"/>
              </a:ext>
            </a:extLst>
          </p:cNvPr>
          <p:cNvSpPr txBox="1">
            <a:spLocks/>
          </p:cNvSpPr>
          <p:nvPr/>
        </p:nvSpPr>
        <p:spPr>
          <a:xfrm>
            <a:off x="9147000" y="2772000"/>
            <a:ext cx="2664000" cy="2231380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Praesent</a:t>
            </a:r>
            <a:r>
              <a:rPr lang="en-US" sz="1500" dirty="0">
                <a:latin typeface="+mn-lt"/>
              </a:rPr>
              <a:t>  in </a:t>
            </a:r>
            <a:r>
              <a:rPr lang="en-US" sz="1500" dirty="0" err="1">
                <a:latin typeface="+mn-lt"/>
              </a:rPr>
              <a:t>massa</a:t>
            </a:r>
            <a:r>
              <a:rPr lang="en-US" sz="1500" dirty="0">
                <a:latin typeface="+mn-lt"/>
              </a:rPr>
              <a:t> cursus, </a:t>
            </a:r>
            <a:r>
              <a:rPr lang="en-US" sz="1500" dirty="0" err="1">
                <a:latin typeface="+mn-lt"/>
              </a:rPr>
              <a:t>consectetur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ectus</a:t>
            </a:r>
            <a:r>
              <a:rPr lang="en-US" sz="1500" dirty="0">
                <a:latin typeface="+mn-lt"/>
              </a:rPr>
              <a:t> ac, dictum </a:t>
            </a:r>
            <a:r>
              <a:rPr lang="en-US" sz="1500" dirty="0" err="1">
                <a:latin typeface="+mn-lt"/>
              </a:rPr>
              <a:t>nulla</a:t>
            </a:r>
            <a:r>
              <a:rPr lang="en-US" sz="1500" dirty="0">
                <a:latin typeface="+mn-lt"/>
              </a:rPr>
              <a:t>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Morb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aore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condimentum</a:t>
            </a:r>
            <a:r>
              <a:rPr lang="en-US" sz="1500" dirty="0">
                <a:latin typeface="+mn-lt"/>
              </a:rPr>
              <a:t> mi, sit </a:t>
            </a:r>
            <a:r>
              <a:rPr lang="en-US" sz="1500" dirty="0" err="1">
                <a:latin typeface="+mn-lt"/>
              </a:rPr>
              <a:t>am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vulputat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orc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aliquet</a:t>
            </a:r>
            <a:r>
              <a:rPr lang="en-US" sz="1500" dirty="0">
                <a:latin typeface="+mn-lt"/>
              </a:rPr>
              <a:t> et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Etiam</a:t>
            </a:r>
            <a:r>
              <a:rPr lang="en-US" sz="1500" dirty="0">
                <a:latin typeface="+mn-lt"/>
              </a:rPr>
              <a:t> pulvinar </a:t>
            </a:r>
            <a:r>
              <a:rPr lang="en-US" sz="1500" dirty="0" err="1">
                <a:latin typeface="+mn-lt"/>
              </a:rPr>
              <a:t>scelerisqu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enim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sed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placerat</a:t>
            </a:r>
            <a:r>
              <a:rPr lang="en-US" sz="1500" dirty="0">
                <a:latin typeface="+mn-lt"/>
              </a:rPr>
              <a:t>. </a:t>
            </a:r>
          </a:p>
        </p:txBody>
      </p:sp>
      <p:grpSp>
        <p:nvGrpSpPr>
          <p:cNvPr id="44" name="Group 4">
            <a:extLst>
              <a:ext uri="{FF2B5EF4-FFF2-40B4-BE49-F238E27FC236}">
                <a16:creationId xmlns:a16="http://schemas.microsoft.com/office/drawing/2014/main" id="{D1EE1331-FD88-4907-AC34-797701CFDF8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33918" y="1656000"/>
            <a:ext cx="646164" cy="648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45" name="Freeform 5">
              <a:extLst>
                <a:ext uri="{FF2B5EF4-FFF2-40B4-BE49-F238E27FC236}">
                  <a16:creationId xmlns:a16="http://schemas.microsoft.com/office/drawing/2014/main" id="{0CCD5477-BE4D-4F7D-9FC0-98F7EFEB91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" name="Freeform 6">
              <a:extLst>
                <a:ext uri="{FF2B5EF4-FFF2-40B4-BE49-F238E27FC236}">
                  <a16:creationId xmlns:a16="http://schemas.microsoft.com/office/drawing/2014/main" id="{F2C12C69-0B92-49DE-B539-07720042D3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48" name="Content Placeholder 1">
            <a:extLst>
              <a:ext uri="{FF2B5EF4-FFF2-40B4-BE49-F238E27FC236}">
                <a16:creationId xmlns:a16="http://schemas.microsoft.com/office/drawing/2014/main" id="{49BDF3C6-DBE0-40D7-9943-320BA8FF6A6D}"/>
              </a:ext>
            </a:extLst>
          </p:cNvPr>
          <p:cNvSpPr txBox="1">
            <a:spLocks/>
          </p:cNvSpPr>
          <p:nvPr/>
        </p:nvSpPr>
        <p:spPr>
          <a:xfrm>
            <a:off x="6225000" y="2772000"/>
            <a:ext cx="2664000" cy="2231380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Praesent</a:t>
            </a:r>
            <a:r>
              <a:rPr lang="en-US" sz="1500" dirty="0">
                <a:latin typeface="+mn-lt"/>
              </a:rPr>
              <a:t>  in </a:t>
            </a:r>
            <a:r>
              <a:rPr lang="en-US" sz="1500" dirty="0" err="1">
                <a:latin typeface="+mn-lt"/>
              </a:rPr>
              <a:t>massa</a:t>
            </a:r>
            <a:r>
              <a:rPr lang="en-US" sz="1500" dirty="0">
                <a:latin typeface="+mn-lt"/>
              </a:rPr>
              <a:t> cursus, </a:t>
            </a:r>
            <a:r>
              <a:rPr lang="en-US" sz="1500" dirty="0" err="1">
                <a:latin typeface="+mn-lt"/>
              </a:rPr>
              <a:t>consectetur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ectus</a:t>
            </a:r>
            <a:r>
              <a:rPr lang="en-US" sz="1500" dirty="0">
                <a:latin typeface="+mn-lt"/>
              </a:rPr>
              <a:t> ac, dictum </a:t>
            </a:r>
            <a:r>
              <a:rPr lang="en-US" sz="1500" dirty="0" err="1">
                <a:latin typeface="+mn-lt"/>
              </a:rPr>
              <a:t>nulla</a:t>
            </a:r>
            <a:r>
              <a:rPr lang="en-US" sz="1500" dirty="0">
                <a:latin typeface="+mn-lt"/>
              </a:rPr>
              <a:t>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Morb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aore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condimentum</a:t>
            </a:r>
            <a:r>
              <a:rPr lang="en-US" sz="1500" dirty="0">
                <a:latin typeface="+mn-lt"/>
              </a:rPr>
              <a:t> mi, sit </a:t>
            </a:r>
            <a:r>
              <a:rPr lang="en-US" sz="1500" dirty="0" err="1">
                <a:latin typeface="+mn-lt"/>
              </a:rPr>
              <a:t>am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vulputat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orc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aliquet</a:t>
            </a:r>
            <a:r>
              <a:rPr lang="en-US" sz="1500" dirty="0">
                <a:latin typeface="+mn-lt"/>
              </a:rPr>
              <a:t> et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Etiam</a:t>
            </a:r>
            <a:r>
              <a:rPr lang="en-US" sz="1500" dirty="0">
                <a:latin typeface="+mn-lt"/>
              </a:rPr>
              <a:t> pulvinar </a:t>
            </a:r>
            <a:r>
              <a:rPr lang="en-US" sz="1500" dirty="0" err="1">
                <a:latin typeface="+mn-lt"/>
              </a:rPr>
              <a:t>scelerisqu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enim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sed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placerat</a:t>
            </a:r>
            <a:r>
              <a:rPr lang="en-US" sz="1500" dirty="0">
                <a:latin typeface="+mn-lt"/>
              </a:rPr>
              <a:t>.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E0B8FB5-B16A-4FD6-B4BC-F923D3D0571B}"/>
              </a:ext>
            </a:extLst>
          </p:cNvPr>
          <p:cNvGrpSpPr/>
          <p:nvPr/>
        </p:nvGrpSpPr>
        <p:grpSpPr>
          <a:xfrm>
            <a:off x="3174000" y="1659599"/>
            <a:ext cx="5844000" cy="3348000"/>
            <a:chOff x="3174000" y="1659600"/>
            <a:chExt cx="5844000" cy="3327717"/>
          </a:xfrm>
        </p:grpSpPr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282503BB-98FE-47CA-853A-1C17AC9A5EAD}"/>
                </a:ext>
              </a:extLst>
            </p:cNvPr>
            <p:cNvCxnSpPr/>
            <p:nvPr/>
          </p:nvCxnSpPr>
          <p:spPr>
            <a:xfrm>
              <a:off x="3174000" y="1659600"/>
              <a:ext cx="0" cy="3327717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27AEF504-D328-46A3-B95E-9C193F488EAF}"/>
                </a:ext>
              </a:extLst>
            </p:cNvPr>
            <p:cNvCxnSpPr/>
            <p:nvPr/>
          </p:nvCxnSpPr>
          <p:spPr>
            <a:xfrm>
              <a:off x="9018000" y="1659600"/>
              <a:ext cx="0" cy="3327717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94967F19-37DA-43CD-B18E-D477FD30BEFC}"/>
                </a:ext>
              </a:extLst>
            </p:cNvPr>
            <p:cNvCxnSpPr/>
            <p:nvPr/>
          </p:nvCxnSpPr>
          <p:spPr>
            <a:xfrm>
              <a:off x="6096000" y="1659600"/>
              <a:ext cx="0" cy="3327717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2">
            <a:extLst>
              <a:ext uri="{FF2B5EF4-FFF2-40B4-BE49-F238E27FC236}">
                <a16:creationId xmlns:a16="http://schemas.microsoft.com/office/drawing/2014/main" id="{6B6A97BD-59DB-4AD3-BBD5-CE4613A8F277}"/>
              </a:ext>
            </a:extLst>
          </p:cNvPr>
          <p:cNvSpPr txBox="1">
            <a:spLocks/>
          </p:cNvSpPr>
          <p:nvPr/>
        </p:nvSpPr>
        <p:spPr>
          <a:xfrm>
            <a:off x="3303000" y="2448000"/>
            <a:ext cx="2664000" cy="2522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0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28" name="Title 2">
            <a:extLst>
              <a:ext uri="{FF2B5EF4-FFF2-40B4-BE49-F238E27FC236}">
                <a16:creationId xmlns:a16="http://schemas.microsoft.com/office/drawing/2014/main" id="{2046D181-4D2C-48EC-99A2-36A70599CF99}"/>
              </a:ext>
            </a:extLst>
          </p:cNvPr>
          <p:cNvSpPr txBox="1">
            <a:spLocks/>
          </p:cNvSpPr>
          <p:nvPr/>
        </p:nvSpPr>
        <p:spPr>
          <a:xfrm>
            <a:off x="6225000" y="2448000"/>
            <a:ext cx="2664000" cy="2522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0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50" name="Title 2">
            <a:extLst>
              <a:ext uri="{FF2B5EF4-FFF2-40B4-BE49-F238E27FC236}">
                <a16:creationId xmlns:a16="http://schemas.microsoft.com/office/drawing/2014/main" id="{B6EC0EA4-D650-4E65-AC7E-6B6875397365}"/>
              </a:ext>
            </a:extLst>
          </p:cNvPr>
          <p:cNvSpPr txBox="1">
            <a:spLocks/>
          </p:cNvSpPr>
          <p:nvPr/>
        </p:nvSpPr>
        <p:spPr>
          <a:xfrm>
            <a:off x="9147000" y="2448000"/>
            <a:ext cx="2664000" cy="2522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000" dirty="0">
                <a:latin typeface="Graphik Black" panose="020B0A03030202060203" pitchFamily="34" charset="0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7446252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1EB27EF-DB5E-442B-A36D-E78F4F9A9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</p:spPr>
        <p:txBody>
          <a:bodyPr/>
          <a:lstStyle/>
          <a:p>
            <a:r>
              <a:rPr lang="en-US"/>
              <a:t>header</a:t>
            </a:r>
            <a:endParaRPr lang="en-US" dirty="0"/>
          </a:p>
        </p:txBody>
      </p:sp>
      <p:grpSp>
        <p:nvGrpSpPr>
          <p:cNvPr id="29" name="Group 4">
            <a:extLst>
              <a:ext uri="{FF2B5EF4-FFF2-40B4-BE49-F238E27FC236}">
                <a16:creationId xmlns:a16="http://schemas.microsoft.com/office/drawing/2014/main" id="{7EB06D69-F392-4A4E-845D-FE2CFF18C74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55816" y="1656000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CD5EBACE-D221-43D5-9A97-8D53997F25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A96FBF7A-6D2E-4671-A88E-5539A68087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32" name="Title 2">
            <a:extLst>
              <a:ext uri="{FF2B5EF4-FFF2-40B4-BE49-F238E27FC236}">
                <a16:creationId xmlns:a16="http://schemas.microsoft.com/office/drawing/2014/main" id="{9E2D9B11-9506-4C87-BFF4-5F435B903FEB}"/>
              </a:ext>
            </a:extLst>
          </p:cNvPr>
          <p:cNvSpPr txBox="1">
            <a:spLocks/>
          </p:cNvSpPr>
          <p:nvPr/>
        </p:nvSpPr>
        <p:spPr>
          <a:xfrm>
            <a:off x="381000" y="2376000"/>
            <a:ext cx="2124000" cy="22698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18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33" name="Content Placeholder 1">
            <a:extLst>
              <a:ext uri="{FF2B5EF4-FFF2-40B4-BE49-F238E27FC236}">
                <a16:creationId xmlns:a16="http://schemas.microsoft.com/office/drawing/2014/main" id="{3BA2122D-9049-4924-9581-2EB67C9195AF}"/>
              </a:ext>
            </a:extLst>
          </p:cNvPr>
          <p:cNvSpPr txBox="1">
            <a:spLocks/>
          </p:cNvSpPr>
          <p:nvPr/>
        </p:nvSpPr>
        <p:spPr>
          <a:xfrm>
            <a:off x="381000" y="2700000"/>
            <a:ext cx="2124000" cy="2674578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Praesent</a:t>
            </a:r>
            <a:r>
              <a:rPr lang="en-US" sz="1400" dirty="0">
                <a:latin typeface="+mj-lt"/>
              </a:rPr>
              <a:t>  in </a:t>
            </a:r>
            <a:r>
              <a:rPr lang="en-US" sz="1400" dirty="0" err="1">
                <a:latin typeface="+mj-lt"/>
              </a:rPr>
              <a:t>massa</a:t>
            </a:r>
            <a:r>
              <a:rPr lang="en-US" sz="1400" dirty="0">
                <a:latin typeface="+mj-lt"/>
              </a:rPr>
              <a:t> cursus, </a:t>
            </a:r>
            <a:r>
              <a:rPr lang="en-US" sz="1400" dirty="0" err="1">
                <a:latin typeface="+mj-lt"/>
              </a:rPr>
              <a:t>consectetur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ac, dictum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Morb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aore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condimentum</a:t>
            </a:r>
            <a:r>
              <a:rPr lang="en-US" sz="1400" dirty="0">
                <a:latin typeface="+mj-lt"/>
              </a:rPr>
              <a:t> mi, sit </a:t>
            </a:r>
            <a:r>
              <a:rPr lang="en-US" sz="1400" dirty="0" err="1">
                <a:latin typeface="+mj-lt"/>
              </a:rPr>
              <a:t>am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ulputat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orc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aliquet</a:t>
            </a:r>
            <a:r>
              <a:rPr lang="en-US" sz="14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Etiam</a:t>
            </a:r>
            <a:r>
              <a:rPr lang="en-US" sz="1400" dirty="0">
                <a:latin typeface="+mj-lt"/>
              </a:rPr>
              <a:t> pulvinar </a:t>
            </a:r>
            <a:r>
              <a:rPr lang="en-US" sz="1400" dirty="0" err="1">
                <a:latin typeface="+mj-lt"/>
              </a:rPr>
              <a:t>sceler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eni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d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lacerat</a:t>
            </a:r>
            <a:r>
              <a:rPr lang="en-US" sz="14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Qu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ermentu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ringill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el</a:t>
            </a:r>
            <a:r>
              <a:rPr lang="en-US" sz="1400" dirty="0">
                <a:latin typeface="+mj-lt"/>
              </a:rPr>
              <a:t> vestibulum.</a:t>
            </a:r>
          </a:p>
        </p:txBody>
      </p:sp>
      <p:grpSp>
        <p:nvGrpSpPr>
          <p:cNvPr id="53" name="Group 4">
            <a:extLst>
              <a:ext uri="{FF2B5EF4-FFF2-40B4-BE49-F238E27FC236}">
                <a16:creationId xmlns:a16="http://schemas.microsoft.com/office/drawing/2014/main" id="{952E4E51-01FD-4D16-B92B-629BDF80C0D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461816" y="1656000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56" name="Freeform 5">
              <a:extLst>
                <a:ext uri="{FF2B5EF4-FFF2-40B4-BE49-F238E27FC236}">
                  <a16:creationId xmlns:a16="http://schemas.microsoft.com/office/drawing/2014/main" id="{4C3DC49D-53A2-4F1C-8D15-D3DF55F71D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E52FAD4C-8D9E-44BB-BE0D-B50AAAA142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55" name="Content Placeholder 1">
            <a:extLst>
              <a:ext uri="{FF2B5EF4-FFF2-40B4-BE49-F238E27FC236}">
                <a16:creationId xmlns:a16="http://schemas.microsoft.com/office/drawing/2014/main" id="{E1A91970-8344-4DF2-AD3A-BE37F5483023}"/>
              </a:ext>
            </a:extLst>
          </p:cNvPr>
          <p:cNvSpPr txBox="1">
            <a:spLocks/>
          </p:cNvSpPr>
          <p:nvPr/>
        </p:nvSpPr>
        <p:spPr>
          <a:xfrm>
            <a:off x="9687000" y="2700000"/>
            <a:ext cx="2124000" cy="2674578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Praesent</a:t>
            </a:r>
            <a:r>
              <a:rPr lang="en-US" sz="1400" dirty="0">
                <a:latin typeface="+mj-lt"/>
              </a:rPr>
              <a:t>  in </a:t>
            </a:r>
            <a:r>
              <a:rPr lang="en-US" sz="1400" dirty="0" err="1">
                <a:latin typeface="+mj-lt"/>
              </a:rPr>
              <a:t>massa</a:t>
            </a:r>
            <a:r>
              <a:rPr lang="en-US" sz="1400" dirty="0">
                <a:latin typeface="+mj-lt"/>
              </a:rPr>
              <a:t> cursus, </a:t>
            </a:r>
            <a:r>
              <a:rPr lang="en-US" sz="1400" dirty="0" err="1">
                <a:latin typeface="+mj-lt"/>
              </a:rPr>
              <a:t>consectetur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ac, dictum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Morb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aore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condimentum</a:t>
            </a:r>
            <a:r>
              <a:rPr lang="en-US" sz="1400" dirty="0">
                <a:latin typeface="+mj-lt"/>
              </a:rPr>
              <a:t> mi, sit </a:t>
            </a:r>
            <a:r>
              <a:rPr lang="en-US" sz="1400" dirty="0" err="1">
                <a:latin typeface="+mj-lt"/>
              </a:rPr>
              <a:t>am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ulputat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orc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aliquet</a:t>
            </a:r>
            <a:r>
              <a:rPr lang="en-US" sz="14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Etiam</a:t>
            </a:r>
            <a:r>
              <a:rPr lang="en-US" sz="1400" dirty="0">
                <a:latin typeface="+mj-lt"/>
              </a:rPr>
              <a:t> pulvinar </a:t>
            </a:r>
            <a:r>
              <a:rPr lang="en-US" sz="1400" dirty="0" err="1">
                <a:latin typeface="+mj-lt"/>
              </a:rPr>
              <a:t>sceler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eni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d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lacerat</a:t>
            </a:r>
            <a:r>
              <a:rPr lang="en-US" sz="14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Qu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ermentu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ringill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el</a:t>
            </a:r>
            <a:r>
              <a:rPr lang="en-US" sz="1400" dirty="0">
                <a:latin typeface="+mj-lt"/>
              </a:rPr>
              <a:t> vestibulum.</a:t>
            </a:r>
          </a:p>
        </p:txBody>
      </p:sp>
      <p:grpSp>
        <p:nvGrpSpPr>
          <p:cNvPr id="59" name="Group 4">
            <a:extLst>
              <a:ext uri="{FF2B5EF4-FFF2-40B4-BE49-F238E27FC236}">
                <a16:creationId xmlns:a16="http://schemas.microsoft.com/office/drawing/2014/main" id="{D0B32B48-98BD-45AB-A7A5-55D4989EE22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58530" y="1656000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62" name="Freeform 5">
              <a:extLst>
                <a:ext uri="{FF2B5EF4-FFF2-40B4-BE49-F238E27FC236}">
                  <a16:creationId xmlns:a16="http://schemas.microsoft.com/office/drawing/2014/main" id="{3F72D5A9-B892-49B4-8285-D346DD0296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3" name="Freeform 6">
              <a:extLst>
                <a:ext uri="{FF2B5EF4-FFF2-40B4-BE49-F238E27FC236}">
                  <a16:creationId xmlns:a16="http://schemas.microsoft.com/office/drawing/2014/main" id="{427690F1-0EF6-41F1-879B-600D8DEAEB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61" name="Content Placeholder 1">
            <a:extLst>
              <a:ext uri="{FF2B5EF4-FFF2-40B4-BE49-F238E27FC236}">
                <a16:creationId xmlns:a16="http://schemas.microsoft.com/office/drawing/2014/main" id="{35D40139-1626-4210-8733-469F366A90FF}"/>
              </a:ext>
            </a:extLst>
          </p:cNvPr>
          <p:cNvSpPr txBox="1">
            <a:spLocks/>
          </p:cNvSpPr>
          <p:nvPr/>
        </p:nvSpPr>
        <p:spPr>
          <a:xfrm>
            <a:off x="2707500" y="2700000"/>
            <a:ext cx="2124000" cy="2674578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Praesent</a:t>
            </a:r>
            <a:r>
              <a:rPr lang="en-US" sz="1400" dirty="0">
                <a:latin typeface="+mj-lt"/>
              </a:rPr>
              <a:t>  in </a:t>
            </a:r>
            <a:r>
              <a:rPr lang="en-US" sz="1400" dirty="0" err="1">
                <a:latin typeface="+mj-lt"/>
              </a:rPr>
              <a:t>massa</a:t>
            </a:r>
            <a:r>
              <a:rPr lang="en-US" sz="1400" dirty="0">
                <a:latin typeface="+mj-lt"/>
              </a:rPr>
              <a:t> cursus, </a:t>
            </a:r>
            <a:r>
              <a:rPr lang="en-US" sz="1400" dirty="0" err="1">
                <a:latin typeface="+mj-lt"/>
              </a:rPr>
              <a:t>consectetur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ac, dictum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Morb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aore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condimentum</a:t>
            </a:r>
            <a:r>
              <a:rPr lang="en-US" sz="1400" dirty="0">
                <a:latin typeface="+mj-lt"/>
              </a:rPr>
              <a:t> mi, sit </a:t>
            </a:r>
            <a:r>
              <a:rPr lang="en-US" sz="1400" dirty="0" err="1">
                <a:latin typeface="+mj-lt"/>
              </a:rPr>
              <a:t>am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ulputat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orc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aliquet</a:t>
            </a:r>
            <a:r>
              <a:rPr lang="en-US" sz="14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Etiam</a:t>
            </a:r>
            <a:r>
              <a:rPr lang="en-US" sz="1400" dirty="0">
                <a:latin typeface="+mj-lt"/>
              </a:rPr>
              <a:t> pulvinar </a:t>
            </a:r>
            <a:r>
              <a:rPr lang="en-US" sz="1400" dirty="0" err="1">
                <a:latin typeface="+mj-lt"/>
              </a:rPr>
              <a:t>sceler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eni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d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lacerat</a:t>
            </a:r>
            <a:r>
              <a:rPr lang="en-US" sz="14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Qu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ermentu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ringill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el</a:t>
            </a:r>
            <a:r>
              <a:rPr lang="en-US" sz="1400" dirty="0">
                <a:latin typeface="+mj-lt"/>
              </a:rPr>
              <a:t> vestibulum.</a:t>
            </a:r>
          </a:p>
        </p:txBody>
      </p:sp>
      <p:grpSp>
        <p:nvGrpSpPr>
          <p:cNvPr id="65" name="Group 4">
            <a:extLst>
              <a:ext uri="{FF2B5EF4-FFF2-40B4-BE49-F238E27FC236}">
                <a16:creationId xmlns:a16="http://schemas.microsoft.com/office/drawing/2014/main" id="{9F41838B-F071-460C-8FD7-B50BF63BCBF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2958" y="1656000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68" name="Freeform 5">
              <a:extLst>
                <a:ext uri="{FF2B5EF4-FFF2-40B4-BE49-F238E27FC236}">
                  <a16:creationId xmlns:a16="http://schemas.microsoft.com/office/drawing/2014/main" id="{9EDBC01E-35D3-4439-A026-87E59A0032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9" name="Freeform 6">
              <a:extLst>
                <a:ext uri="{FF2B5EF4-FFF2-40B4-BE49-F238E27FC236}">
                  <a16:creationId xmlns:a16="http://schemas.microsoft.com/office/drawing/2014/main" id="{801AFEB6-D6F6-4E1F-B4E8-97D099FD94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67" name="Content Placeholder 1">
            <a:extLst>
              <a:ext uri="{FF2B5EF4-FFF2-40B4-BE49-F238E27FC236}">
                <a16:creationId xmlns:a16="http://schemas.microsoft.com/office/drawing/2014/main" id="{42FB25B1-7A5B-49D3-9363-F6E8A0925A0B}"/>
              </a:ext>
            </a:extLst>
          </p:cNvPr>
          <p:cNvSpPr txBox="1">
            <a:spLocks/>
          </p:cNvSpPr>
          <p:nvPr/>
        </p:nvSpPr>
        <p:spPr>
          <a:xfrm>
            <a:off x="5034000" y="2700000"/>
            <a:ext cx="2124000" cy="2674578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Praesent</a:t>
            </a:r>
            <a:r>
              <a:rPr lang="en-US" sz="1400" dirty="0">
                <a:latin typeface="+mj-lt"/>
              </a:rPr>
              <a:t>  in </a:t>
            </a:r>
            <a:r>
              <a:rPr lang="en-US" sz="1400" dirty="0" err="1">
                <a:latin typeface="+mj-lt"/>
              </a:rPr>
              <a:t>massa</a:t>
            </a:r>
            <a:r>
              <a:rPr lang="en-US" sz="1400" dirty="0">
                <a:latin typeface="+mj-lt"/>
              </a:rPr>
              <a:t> cursus, </a:t>
            </a:r>
            <a:r>
              <a:rPr lang="en-US" sz="1400" dirty="0" err="1">
                <a:latin typeface="+mj-lt"/>
              </a:rPr>
              <a:t>consectetur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ac, dictum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Morb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aore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condimentum</a:t>
            </a:r>
            <a:r>
              <a:rPr lang="en-US" sz="1400" dirty="0">
                <a:latin typeface="+mj-lt"/>
              </a:rPr>
              <a:t> mi, sit </a:t>
            </a:r>
            <a:r>
              <a:rPr lang="en-US" sz="1400" dirty="0" err="1">
                <a:latin typeface="+mj-lt"/>
              </a:rPr>
              <a:t>am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ulputat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orc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aliquet</a:t>
            </a:r>
            <a:r>
              <a:rPr lang="en-US" sz="14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Etiam</a:t>
            </a:r>
            <a:r>
              <a:rPr lang="en-US" sz="1400" dirty="0">
                <a:latin typeface="+mj-lt"/>
              </a:rPr>
              <a:t> pulvinar </a:t>
            </a:r>
            <a:r>
              <a:rPr lang="en-US" sz="1400" dirty="0" err="1">
                <a:latin typeface="+mj-lt"/>
              </a:rPr>
              <a:t>sceler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eni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d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lacerat</a:t>
            </a:r>
            <a:r>
              <a:rPr lang="en-US" sz="14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Qu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ermentu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ringill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el</a:t>
            </a:r>
            <a:r>
              <a:rPr lang="en-US" sz="1400" dirty="0">
                <a:latin typeface="+mj-lt"/>
              </a:rPr>
              <a:t> vestibulum.</a:t>
            </a:r>
          </a:p>
        </p:txBody>
      </p:sp>
      <p:grpSp>
        <p:nvGrpSpPr>
          <p:cNvPr id="71" name="Group 4">
            <a:extLst>
              <a:ext uri="{FF2B5EF4-FFF2-40B4-BE49-F238E27FC236}">
                <a16:creationId xmlns:a16="http://schemas.microsoft.com/office/drawing/2014/main" id="{A7CC2AE7-62B0-4E29-8797-D1F353D9963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27386" y="1656000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74" name="Freeform 5">
              <a:extLst>
                <a:ext uri="{FF2B5EF4-FFF2-40B4-BE49-F238E27FC236}">
                  <a16:creationId xmlns:a16="http://schemas.microsoft.com/office/drawing/2014/main" id="{52F3F59F-69BD-479D-B170-A32A4975F7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5" name="Freeform 6">
              <a:extLst>
                <a:ext uri="{FF2B5EF4-FFF2-40B4-BE49-F238E27FC236}">
                  <a16:creationId xmlns:a16="http://schemas.microsoft.com/office/drawing/2014/main" id="{BD4FDBA0-3D3D-466B-98A4-3477022CD7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73" name="Content Placeholder 1">
            <a:extLst>
              <a:ext uri="{FF2B5EF4-FFF2-40B4-BE49-F238E27FC236}">
                <a16:creationId xmlns:a16="http://schemas.microsoft.com/office/drawing/2014/main" id="{6AF4A13B-C167-4F0A-AAC4-EF1FDC285387}"/>
              </a:ext>
            </a:extLst>
          </p:cNvPr>
          <p:cNvSpPr txBox="1">
            <a:spLocks/>
          </p:cNvSpPr>
          <p:nvPr/>
        </p:nvSpPr>
        <p:spPr>
          <a:xfrm>
            <a:off x="7360500" y="2700000"/>
            <a:ext cx="2124000" cy="2674578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Praesent</a:t>
            </a:r>
            <a:r>
              <a:rPr lang="en-US" sz="1400" dirty="0">
                <a:latin typeface="+mj-lt"/>
              </a:rPr>
              <a:t>  in </a:t>
            </a:r>
            <a:r>
              <a:rPr lang="en-US" sz="1400" dirty="0" err="1">
                <a:latin typeface="+mj-lt"/>
              </a:rPr>
              <a:t>massa</a:t>
            </a:r>
            <a:r>
              <a:rPr lang="en-US" sz="1400" dirty="0">
                <a:latin typeface="+mj-lt"/>
              </a:rPr>
              <a:t> cursus, </a:t>
            </a:r>
            <a:r>
              <a:rPr lang="en-US" sz="1400" dirty="0" err="1">
                <a:latin typeface="+mj-lt"/>
              </a:rPr>
              <a:t>consectetur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ac, dictum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Morb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aore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condimentum</a:t>
            </a:r>
            <a:r>
              <a:rPr lang="en-US" sz="1400" dirty="0">
                <a:latin typeface="+mj-lt"/>
              </a:rPr>
              <a:t> mi, sit </a:t>
            </a:r>
            <a:r>
              <a:rPr lang="en-US" sz="1400" dirty="0" err="1">
                <a:latin typeface="+mj-lt"/>
              </a:rPr>
              <a:t>am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ulputat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orc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aliquet</a:t>
            </a:r>
            <a:r>
              <a:rPr lang="en-US" sz="14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Etiam</a:t>
            </a:r>
            <a:r>
              <a:rPr lang="en-US" sz="1400" dirty="0">
                <a:latin typeface="+mj-lt"/>
              </a:rPr>
              <a:t> pulvinar </a:t>
            </a:r>
            <a:r>
              <a:rPr lang="en-US" sz="1400" dirty="0" err="1">
                <a:latin typeface="+mj-lt"/>
              </a:rPr>
              <a:t>sceler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eni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d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lacerat</a:t>
            </a:r>
            <a:r>
              <a:rPr lang="en-US" sz="14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Qu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ermentu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ringill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el</a:t>
            </a:r>
            <a:r>
              <a:rPr lang="en-US" sz="1400" dirty="0">
                <a:latin typeface="+mj-lt"/>
              </a:rPr>
              <a:t> vestibulum.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40410E7-1E2F-444E-8140-7F9871744825}"/>
              </a:ext>
            </a:extLst>
          </p:cNvPr>
          <p:cNvGrpSpPr/>
          <p:nvPr/>
        </p:nvGrpSpPr>
        <p:grpSpPr>
          <a:xfrm>
            <a:off x="2578500" y="1659599"/>
            <a:ext cx="7003284" cy="3672000"/>
            <a:chOff x="2578500" y="1659599"/>
            <a:chExt cx="7003284" cy="3348000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810BD50-22BF-4215-B04C-2BD237ABBB59}"/>
                </a:ext>
              </a:extLst>
            </p:cNvPr>
            <p:cNvCxnSpPr/>
            <p:nvPr/>
          </p:nvCxnSpPr>
          <p:spPr>
            <a:xfrm>
              <a:off x="2578500" y="1659599"/>
              <a:ext cx="0" cy="3348000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A7851E35-5880-4C9F-9A43-815A4188022B}"/>
                </a:ext>
              </a:extLst>
            </p:cNvPr>
            <p:cNvCxnSpPr/>
            <p:nvPr/>
          </p:nvCxnSpPr>
          <p:spPr>
            <a:xfrm>
              <a:off x="7247356" y="1659599"/>
              <a:ext cx="0" cy="3348000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4C454786-CBFA-4BEA-8CBE-792DB549CA9A}"/>
                </a:ext>
              </a:extLst>
            </p:cNvPr>
            <p:cNvCxnSpPr/>
            <p:nvPr/>
          </p:nvCxnSpPr>
          <p:spPr>
            <a:xfrm>
              <a:off x="4912928" y="1659599"/>
              <a:ext cx="0" cy="3348000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BBA05D00-02E6-4418-8634-D527575BCD7A}"/>
                </a:ext>
              </a:extLst>
            </p:cNvPr>
            <p:cNvCxnSpPr/>
            <p:nvPr/>
          </p:nvCxnSpPr>
          <p:spPr>
            <a:xfrm>
              <a:off x="9581784" y="1659599"/>
              <a:ext cx="0" cy="3348000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itle 2">
            <a:extLst>
              <a:ext uri="{FF2B5EF4-FFF2-40B4-BE49-F238E27FC236}">
                <a16:creationId xmlns:a16="http://schemas.microsoft.com/office/drawing/2014/main" id="{303C54A4-456C-452C-8AC4-345D24D761A3}"/>
              </a:ext>
            </a:extLst>
          </p:cNvPr>
          <p:cNvSpPr txBox="1">
            <a:spLocks/>
          </p:cNvSpPr>
          <p:nvPr/>
        </p:nvSpPr>
        <p:spPr>
          <a:xfrm>
            <a:off x="2707500" y="2376000"/>
            <a:ext cx="2124000" cy="22698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18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39" name="Title 2">
            <a:extLst>
              <a:ext uri="{FF2B5EF4-FFF2-40B4-BE49-F238E27FC236}">
                <a16:creationId xmlns:a16="http://schemas.microsoft.com/office/drawing/2014/main" id="{051FA446-7097-49D6-A702-F34D525CA8BC}"/>
              </a:ext>
            </a:extLst>
          </p:cNvPr>
          <p:cNvSpPr txBox="1">
            <a:spLocks/>
          </p:cNvSpPr>
          <p:nvPr/>
        </p:nvSpPr>
        <p:spPr>
          <a:xfrm>
            <a:off x="5034000" y="2376000"/>
            <a:ext cx="2124000" cy="22698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18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40" name="Title 2">
            <a:extLst>
              <a:ext uri="{FF2B5EF4-FFF2-40B4-BE49-F238E27FC236}">
                <a16:creationId xmlns:a16="http://schemas.microsoft.com/office/drawing/2014/main" id="{9EC9EB99-7EB2-4DC9-98D1-4D396C823D87}"/>
              </a:ext>
            </a:extLst>
          </p:cNvPr>
          <p:cNvSpPr txBox="1">
            <a:spLocks/>
          </p:cNvSpPr>
          <p:nvPr/>
        </p:nvSpPr>
        <p:spPr>
          <a:xfrm>
            <a:off x="7360500" y="2376000"/>
            <a:ext cx="2124000" cy="22698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18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42" name="Title 2">
            <a:extLst>
              <a:ext uri="{FF2B5EF4-FFF2-40B4-BE49-F238E27FC236}">
                <a16:creationId xmlns:a16="http://schemas.microsoft.com/office/drawing/2014/main" id="{8E24EC5B-8AA4-4A51-9AB1-BAF00211F2DC}"/>
              </a:ext>
            </a:extLst>
          </p:cNvPr>
          <p:cNvSpPr txBox="1">
            <a:spLocks/>
          </p:cNvSpPr>
          <p:nvPr/>
        </p:nvSpPr>
        <p:spPr>
          <a:xfrm>
            <a:off x="9687000" y="2376000"/>
            <a:ext cx="2124000" cy="22698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1800" dirty="0">
                <a:latin typeface="Graphik Black" panose="020B0A03030202060203" pitchFamily="34" charset="0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00345793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1EB27EF-DB5E-442B-A36D-E78F4F9A9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</p:spPr>
        <p:txBody>
          <a:bodyPr/>
          <a:lstStyle/>
          <a:p>
            <a:r>
              <a:rPr lang="en-US"/>
              <a:t>header</a:t>
            </a:r>
            <a:endParaRPr lang="en-US" dirty="0"/>
          </a:p>
        </p:txBody>
      </p:sp>
      <p:grpSp>
        <p:nvGrpSpPr>
          <p:cNvPr id="53" name="Group 4">
            <a:extLst>
              <a:ext uri="{FF2B5EF4-FFF2-40B4-BE49-F238E27FC236}">
                <a16:creationId xmlns:a16="http://schemas.microsoft.com/office/drawing/2014/main" id="{5CE8A991-EC05-4760-86AF-7996F7D2AFC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1000" y="1535883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54" name="Freeform 5">
              <a:extLst>
                <a:ext uri="{FF2B5EF4-FFF2-40B4-BE49-F238E27FC236}">
                  <a16:creationId xmlns:a16="http://schemas.microsoft.com/office/drawing/2014/main" id="{08A169A3-A242-43EB-BBCC-2C0D734482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E5DF08E7-82A8-4CE2-8D08-31A97D37D9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56" name="Content Placeholder 1">
            <a:extLst>
              <a:ext uri="{FF2B5EF4-FFF2-40B4-BE49-F238E27FC236}">
                <a16:creationId xmlns:a16="http://schemas.microsoft.com/office/drawing/2014/main" id="{B7831F86-BFFB-4898-9CC2-AD86D78A0B59}"/>
              </a:ext>
            </a:extLst>
          </p:cNvPr>
          <p:cNvSpPr txBox="1">
            <a:spLocks/>
          </p:cNvSpPr>
          <p:nvPr/>
        </p:nvSpPr>
        <p:spPr>
          <a:xfrm>
            <a:off x="1193799" y="1412875"/>
            <a:ext cx="4731201" cy="1990082"/>
          </a:xfrm>
          <a:prstGeom prst="rect">
            <a:avLst/>
          </a:prstGeom>
        </p:spPr>
        <p:txBody>
          <a:bodyPr wrap="square" lIns="0" tIns="10800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  <a:ea typeface="+mj-ea"/>
                <a:cs typeface="+mj-cs"/>
              </a:rPr>
              <a:t>TITL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  <p:grpSp>
        <p:nvGrpSpPr>
          <p:cNvPr id="59" name="Group 4">
            <a:extLst>
              <a:ext uri="{FF2B5EF4-FFF2-40B4-BE49-F238E27FC236}">
                <a16:creationId xmlns:a16="http://schemas.microsoft.com/office/drawing/2014/main" id="{11650BF5-6997-4983-9351-B14166DBFDA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67000" y="1535883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61" name="Freeform 5">
              <a:extLst>
                <a:ext uri="{FF2B5EF4-FFF2-40B4-BE49-F238E27FC236}">
                  <a16:creationId xmlns:a16="http://schemas.microsoft.com/office/drawing/2014/main" id="{A78EF7A5-8A7E-419C-AC12-81AD23DFA2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2" name="Freeform 6">
              <a:extLst>
                <a:ext uri="{FF2B5EF4-FFF2-40B4-BE49-F238E27FC236}">
                  <a16:creationId xmlns:a16="http://schemas.microsoft.com/office/drawing/2014/main" id="{1696B1CE-5EDF-4F2F-A5E8-9A7E5F27E9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60" name="Content Placeholder 1">
            <a:extLst>
              <a:ext uri="{FF2B5EF4-FFF2-40B4-BE49-F238E27FC236}">
                <a16:creationId xmlns:a16="http://schemas.microsoft.com/office/drawing/2014/main" id="{12661EC4-2BB0-48BC-AC0F-02150D39EA4F}"/>
              </a:ext>
            </a:extLst>
          </p:cNvPr>
          <p:cNvSpPr txBox="1">
            <a:spLocks/>
          </p:cNvSpPr>
          <p:nvPr/>
        </p:nvSpPr>
        <p:spPr>
          <a:xfrm>
            <a:off x="7079799" y="1412875"/>
            <a:ext cx="4731201" cy="1990082"/>
          </a:xfrm>
          <a:prstGeom prst="rect">
            <a:avLst/>
          </a:prstGeom>
        </p:spPr>
        <p:txBody>
          <a:bodyPr wrap="square" lIns="0" tIns="10800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  <a:ea typeface="+mj-ea"/>
                <a:cs typeface="+mj-cs"/>
              </a:rPr>
              <a:t>TITL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  <p:grpSp>
        <p:nvGrpSpPr>
          <p:cNvPr id="64" name="Group 4">
            <a:extLst>
              <a:ext uri="{FF2B5EF4-FFF2-40B4-BE49-F238E27FC236}">
                <a16:creationId xmlns:a16="http://schemas.microsoft.com/office/drawing/2014/main" id="{7032CF10-397B-43C6-A65B-6B8B5EE0CB7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1000" y="3941511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66" name="Freeform 5">
              <a:extLst>
                <a:ext uri="{FF2B5EF4-FFF2-40B4-BE49-F238E27FC236}">
                  <a16:creationId xmlns:a16="http://schemas.microsoft.com/office/drawing/2014/main" id="{2C1EBF1D-DDB0-4765-926D-C5E3B2A36B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7" name="Freeform 6">
              <a:extLst>
                <a:ext uri="{FF2B5EF4-FFF2-40B4-BE49-F238E27FC236}">
                  <a16:creationId xmlns:a16="http://schemas.microsoft.com/office/drawing/2014/main" id="{DADE2E5E-CB73-4473-A49F-105769E4C8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65" name="Content Placeholder 1">
            <a:extLst>
              <a:ext uri="{FF2B5EF4-FFF2-40B4-BE49-F238E27FC236}">
                <a16:creationId xmlns:a16="http://schemas.microsoft.com/office/drawing/2014/main" id="{0EDD6E56-94AA-4456-9529-67BC5FB3B996}"/>
              </a:ext>
            </a:extLst>
          </p:cNvPr>
          <p:cNvSpPr txBox="1">
            <a:spLocks/>
          </p:cNvSpPr>
          <p:nvPr/>
        </p:nvSpPr>
        <p:spPr>
          <a:xfrm>
            <a:off x="1193799" y="3818503"/>
            <a:ext cx="4731201" cy="1990082"/>
          </a:xfrm>
          <a:prstGeom prst="rect">
            <a:avLst/>
          </a:prstGeom>
        </p:spPr>
        <p:txBody>
          <a:bodyPr wrap="square" lIns="0" tIns="10800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TITLE</a:t>
            </a:r>
            <a:endParaRPr lang="en-US" sz="1800" cap="all" dirty="0">
              <a:solidFill>
                <a:schemeClr val="accent2"/>
              </a:solidFill>
              <a:latin typeface="Graphik Black" panose="020B0A03030202060203" pitchFamily="34" charset="0"/>
              <a:ea typeface="+mj-ea"/>
              <a:cs typeface="+mj-cs"/>
            </a:endParaRP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  <p:grpSp>
        <p:nvGrpSpPr>
          <p:cNvPr id="69" name="Group 4">
            <a:extLst>
              <a:ext uri="{FF2B5EF4-FFF2-40B4-BE49-F238E27FC236}">
                <a16:creationId xmlns:a16="http://schemas.microsoft.com/office/drawing/2014/main" id="{FAD924E5-6A15-42CA-ACB2-8F92C86F1B1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67000" y="3941511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71" name="Freeform 5">
              <a:extLst>
                <a:ext uri="{FF2B5EF4-FFF2-40B4-BE49-F238E27FC236}">
                  <a16:creationId xmlns:a16="http://schemas.microsoft.com/office/drawing/2014/main" id="{75FECEA5-66AC-44A8-A660-F47D61339E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2" name="Freeform 6">
              <a:extLst>
                <a:ext uri="{FF2B5EF4-FFF2-40B4-BE49-F238E27FC236}">
                  <a16:creationId xmlns:a16="http://schemas.microsoft.com/office/drawing/2014/main" id="{B92DB8B5-96C6-482B-A082-E28D7B6A9C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70" name="Content Placeholder 1">
            <a:extLst>
              <a:ext uri="{FF2B5EF4-FFF2-40B4-BE49-F238E27FC236}">
                <a16:creationId xmlns:a16="http://schemas.microsoft.com/office/drawing/2014/main" id="{3AD022DF-3A1C-4930-BED8-0397CD5A5EFA}"/>
              </a:ext>
            </a:extLst>
          </p:cNvPr>
          <p:cNvSpPr txBox="1">
            <a:spLocks/>
          </p:cNvSpPr>
          <p:nvPr/>
        </p:nvSpPr>
        <p:spPr>
          <a:xfrm>
            <a:off x="7079799" y="3818503"/>
            <a:ext cx="4731201" cy="1990082"/>
          </a:xfrm>
          <a:prstGeom prst="rect">
            <a:avLst/>
          </a:prstGeom>
        </p:spPr>
        <p:txBody>
          <a:bodyPr wrap="square" lIns="0" tIns="10800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TITLE</a:t>
            </a:r>
            <a:endParaRPr lang="en-US" sz="1800" cap="all" dirty="0">
              <a:solidFill>
                <a:schemeClr val="accent2"/>
              </a:solidFill>
              <a:latin typeface="Graphik Black" panose="020B0A03030202060203" pitchFamily="34" charset="0"/>
              <a:ea typeface="+mj-ea"/>
              <a:cs typeface="+mj-cs"/>
            </a:endParaRP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</p:spTree>
    <p:extLst>
      <p:ext uri="{BB962C8B-B14F-4D97-AF65-F5344CB8AC3E}">
        <p14:creationId xmlns:p14="http://schemas.microsoft.com/office/powerpoint/2010/main" val="179561631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ABA0ED04-D9E1-4386-B94D-810196154CF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639368" y="1325867"/>
            <a:ext cx="913263" cy="720000"/>
          </a:xfrm>
          <a:custGeom>
            <a:avLst/>
            <a:gdLst>
              <a:gd name="T0" fmla="*/ 1893 w 2098"/>
              <a:gd name="T1" fmla="*/ 980 h 1661"/>
              <a:gd name="T2" fmla="*/ 1743 w 2098"/>
              <a:gd name="T3" fmla="*/ 1661 h 1661"/>
              <a:gd name="T4" fmla="*/ 1062 w 2098"/>
              <a:gd name="T5" fmla="*/ 1661 h 1661"/>
              <a:gd name="T6" fmla="*/ 1191 w 2098"/>
              <a:gd name="T7" fmla="*/ 1066 h 1661"/>
              <a:gd name="T8" fmla="*/ 1538 w 2098"/>
              <a:gd name="T9" fmla="*/ 285 h 1661"/>
              <a:gd name="T10" fmla="*/ 2098 w 2098"/>
              <a:gd name="T11" fmla="*/ 0 h 1661"/>
              <a:gd name="T12" fmla="*/ 2045 w 2098"/>
              <a:gd name="T13" fmla="*/ 262 h 1661"/>
              <a:gd name="T14" fmla="*/ 1519 w 2098"/>
              <a:gd name="T15" fmla="*/ 980 h 1661"/>
              <a:gd name="T16" fmla="*/ 1893 w 2098"/>
              <a:gd name="T17" fmla="*/ 980 h 1661"/>
              <a:gd name="T18" fmla="*/ 831 w 2098"/>
              <a:gd name="T19" fmla="*/ 980 h 1661"/>
              <a:gd name="T20" fmla="*/ 681 w 2098"/>
              <a:gd name="T21" fmla="*/ 1661 h 1661"/>
              <a:gd name="T22" fmla="*/ 0 w 2098"/>
              <a:gd name="T23" fmla="*/ 1661 h 1661"/>
              <a:gd name="T24" fmla="*/ 129 w 2098"/>
              <a:gd name="T25" fmla="*/ 1066 h 1661"/>
              <a:gd name="T26" fmla="*/ 476 w 2098"/>
              <a:gd name="T27" fmla="*/ 285 h 1661"/>
              <a:gd name="T28" fmla="*/ 1036 w 2098"/>
              <a:gd name="T29" fmla="*/ 0 h 1661"/>
              <a:gd name="T30" fmla="*/ 983 w 2098"/>
              <a:gd name="T31" fmla="*/ 262 h 1661"/>
              <a:gd name="T32" fmla="*/ 457 w 2098"/>
              <a:gd name="T33" fmla="*/ 980 h 1661"/>
              <a:gd name="T34" fmla="*/ 831 w 2098"/>
              <a:gd name="T35" fmla="*/ 980 h 1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98" h="1661">
                <a:moveTo>
                  <a:pt x="1893" y="980"/>
                </a:moveTo>
                <a:lnTo>
                  <a:pt x="1743" y="1661"/>
                </a:lnTo>
                <a:lnTo>
                  <a:pt x="1062" y="1661"/>
                </a:lnTo>
                <a:lnTo>
                  <a:pt x="1191" y="1066"/>
                </a:lnTo>
                <a:cubicBezTo>
                  <a:pt x="1264" y="710"/>
                  <a:pt x="1380" y="451"/>
                  <a:pt x="1538" y="285"/>
                </a:cubicBezTo>
                <a:cubicBezTo>
                  <a:pt x="1696" y="119"/>
                  <a:pt x="1882" y="24"/>
                  <a:pt x="2098" y="0"/>
                </a:cubicBezTo>
                <a:lnTo>
                  <a:pt x="2045" y="262"/>
                </a:lnTo>
                <a:cubicBezTo>
                  <a:pt x="1785" y="333"/>
                  <a:pt x="1610" y="572"/>
                  <a:pt x="1519" y="980"/>
                </a:cubicBezTo>
                <a:lnTo>
                  <a:pt x="1893" y="980"/>
                </a:lnTo>
                <a:close/>
                <a:moveTo>
                  <a:pt x="831" y="980"/>
                </a:moveTo>
                <a:lnTo>
                  <a:pt x="681" y="1661"/>
                </a:lnTo>
                <a:lnTo>
                  <a:pt x="0" y="1661"/>
                </a:lnTo>
                <a:lnTo>
                  <a:pt x="129" y="1066"/>
                </a:lnTo>
                <a:cubicBezTo>
                  <a:pt x="202" y="710"/>
                  <a:pt x="318" y="451"/>
                  <a:pt x="476" y="285"/>
                </a:cubicBezTo>
                <a:cubicBezTo>
                  <a:pt x="634" y="119"/>
                  <a:pt x="820" y="24"/>
                  <a:pt x="1036" y="0"/>
                </a:cubicBezTo>
                <a:lnTo>
                  <a:pt x="983" y="262"/>
                </a:lnTo>
                <a:cubicBezTo>
                  <a:pt x="723" y="333"/>
                  <a:pt x="548" y="572"/>
                  <a:pt x="457" y="980"/>
                </a:cubicBezTo>
                <a:lnTo>
                  <a:pt x="831" y="98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C6D4DDBA-4F0C-4C9B-9E19-A50D58B73A52}"/>
              </a:ext>
            </a:extLst>
          </p:cNvPr>
          <p:cNvSpPr>
            <a:spLocks noChangeAspect="1" noEditPoints="1"/>
          </p:cNvSpPr>
          <p:nvPr/>
        </p:nvSpPr>
        <p:spPr bwMode="auto">
          <a:xfrm flipH="1" flipV="1">
            <a:off x="5639368" y="4812133"/>
            <a:ext cx="913263" cy="720000"/>
          </a:xfrm>
          <a:custGeom>
            <a:avLst/>
            <a:gdLst>
              <a:gd name="T0" fmla="*/ 1893 w 2098"/>
              <a:gd name="T1" fmla="*/ 980 h 1661"/>
              <a:gd name="T2" fmla="*/ 1743 w 2098"/>
              <a:gd name="T3" fmla="*/ 1661 h 1661"/>
              <a:gd name="T4" fmla="*/ 1062 w 2098"/>
              <a:gd name="T5" fmla="*/ 1661 h 1661"/>
              <a:gd name="T6" fmla="*/ 1191 w 2098"/>
              <a:gd name="T7" fmla="*/ 1066 h 1661"/>
              <a:gd name="T8" fmla="*/ 1538 w 2098"/>
              <a:gd name="T9" fmla="*/ 285 h 1661"/>
              <a:gd name="T10" fmla="*/ 2098 w 2098"/>
              <a:gd name="T11" fmla="*/ 0 h 1661"/>
              <a:gd name="T12" fmla="*/ 2045 w 2098"/>
              <a:gd name="T13" fmla="*/ 262 h 1661"/>
              <a:gd name="T14" fmla="*/ 1519 w 2098"/>
              <a:gd name="T15" fmla="*/ 980 h 1661"/>
              <a:gd name="T16" fmla="*/ 1893 w 2098"/>
              <a:gd name="T17" fmla="*/ 980 h 1661"/>
              <a:gd name="T18" fmla="*/ 831 w 2098"/>
              <a:gd name="T19" fmla="*/ 980 h 1661"/>
              <a:gd name="T20" fmla="*/ 681 w 2098"/>
              <a:gd name="T21" fmla="*/ 1661 h 1661"/>
              <a:gd name="T22" fmla="*/ 0 w 2098"/>
              <a:gd name="T23" fmla="*/ 1661 h 1661"/>
              <a:gd name="T24" fmla="*/ 129 w 2098"/>
              <a:gd name="T25" fmla="*/ 1066 h 1661"/>
              <a:gd name="T26" fmla="*/ 476 w 2098"/>
              <a:gd name="T27" fmla="*/ 285 h 1661"/>
              <a:gd name="T28" fmla="*/ 1036 w 2098"/>
              <a:gd name="T29" fmla="*/ 0 h 1661"/>
              <a:gd name="T30" fmla="*/ 983 w 2098"/>
              <a:gd name="T31" fmla="*/ 262 h 1661"/>
              <a:gd name="T32" fmla="*/ 457 w 2098"/>
              <a:gd name="T33" fmla="*/ 980 h 1661"/>
              <a:gd name="T34" fmla="*/ 831 w 2098"/>
              <a:gd name="T35" fmla="*/ 980 h 1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98" h="1661">
                <a:moveTo>
                  <a:pt x="1893" y="980"/>
                </a:moveTo>
                <a:lnTo>
                  <a:pt x="1743" y="1661"/>
                </a:lnTo>
                <a:lnTo>
                  <a:pt x="1062" y="1661"/>
                </a:lnTo>
                <a:lnTo>
                  <a:pt x="1191" y="1066"/>
                </a:lnTo>
                <a:cubicBezTo>
                  <a:pt x="1264" y="710"/>
                  <a:pt x="1380" y="451"/>
                  <a:pt x="1538" y="285"/>
                </a:cubicBezTo>
                <a:cubicBezTo>
                  <a:pt x="1696" y="119"/>
                  <a:pt x="1882" y="24"/>
                  <a:pt x="2098" y="0"/>
                </a:cubicBezTo>
                <a:lnTo>
                  <a:pt x="2045" y="262"/>
                </a:lnTo>
                <a:cubicBezTo>
                  <a:pt x="1785" y="333"/>
                  <a:pt x="1610" y="572"/>
                  <a:pt x="1519" y="980"/>
                </a:cubicBezTo>
                <a:lnTo>
                  <a:pt x="1893" y="980"/>
                </a:lnTo>
                <a:close/>
                <a:moveTo>
                  <a:pt x="831" y="980"/>
                </a:moveTo>
                <a:lnTo>
                  <a:pt x="681" y="1661"/>
                </a:lnTo>
                <a:lnTo>
                  <a:pt x="0" y="1661"/>
                </a:lnTo>
                <a:lnTo>
                  <a:pt x="129" y="1066"/>
                </a:lnTo>
                <a:cubicBezTo>
                  <a:pt x="202" y="710"/>
                  <a:pt x="318" y="451"/>
                  <a:pt x="476" y="285"/>
                </a:cubicBezTo>
                <a:cubicBezTo>
                  <a:pt x="634" y="119"/>
                  <a:pt x="820" y="24"/>
                  <a:pt x="1036" y="0"/>
                </a:cubicBezTo>
                <a:lnTo>
                  <a:pt x="983" y="262"/>
                </a:lnTo>
                <a:cubicBezTo>
                  <a:pt x="723" y="333"/>
                  <a:pt x="548" y="572"/>
                  <a:pt x="457" y="980"/>
                </a:cubicBezTo>
                <a:lnTo>
                  <a:pt x="831" y="98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2" name="Title 2">
            <a:extLst>
              <a:ext uri="{FF2B5EF4-FFF2-40B4-BE49-F238E27FC236}">
                <a16:creationId xmlns:a16="http://schemas.microsoft.com/office/drawing/2014/main" id="{EC59F6B9-3883-44D3-B8CB-D24938321A19}"/>
              </a:ext>
            </a:extLst>
          </p:cNvPr>
          <p:cNvSpPr txBox="1">
            <a:spLocks/>
          </p:cNvSpPr>
          <p:nvPr/>
        </p:nvSpPr>
        <p:spPr>
          <a:xfrm>
            <a:off x="761998" y="2468357"/>
            <a:ext cx="10668002" cy="1921286"/>
          </a:xfrm>
          <a:prstGeom prst="rect">
            <a:avLst/>
          </a:prstGeom>
        </p:spPr>
        <p:txBody>
          <a:bodyPr wrap="square" lIns="0" tIns="72000" rIns="0" bIns="0" anchor="ctr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  <a:spcBef>
                <a:spcPts val="900"/>
              </a:spcBef>
            </a:pP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Lorem ipsum dolor sit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met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,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consectetur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dipiscing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elit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.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Sed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 dictum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suscipit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nibh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quis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volutpat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.</a:t>
            </a:r>
          </a:p>
          <a:p>
            <a:pPr algn="ctr">
              <a:lnSpc>
                <a:spcPct val="80000"/>
              </a:lnSpc>
              <a:spcBef>
                <a:spcPts val="900"/>
              </a:spcBef>
            </a:pPr>
            <a:r>
              <a:rPr lang="en-US" dirty="0">
                <a:solidFill>
                  <a:schemeClr val="tx1"/>
                </a:solidFill>
                <a:latin typeface="Graphik Black" panose="020B0A03030202060203" pitchFamily="34" charset="0"/>
              </a:rPr>
              <a:t>Lorem ipsum dolor </a:t>
            </a:r>
          </a:p>
        </p:txBody>
      </p:sp>
    </p:spTree>
    <p:extLst>
      <p:ext uri="{BB962C8B-B14F-4D97-AF65-F5344CB8AC3E}">
        <p14:creationId xmlns:p14="http://schemas.microsoft.com/office/powerpoint/2010/main" val="2011267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45C7E9E-66EC-4F63-BC2B-BDC478CA39A7}"/>
              </a:ext>
            </a:extLst>
          </p:cNvPr>
          <p:cNvSpPr txBox="1">
            <a:spLocks/>
          </p:cNvSpPr>
          <p:nvPr/>
        </p:nvSpPr>
        <p:spPr>
          <a:xfrm>
            <a:off x="381000" y="2185397"/>
            <a:ext cx="11430000" cy="2487206"/>
          </a:xfrm>
          <a:prstGeom prst="rect">
            <a:avLst/>
          </a:prstGeom>
        </p:spPr>
        <p:txBody>
          <a:bodyPr vert="horz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0000"/>
              </a:lnSpc>
              <a:buNone/>
            </a:pP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Lorem ipsum dolor sit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amet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,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consectetur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adipiscing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elit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.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Sed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 dictum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suscipit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nibh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quis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volutpat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065731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1EB27EF-DB5E-442B-A36D-E78F4F9A9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f placed courses</a:t>
            </a:r>
            <a:br>
              <a:rPr lang="en-US" dirty="0"/>
            </a:br>
            <a:r>
              <a:rPr lang="en-US" sz="1400" b="1" i="1" dirty="0">
                <a:ea typeface="Calibri" panose="020F0502020204030204" pitchFamily="34" charset="0"/>
              </a:rPr>
              <a:t>Learning target to enter in to MEAN stack course</a:t>
            </a:r>
            <a:br>
              <a:rPr lang="en-US" sz="1400" i="1" dirty="0">
                <a:ea typeface="Calibri" panose="020F0502020204030204" pitchFamily="34" charset="0"/>
              </a:rPr>
            </a:br>
            <a:endParaRPr lang="en-US" sz="1400" i="1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F157AD6-11E3-4E48-A045-D1455EB71B24}"/>
              </a:ext>
            </a:extLst>
          </p:cNvPr>
          <p:cNvSpPr/>
          <p:nvPr/>
        </p:nvSpPr>
        <p:spPr>
          <a:xfrm>
            <a:off x="381000" y="1280998"/>
            <a:ext cx="11038840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latin typeface="+mj-lt"/>
                <a:ea typeface="Times New Roman" panose="02020603050405020304" pitchFamily="18" charset="0"/>
              </a:rPr>
              <a:t>Introduction to </a:t>
            </a:r>
            <a:r>
              <a:rPr lang="en-US" sz="2200" b="1" dirty="0">
                <a:solidFill>
                  <a:schemeClr val="accent6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MongoDB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u="sng" dirty="0">
                <a:solidFill>
                  <a:srgbClr val="0563C1"/>
                </a:solidFill>
                <a:latin typeface="+mj-lt"/>
                <a:ea typeface="Times New Roman" panose="02020603050405020304" pitchFamily="18" charset="0"/>
                <a:hlinkClick r:id="rId3"/>
              </a:rPr>
              <a:t>https://accenture.percipio.com/channels/150c1001-0e64-11e7-92d8-37e13b311be2</a:t>
            </a:r>
            <a:endParaRPr lang="en-US" u="sng" dirty="0">
              <a:solidFill>
                <a:srgbClr val="0563C1"/>
              </a:solidFill>
              <a:latin typeface="+mj-lt"/>
              <a:ea typeface="Times New Roman" panose="02020603050405020304" pitchFamily="18" charset="0"/>
            </a:endParaRPr>
          </a:p>
          <a:p>
            <a:r>
              <a:rPr lang="en-US" dirty="0">
                <a:latin typeface="+mj-lt"/>
                <a:ea typeface="Calibri" panose="020F0502020204030204" pitchFamily="34" charset="0"/>
              </a:rPr>
              <a:t> 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dirty="0">
              <a:effectLst/>
              <a:latin typeface="+mj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25251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778A0-58AD-4A3F-8803-15234899C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l system setup</a:t>
            </a:r>
            <a:br>
              <a:rPr lang="en-US" dirty="0"/>
            </a:br>
            <a:r>
              <a:rPr lang="en-US" sz="1400" b="1" i="1" dirty="0">
                <a:ea typeface="Calibri" panose="020F0502020204030204" pitchFamily="34" charset="0"/>
              </a:rPr>
              <a:t>To complete prior to instructor led MEAN stack course starts</a:t>
            </a:r>
            <a:endParaRPr lang="en-US" sz="1200" i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D5C6083-6D64-49DA-9D2B-8D5876AA0E72}"/>
              </a:ext>
            </a:extLst>
          </p:cNvPr>
          <p:cNvSpPr/>
          <p:nvPr/>
        </p:nvSpPr>
        <p:spPr>
          <a:xfrm>
            <a:off x="381000" y="1196816"/>
            <a:ext cx="9900920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ea typeface="Times New Roman" panose="02020603050405020304" pitchFamily="18" charset="0"/>
              </a:rPr>
              <a:t>Download and install </a:t>
            </a:r>
            <a:r>
              <a:rPr lang="en-US" sz="2200" b="1" dirty="0">
                <a:solidFill>
                  <a:schemeClr val="accent6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Visual Studio Code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u="sng" dirty="0">
                <a:solidFill>
                  <a:srgbClr val="0563C1"/>
                </a:solidFill>
                <a:ea typeface="Times New Roman" panose="02020603050405020304" pitchFamily="18" charset="0"/>
                <a:hlinkClick r:id="rId2"/>
              </a:rPr>
              <a:t>https://code.visualstudio.com/</a:t>
            </a:r>
            <a:endParaRPr lang="en-US" u="sng" dirty="0">
              <a:solidFill>
                <a:srgbClr val="0563C1"/>
              </a:solidFill>
              <a:ea typeface="Times New Roman" panose="02020603050405020304" pitchFamily="18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endParaRPr lang="en-US" dirty="0"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ea typeface="Times New Roman" panose="02020603050405020304" pitchFamily="18" charset="0"/>
              </a:rPr>
              <a:t>Download and install </a:t>
            </a:r>
            <a:r>
              <a:rPr lang="en-US" sz="2200" b="1" dirty="0">
                <a:solidFill>
                  <a:schemeClr val="accent6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Node </a:t>
            </a:r>
            <a:r>
              <a:rPr lang="en-US" dirty="0">
                <a:ea typeface="Times New Roman" panose="02020603050405020304" pitchFamily="18" charset="0"/>
              </a:rPr>
              <a:t>and </a:t>
            </a:r>
            <a:r>
              <a:rPr lang="en-US" sz="2200" b="1" dirty="0">
                <a:solidFill>
                  <a:schemeClr val="accent6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NPM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u="sng" dirty="0">
                <a:solidFill>
                  <a:srgbClr val="0563C1"/>
                </a:solidFill>
                <a:ea typeface="Times New Roman" panose="02020603050405020304" pitchFamily="18" charset="0"/>
                <a:hlinkClick r:id="rId3"/>
              </a:rPr>
              <a:t>https://docs.npmjs.com/downloading-and-installing-node-js-and-npm</a:t>
            </a:r>
            <a:endParaRPr lang="en-US" u="sng" dirty="0">
              <a:solidFill>
                <a:srgbClr val="0563C1"/>
              </a:solidFill>
              <a:ea typeface="Times New Roman" panose="02020603050405020304" pitchFamily="18" charset="0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US" dirty="0">
              <a:ea typeface="Calibri" panose="020F0502020204030204" pitchFamily="34" charset="0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>
                <a:ea typeface="Calibri" panose="020F0502020204030204" pitchFamily="34" charset="0"/>
              </a:rPr>
              <a:t>Download </a:t>
            </a:r>
            <a:r>
              <a:rPr lang="en-US" b="1" dirty="0">
                <a:solidFill>
                  <a:schemeClr val="accent6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MongoDB</a:t>
            </a:r>
            <a:r>
              <a:rPr lang="en-US" dirty="0">
                <a:ea typeface="Calibri" panose="020F0502020204030204" pitchFamily="34" charset="0"/>
              </a:rPr>
              <a:t> and install community version from below link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u="sng" dirty="0">
                <a:solidFill>
                  <a:schemeClr val="accent2">
                    <a:lumMod val="75000"/>
                  </a:schemeClr>
                </a:solidFill>
              </a:rPr>
              <a:t>https://www.mongodb.com/download-center/community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2122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node?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DCD2A89-867F-4D61-B761-AD375C6314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779" y="1493951"/>
            <a:ext cx="3777425" cy="109336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F05DB02-72B2-4E93-9DA1-6F1B867790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779" y="3243192"/>
            <a:ext cx="3777425" cy="11372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A91930E-2163-466F-9300-687BDED7FB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17110" y="2928177"/>
            <a:ext cx="4750304" cy="213419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DA3B98F-F153-410C-AF86-2114C39FB1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4033" y="4994802"/>
            <a:ext cx="3864012" cy="1043752"/>
          </a:xfrm>
          <a:prstGeom prst="rect">
            <a:avLst/>
          </a:prstGeom>
        </p:spPr>
      </p:pic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0C6864A8-D334-43F3-908F-794F43601EDE}"/>
              </a:ext>
            </a:extLst>
          </p:cNvPr>
          <p:cNvPicPr>
            <a:picLocks noGrp="1" noChangeAspect="1"/>
          </p:cNvPicPr>
          <p:nvPr>
            <p:ph sz="quarter" idx="18"/>
          </p:nvPr>
        </p:nvPicPr>
        <p:blipFill>
          <a:blip r:embed="rId6"/>
          <a:stretch>
            <a:fillRect/>
          </a:stretch>
        </p:blipFill>
        <p:spPr>
          <a:xfrm>
            <a:off x="9055821" y="4380427"/>
            <a:ext cx="1111636" cy="378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4284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node(Continued..) – Why use node?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AF5999D-3ED0-41C5-833F-9E320F99A5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5873" y="2551273"/>
            <a:ext cx="4182655" cy="345638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6D62A1E-4699-45AD-B4C4-C33ACD5A28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5873" y="2092692"/>
            <a:ext cx="1511435" cy="458581"/>
          </a:xfrm>
          <a:prstGeom prst="rect">
            <a:avLst/>
          </a:prstGeom>
        </p:spPr>
      </p:pic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19933A6A-1400-4A69-A059-517C39541671}"/>
              </a:ext>
            </a:extLst>
          </p:cNvPr>
          <p:cNvSpPr txBox="1">
            <a:spLocks/>
          </p:cNvSpPr>
          <p:nvPr/>
        </p:nvSpPr>
        <p:spPr>
          <a:xfrm>
            <a:off x="515040" y="1280998"/>
            <a:ext cx="5034792" cy="365228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Why use node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Great for prototyping and agile development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Superfast and highly scalable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JavaScript everywhere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Cleaner and mode consistent codebase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Large ecosystem of open-source libs</a:t>
            </a: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>
              <a:spcBef>
                <a:spcPts val="400"/>
              </a:spcBef>
            </a:pPr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FC956D87-C580-460E-83B6-8B20D0C542CA}"/>
              </a:ext>
            </a:extLst>
          </p:cNvPr>
          <p:cNvSpPr txBox="1">
            <a:spLocks/>
          </p:cNvSpPr>
          <p:nvPr/>
        </p:nvSpPr>
        <p:spPr>
          <a:xfrm>
            <a:off x="7087999" y="1373331"/>
            <a:ext cx="3422708" cy="173380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EXAMPLE : FACT CHECK</a:t>
            </a: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>
              <a:spcBef>
                <a:spcPts val="400"/>
              </a:spcBef>
            </a:pPr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175921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DE architecture – Evolution of nod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808A3AE-9262-4B90-8D42-896F828FA5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1104" y="1256185"/>
            <a:ext cx="4391637" cy="148776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40D4E01-218B-429B-8696-0C3CB6969F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83579" y="2510972"/>
            <a:ext cx="889234" cy="24061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BDC13A1-9625-4092-9925-758FA1EC66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21043" y="2954507"/>
            <a:ext cx="3545747" cy="1399707"/>
          </a:xfrm>
          <a:prstGeom prst="rect">
            <a:avLst/>
          </a:prstGeom>
        </p:spPr>
      </p:pic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44081710-3FC9-46DA-8D81-1F55F8075113}"/>
              </a:ext>
            </a:extLst>
          </p:cNvPr>
          <p:cNvSpPr txBox="1">
            <a:spLocks/>
          </p:cNvSpPr>
          <p:nvPr/>
        </p:nvSpPr>
        <p:spPr>
          <a:xfrm>
            <a:off x="510331" y="1709035"/>
            <a:ext cx="4974671" cy="463819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Browser runtim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>
                <a:latin typeface="+mj-lt"/>
              </a:rPr>
              <a:t>Browser provides runtime for JavaScript cod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>
                <a:latin typeface="+mj-lt"/>
              </a:rPr>
              <a:t>Each browser has different JavaScript engines</a:t>
            </a:r>
          </a:p>
          <a:p>
            <a:pPr marL="328613" lvl="1" indent="-144463"/>
            <a:r>
              <a:rPr lang="en-US" sz="1500" dirty="0">
                <a:latin typeface="+mj-lt"/>
              </a:rPr>
              <a:t>Internet explorer – Chakra</a:t>
            </a:r>
          </a:p>
          <a:p>
            <a:pPr marL="328613" lvl="1" indent="-144463"/>
            <a:r>
              <a:rPr lang="en-US" sz="1500" dirty="0">
                <a:latin typeface="+mj-lt"/>
              </a:rPr>
              <a:t>Chrome – V8</a:t>
            </a:r>
          </a:p>
          <a:p>
            <a:pPr marL="328613" lvl="1" indent="-144463"/>
            <a:r>
              <a:rPr lang="en-US" sz="1500" dirty="0">
                <a:latin typeface="+mj-lt"/>
              </a:rPr>
              <a:t>Firefox - Spider Monkey</a:t>
            </a:r>
          </a:p>
          <a:p>
            <a:pPr marL="144463" indent="-144463"/>
            <a:r>
              <a:rPr lang="en-US" sz="1500" dirty="0">
                <a:latin typeface="+mj-lt"/>
              </a:rPr>
              <a:t>Having different engines could pose problems for executing JavaScript code.</a:t>
            </a:r>
          </a:p>
          <a:p>
            <a:pPr marL="144463" indent="-144463"/>
            <a:r>
              <a:rPr lang="en-US" sz="1500" dirty="0">
                <a:latin typeface="+mj-lt"/>
              </a:rPr>
              <a:t>Up to 2009 JavaScript could execute only inside a browser</a:t>
            </a:r>
          </a:p>
          <a:p>
            <a:pPr marL="144463" indent="-144463"/>
            <a:r>
              <a:rPr lang="en-US" sz="1500" dirty="0">
                <a:latin typeface="+mj-lt"/>
              </a:rPr>
              <a:t>Ryan Dhal – Creator of node thought of executing JavaScript outside outside browser</a:t>
            </a:r>
          </a:p>
          <a:p>
            <a:pPr marL="144463" indent="-144463"/>
            <a:r>
              <a:rPr lang="en-US" sz="1500" b="1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V8 engine was taken out of chrome and embedded in a C++ program . This was called as NODE, a runtime environment for JavaScript  outside browser</a:t>
            </a: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C4C1D7A-AA7C-4436-ADA2-B3179289BA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21104" y="4473827"/>
            <a:ext cx="4309147" cy="2034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3782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DE architecture – features of nod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44081710-3FC9-46DA-8D81-1F55F8075113}"/>
              </a:ext>
            </a:extLst>
          </p:cNvPr>
          <p:cNvSpPr txBox="1">
            <a:spLocks/>
          </p:cNvSpPr>
          <p:nvPr/>
        </p:nvSpPr>
        <p:spPr>
          <a:xfrm>
            <a:off x="510331" y="1709035"/>
            <a:ext cx="5034792" cy="474078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features of nod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>
                <a:latin typeface="+mj-lt"/>
              </a:rPr>
              <a:t>Similar to browser, Node is a runtime time environment for JavaScript code outside browser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>
                <a:latin typeface="+mj-lt"/>
              </a:rPr>
              <a:t>Node will not have any objects to deal with html like </a:t>
            </a:r>
            <a:r>
              <a:rPr lang="en-US" sz="1500" dirty="0" err="1">
                <a:latin typeface="+mj-lt"/>
              </a:rPr>
              <a:t>document.getElementById</a:t>
            </a:r>
            <a:endParaRPr lang="en-US" sz="1500" dirty="0">
              <a:latin typeface="+mj-lt"/>
            </a:endParaRPr>
          </a:p>
          <a:p>
            <a:pPr marL="144463" indent="-144463">
              <a:spcBef>
                <a:spcPts val="400"/>
              </a:spcBef>
            </a:pPr>
            <a:r>
              <a:rPr lang="en-US" sz="1500" dirty="0">
                <a:latin typeface="+mj-lt"/>
              </a:rPr>
              <a:t>Node will have additional capability to</a:t>
            </a:r>
          </a:p>
          <a:p>
            <a:pPr marL="328613" lvl="1" indent="-144463"/>
            <a:r>
              <a:rPr lang="en-US" sz="1500" dirty="0">
                <a:latin typeface="+mj-lt"/>
              </a:rPr>
              <a:t>Talk to file system or n/w</a:t>
            </a:r>
          </a:p>
          <a:p>
            <a:pPr marL="328613" lvl="1" indent="-144463"/>
            <a:r>
              <a:rPr lang="en-US" sz="1500" dirty="0">
                <a:latin typeface="+mj-lt"/>
              </a:rPr>
              <a:t>Listen for a request at a port</a:t>
            </a:r>
          </a:p>
          <a:p>
            <a:pPr marL="328613" lvl="1" indent="-144463"/>
            <a:r>
              <a:rPr lang="en-US" sz="1500" dirty="0">
                <a:latin typeface="+mj-lt"/>
              </a:rPr>
              <a:t>Talk to other http services</a:t>
            </a:r>
          </a:p>
          <a:p>
            <a:pPr marL="144463" indent="-144463"/>
            <a:r>
              <a:rPr lang="en-US" sz="1500" dirty="0">
                <a:latin typeface="+mj-lt"/>
              </a:rPr>
              <a:t>Don’t compare node to other programming language like C# or Java</a:t>
            </a:r>
          </a:p>
          <a:p>
            <a:pPr marL="144463" indent="-144463"/>
            <a:r>
              <a:rPr lang="en-US" sz="1500" dirty="0">
                <a:latin typeface="+mj-lt"/>
              </a:rPr>
              <a:t>Node is not a programming language , rather it is a runtime environment</a:t>
            </a: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>
              <a:spcBef>
                <a:spcPts val="400"/>
              </a:spcBef>
            </a:pPr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EBAAC50-3C2C-4F6E-B9BE-283A168176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6173" y="1243619"/>
            <a:ext cx="5665496" cy="4370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8464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00000_Acc_Engl">
  <a:themeElements>
    <a:clrScheme name="Custom 9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7500C0"/>
      </a:hlink>
      <a:folHlink>
        <a:srgbClr val="004DFF"/>
      </a:folHlink>
    </a:clrScheme>
    <a:fontScheme name="Custom 1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lnSpc>
            <a:spcPct val="90000"/>
          </a:lnSpc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33350" indent="-133350" algn="l">
          <a:lnSpc>
            <a:spcPct val="90000"/>
          </a:lnSpc>
          <a:spcBef>
            <a:spcPts val="300"/>
          </a:spcBef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CSB00000_Acc_Engl_Graphik.potx" id="{1A3265B6-8FB7-4BE7-A2AF-0C73A605FCAB}" vid="{AB8D690C-83A2-410D-A780-9DA2820399C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AEE4454DBAFD4FA47858D8EAD29F27" ma:contentTypeVersion="0" ma:contentTypeDescription="Create a new document." ma:contentTypeScope="" ma:versionID="5abfcab1f22bd2507fa1f7aa006198ac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d413257cd9829394d17656a545d5fa4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5D181A3-74A3-4C9D-B131-DDAA92A4BC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7194625D-395F-4ECB-9103-3AB55A05BF9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19077B2-AE87-4925-A67B-FBB6F160B184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AN_NE_Training</Template>
  <TotalTime>270</TotalTime>
  <Words>2417</Words>
  <Application>Microsoft Office PowerPoint</Application>
  <PresentationFormat>Widescreen</PresentationFormat>
  <Paragraphs>294</Paragraphs>
  <Slides>37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6" baseType="lpstr">
      <vt:lpstr>Arial</vt:lpstr>
      <vt:lpstr>Arial Black</vt:lpstr>
      <vt:lpstr>Courier New</vt:lpstr>
      <vt:lpstr>Graphik</vt:lpstr>
      <vt:lpstr>Graphik Black</vt:lpstr>
      <vt:lpstr>Graphik Medium</vt:lpstr>
      <vt:lpstr>Symbol</vt:lpstr>
      <vt:lpstr>CA00000_Acc_Engl</vt:lpstr>
      <vt:lpstr>think-cell Slide</vt:lpstr>
      <vt:lpstr>NODE and MONGO </vt:lpstr>
      <vt:lpstr>PowerPoint Presentation</vt:lpstr>
      <vt:lpstr>PowerPoint Presentation</vt:lpstr>
      <vt:lpstr>Self placed courses Learning target to enter in to MEAN stack course </vt:lpstr>
      <vt:lpstr>Local system setup To complete prior to instructor led MEAN stack course starts</vt:lpstr>
      <vt:lpstr>What is node? </vt:lpstr>
      <vt:lpstr>What is node(Continued..) – Why use node?</vt:lpstr>
      <vt:lpstr>NODE architecture – Evolution of node</vt:lpstr>
      <vt:lpstr>NODE architecture – features of node</vt:lpstr>
      <vt:lpstr>HOW NODE works</vt:lpstr>
      <vt:lpstr>HOW NODE works – Event queue</vt:lpstr>
      <vt:lpstr>NODE architecture - in perspective</vt:lpstr>
      <vt:lpstr>INSTALLING NODE</vt:lpstr>
      <vt:lpstr>start a new API project</vt:lpstr>
      <vt:lpstr>Start – Simple “Hello World”</vt:lpstr>
      <vt:lpstr>What is REST anyway?</vt:lpstr>
      <vt:lpstr>REST - Constraint.. – The Uniform Interface NOUNS ands VERBS</vt:lpstr>
      <vt:lpstr>REST -  Constraint.. – The Uniform Interface NOUNS ands VERBS</vt:lpstr>
      <vt:lpstr>API IMPLEMENTATION</vt:lpstr>
      <vt:lpstr>Wire-up Mongo DB</vt:lpstr>
      <vt:lpstr>SQL VS NOSQL</vt:lpstr>
      <vt:lpstr>MongoDB - Overview</vt:lpstr>
      <vt:lpstr>PowerPoint Presentation</vt:lpstr>
      <vt:lpstr>PowerPoint Presentation</vt:lpstr>
      <vt:lpstr>header</vt:lpstr>
      <vt:lpstr>header</vt:lpstr>
      <vt:lpstr>Greater than and logo</vt:lpstr>
      <vt:lpstr>icons</vt:lpstr>
      <vt:lpstr>PowerPoint Presentation</vt:lpstr>
      <vt:lpstr>PowerPoint Presentation</vt:lpstr>
      <vt:lpstr>header</vt:lpstr>
      <vt:lpstr>header</vt:lpstr>
      <vt:lpstr>header</vt:lpstr>
      <vt:lpstr>header</vt:lpstr>
      <vt:lpstr>header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AN Stack</dc:title>
  <dc:subject>CSB</dc:subject>
  <dc:creator>Ajith Kumar A M</dc:creator>
  <cp:keywords/>
  <dc:description/>
  <cp:lastModifiedBy>Ashoka Mahadevaiah</cp:lastModifiedBy>
  <cp:revision>197</cp:revision>
  <dcterms:created xsi:type="dcterms:W3CDTF">2020-04-03T17:19:38Z</dcterms:created>
  <dcterms:modified xsi:type="dcterms:W3CDTF">2020-04-07T13:45:4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AEE4454DBAFD4FA47858D8EAD29F27</vt:lpwstr>
  </property>
</Properties>
</file>